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theme/theme2.xml" ContentType="application/vnd.openxmlformats-officedocument.theme+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theme/theme3.xml" ContentType="application/vnd.openxmlformats-officedocument.theme+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slideLayouts/slideLayout1156.xml" ContentType="application/vnd.openxmlformats-officedocument.presentationml.slideLayout+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slideLayouts/slideLayout1159.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slideLayouts/slideLayout1164.xml" ContentType="application/vnd.openxmlformats-officedocument.presentationml.slideLayout+xml"/>
  <Override PartName="/ppt/slideLayouts/slideLayout1165.xml" ContentType="application/vnd.openxmlformats-officedocument.presentationml.slideLayout+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slideLayouts/slideLayout1172.xml" ContentType="application/vnd.openxmlformats-officedocument.presentationml.slideLayout+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slideLayouts/slideLayout118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slideLayouts/slideLayout1202.xml" ContentType="application/vnd.openxmlformats-officedocument.presentationml.slideLayout+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slideLayouts/slideLayout1229.xml" ContentType="application/vnd.openxmlformats-officedocument.presentationml.slideLayout+xml"/>
  <Override PartName="/ppt/slideLayouts/slideLayout1230.xml" ContentType="application/vnd.openxmlformats-officedocument.presentationml.slideLayout+xml"/>
  <Override PartName="/ppt/slideLayouts/slideLayout1231.xml" ContentType="application/vnd.openxmlformats-officedocument.presentationml.slideLayout+xml"/>
  <Override PartName="/ppt/slideLayouts/slideLayout1232.xml" ContentType="application/vnd.openxmlformats-officedocument.presentationml.slideLayout+xml"/>
  <Override PartName="/ppt/slideLayouts/slideLayout1233.xml" ContentType="application/vnd.openxmlformats-officedocument.presentationml.slideLayout+xml"/>
  <Override PartName="/ppt/slideLayouts/slideLayout1234.xml" ContentType="application/vnd.openxmlformats-officedocument.presentationml.slideLayout+xml"/>
  <Override PartName="/ppt/slideLayouts/slideLayout1235.xml" ContentType="application/vnd.openxmlformats-officedocument.presentationml.slideLayout+xml"/>
  <Override PartName="/ppt/slideLayouts/slideLayout1236.xml" ContentType="application/vnd.openxmlformats-officedocument.presentationml.slideLayout+xml"/>
  <Override PartName="/ppt/slideLayouts/slideLayout1237.xml" ContentType="application/vnd.openxmlformats-officedocument.presentationml.slideLayout+xml"/>
  <Override PartName="/ppt/slideLayouts/slideLayout1238.xml" ContentType="application/vnd.openxmlformats-officedocument.presentationml.slideLayout+xml"/>
  <Override PartName="/ppt/slideLayouts/slideLayout1239.xml" ContentType="application/vnd.openxmlformats-officedocument.presentationml.slideLayout+xml"/>
  <Override PartName="/ppt/slideLayouts/slideLayout1240.xml" ContentType="application/vnd.openxmlformats-officedocument.presentationml.slideLayout+xml"/>
  <Override PartName="/ppt/slideLayouts/slideLayout1241.xml" ContentType="application/vnd.openxmlformats-officedocument.presentationml.slideLayout+xml"/>
  <Override PartName="/ppt/slideLayouts/slideLayout1242.xml" ContentType="application/vnd.openxmlformats-officedocument.presentationml.slideLayout+xml"/>
  <Override PartName="/ppt/slideLayouts/slideLayout1243.xml" ContentType="application/vnd.openxmlformats-officedocument.presentationml.slideLayout+xml"/>
  <Override PartName="/ppt/slideLayouts/slideLayout1244.xml" ContentType="application/vnd.openxmlformats-officedocument.presentationml.slideLayout+xml"/>
  <Override PartName="/ppt/slideLayouts/slideLayout1245.xml" ContentType="application/vnd.openxmlformats-officedocument.presentationml.slideLayout+xml"/>
  <Override PartName="/ppt/slideLayouts/slideLayout1246.xml" ContentType="application/vnd.openxmlformats-officedocument.presentationml.slideLayout+xml"/>
  <Override PartName="/ppt/slideLayouts/slideLayout1247.xml" ContentType="application/vnd.openxmlformats-officedocument.presentationml.slideLayout+xml"/>
  <Override PartName="/ppt/slideLayouts/slideLayout1248.xml" ContentType="application/vnd.openxmlformats-officedocument.presentationml.slideLayout+xml"/>
  <Override PartName="/ppt/slideLayouts/slideLayout1249.xml" ContentType="application/vnd.openxmlformats-officedocument.presentationml.slideLayout+xml"/>
  <Override PartName="/ppt/slideLayouts/slideLayout1250.xml" ContentType="application/vnd.openxmlformats-officedocument.presentationml.slideLayout+xml"/>
  <Override PartName="/ppt/slideLayouts/slideLayout1251.xml" ContentType="application/vnd.openxmlformats-officedocument.presentationml.slideLayout+xml"/>
  <Override PartName="/ppt/slideLayouts/slideLayout1252.xml" ContentType="application/vnd.openxmlformats-officedocument.presentationml.slideLayout+xml"/>
  <Override PartName="/ppt/slideLayouts/slideLayout1253.xml" ContentType="application/vnd.openxmlformats-officedocument.presentationml.slideLayout+xml"/>
  <Override PartName="/ppt/slideLayouts/slideLayout1254.xml" ContentType="application/vnd.openxmlformats-officedocument.presentationml.slideLayout+xml"/>
  <Override PartName="/ppt/slideLayouts/slideLayout1255.xml" ContentType="application/vnd.openxmlformats-officedocument.presentationml.slideLayout+xml"/>
  <Override PartName="/ppt/slideLayouts/slideLayout1256.xml" ContentType="application/vnd.openxmlformats-officedocument.presentationml.slideLayout+xml"/>
  <Override PartName="/ppt/slideLayouts/slideLayout1257.xml" ContentType="application/vnd.openxmlformats-officedocument.presentationml.slideLayout+xml"/>
  <Override PartName="/ppt/slideLayouts/slideLayout1258.xml" ContentType="application/vnd.openxmlformats-officedocument.presentationml.slideLayout+xml"/>
  <Override PartName="/ppt/slideLayouts/slideLayout1259.xml" ContentType="application/vnd.openxmlformats-officedocument.presentationml.slideLayout+xml"/>
  <Override PartName="/ppt/slideLayouts/slideLayout1260.xml" ContentType="application/vnd.openxmlformats-officedocument.presentationml.slideLayout+xml"/>
  <Override PartName="/ppt/slideLayouts/slideLayout1261.xml" ContentType="application/vnd.openxmlformats-officedocument.presentationml.slideLayout+xml"/>
  <Override PartName="/ppt/slideLayouts/slideLayout1262.xml" ContentType="application/vnd.openxmlformats-officedocument.presentationml.slideLayout+xml"/>
  <Override PartName="/ppt/slideLayouts/slideLayout1263.xml" ContentType="application/vnd.openxmlformats-officedocument.presentationml.slideLayout+xml"/>
  <Override PartName="/ppt/slideLayouts/slideLayout1264.xml" ContentType="application/vnd.openxmlformats-officedocument.presentationml.slideLayout+xml"/>
  <Override PartName="/ppt/slideLayouts/slideLayout1265.xml" ContentType="application/vnd.openxmlformats-officedocument.presentationml.slideLayout+xml"/>
  <Override PartName="/ppt/slideLayouts/slideLayout1266.xml" ContentType="application/vnd.openxmlformats-officedocument.presentationml.slideLayout+xml"/>
  <Override PartName="/ppt/slideLayouts/slideLayout1267.xml" ContentType="application/vnd.openxmlformats-officedocument.presentationml.slideLayout+xml"/>
  <Override PartName="/ppt/slideLayouts/slideLayout1268.xml" ContentType="application/vnd.openxmlformats-officedocument.presentationml.slideLayout+xml"/>
  <Override PartName="/ppt/slideLayouts/slideLayout1269.xml" ContentType="application/vnd.openxmlformats-officedocument.presentationml.slideLayout+xml"/>
  <Override PartName="/ppt/slideLayouts/slideLayout1270.xml" ContentType="application/vnd.openxmlformats-officedocument.presentationml.slideLayout+xml"/>
  <Override PartName="/ppt/slideLayouts/slideLayout1271.xml" ContentType="application/vnd.openxmlformats-officedocument.presentationml.slideLayout+xml"/>
  <Override PartName="/ppt/slideLayouts/slideLayout1272.xml" ContentType="application/vnd.openxmlformats-officedocument.presentationml.slideLayout+xml"/>
  <Override PartName="/ppt/slideLayouts/slideLayout1273.xml" ContentType="application/vnd.openxmlformats-officedocument.presentationml.slideLayout+xml"/>
  <Override PartName="/ppt/slideLayouts/slideLayout1274.xml" ContentType="application/vnd.openxmlformats-officedocument.presentationml.slideLayout+xml"/>
  <Override PartName="/ppt/slideLayouts/slideLayout1275.xml" ContentType="application/vnd.openxmlformats-officedocument.presentationml.slideLayout+xml"/>
  <Override PartName="/ppt/slideLayouts/slideLayout1276.xml" ContentType="application/vnd.openxmlformats-officedocument.presentationml.slideLayout+xml"/>
  <Override PartName="/ppt/slideLayouts/slideLayout1277.xml" ContentType="application/vnd.openxmlformats-officedocument.presentationml.slideLayout+xml"/>
  <Override PartName="/ppt/slideLayouts/slideLayout1278.xml" ContentType="application/vnd.openxmlformats-officedocument.presentationml.slideLayout+xml"/>
  <Override PartName="/ppt/slideLayouts/slideLayout1279.xml" ContentType="application/vnd.openxmlformats-officedocument.presentationml.slideLayout+xml"/>
  <Override PartName="/ppt/slideLayouts/slideLayout1280.xml" ContentType="application/vnd.openxmlformats-officedocument.presentationml.slideLayout+xml"/>
  <Override PartName="/ppt/slideLayouts/slideLayout1281.xml" ContentType="application/vnd.openxmlformats-officedocument.presentationml.slideLayout+xml"/>
  <Override PartName="/ppt/slideLayouts/slideLayout1282.xml" ContentType="application/vnd.openxmlformats-officedocument.presentationml.slideLayout+xml"/>
  <Override PartName="/ppt/slideLayouts/slideLayout1283.xml" ContentType="application/vnd.openxmlformats-officedocument.presentationml.slideLayout+xml"/>
  <Override PartName="/ppt/slideLayouts/slideLayout1284.xml" ContentType="application/vnd.openxmlformats-officedocument.presentationml.slideLayout+xml"/>
  <Override PartName="/ppt/slideLayouts/slideLayout1285.xml" ContentType="application/vnd.openxmlformats-officedocument.presentationml.slideLayout+xml"/>
  <Override PartName="/ppt/slideLayouts/slideLayout1286.xml" ContentType="application/vnd.openxmlformats-officedocument.presentationml.slideLayout+xml"/>
  <Override PartName="/ppt/slideLayouts/slideLayout1287.xml" ContentType="application/vnd.openxmlformats-officedocument.presentationml.slideLayout+xml"/>
  <Override PartName="/ppt/slideLayouts/slideLayout1288.xml" ContentType="application/vnd.openxmlformats-officedocument.presentationml.slideLayout+xml"/>
  <Override PartName="/ppt/slideLayouts/slideLayout1289.xml" ContentType="application/vnd.openxmlformats-officedocument.presentationml.slideLayout+xml"/>
  <Override PartName="/ppt/slideLayouts/slideLayout1290.xml" ContentType="application/vnd.openxmlformats-officedocument.presentationml.slideLayout+xml"/>
  <Override PartName="/ppt/slideLayouts/slideLayout1291.xml" ContentType="application/vnd.openxmlformats-officedocument.presentationml.slideLayout+xml"/>
  <Override PartName="/ppt/slideLayouts/slideLayout1292.xml" ContentType="application/vnd.openxmlformats-officedocument.presentationml.slideLayout+xml"/>
  <Override PartName="/ppt/slideLayouts/slideLayout1293.xml" ContentType="application/vnd.openxmlformats-officedocument.presentationml.slideLayout+xml"/>
  <Override PartName="/ppt/slideLayouts/slideLayout1294.xml" ContentType="application/vnd.openxmlformats-officedocument.presentationml.slideLayout+xml"/>
  <Override PartName="/ppt/slideLayouts/slideLayout1295.xml" ContentType="application/vnd.openxmlformats-officedocument.presentationml.slideLayout+xml"/>
  <Override PartName="/ppt/slideLayouts/slideLayout1296.xml" ContentType="application/vnd.openxmlformats-officedocument.presentationml.slideLayout+xml"/>
  <Override PartName="/ppt/slideLayouts/slideLayout1297.xml" ContentType="application/vnd.openxmlformats-officedocument.presentationml.slideLayout+xml"/>
  <Override PartName="/ppt/slideLayouts/slideLayout1298.xml" ContentType="application/vnd.openxmlformats-officedocument.presentationml.slideLayout+xml"/>
  <Override PartName="/ppt/slideLayouts/slideLayout1299.xml" ContentType="application/vnd.openxmlformats-officedocument.presentationml.slideLayout+xml"/>
  <Override PartName="/ppt/slideLayouts/slideLayout1300.xml" ContentType="application/vnd.openxmlformats-officedocument.presentationml.slideLayout+xml"/>
  <Override PartName="/ppt/slideLayouts/slideLayout1301.xml" ContentType="application/vnd.openxmlformats-officedocument.presentationml.slideLayout+xml"/>
  <Override PartName="/ppt/slideLayouts/slideLayout1302.xml" ContentType="application/vnd.openxmlformats-officedocument.presentationml.slideLayout+xml"/>
  <Override PartName="/ppt/slideLayouts/slideLayout1303.xml" ContentType="application/vnd.openxmlformats-officedocument.presentationml.slideLayout+xml"/>
  <Override PartName="/ppt/slideLayouts/slideLayout1304.xml" ContentType="application/vnd.openxmlformats-officedocument.presentationml.slideLayout+xml"/>
  <Override PartName="/ppt/slideLayouts/slideLayout1305.xml" ContentType="application/vnd.openxmlformats-officedocument.presentationml.slideLayout+xml"/>
  <Override PartName="/ppt/slideLayouts/slideLayout1306.xml" ContentType="application/vnd.openxmlformats-officedocument.presentationml.slideLayout+xml"/>
  <Override PartName="/ppt/slideLayouts/slideLayout1307.xml" ContentType="application/vnd.openxmlformats-officedocument.presentationml.slideLayout+xml"/>
  <Override PartName="/ppt/slideLayouts/slideLayout1308.xml" ContentType="application/vnd.openxmlformats-officedocument.presentationml.slideLayout+xml"/>
  <Override PartName="/ppt/slideLayouts/slideLayout1309.xml" ContentType="application/vnd.openxmlformats-officedocument.presentationml.slideLayout+xml"/>
  <Override PartName="/ppt/slideLayouts/slideLayout1310.xml" ContentType="application/vnd.openxmlformats-officedocument.presentationml.slideLayout+xml"/>
  <Override PartName="/ppt/slideLayouts/slideLayout1311.xml" ContentType="application/vnd.openxmlformats-officedocument.presentationml.slideLayout+xml"/>
  <Override PartName="/ppt/slideLayouts/slideLayout1312.xml" ContentType="application/vnd.openxmlformats-officedocument.presentationml.slideLayout+xml"/>
  <Override PartName="/ppt/slideLayouts/slideLayout1313.xml" ContentType="application/vnd.openxmlformats-officedocument.presentationml.slideLayout+xml"/>
  <Override PartName="/ppt/slideLayouts/slideLayout1314.xml" ContentType="application/vnd.openxmlformats-officedocument.presentationml.slideLayout+xml"/>
  <Override PartName="/ppt/slideLayouts/slideLayout1315.xml" ContentType="application/vnd.openxmlformats-officedocument.presentationml.slideLayout+xml"/>
  <Override PartName="/ppt/slideLayouts/slideLayout1316.xml" ContentType="application/vnd.openxmlformats-officedocument.presentationml.slideLayout+xml"/>
  <Override PartName="/ppt/slideLayouts/slideLayout1317.xml" ContentType="application/vnd.openxmlformats-officedocument.presentationml.slideLayout+xml"/>
  <Override PartName="/ppt/slideLayouts/slideLayout1318.xml" ContentType="application/vnd.openxmlformats-officedocument.presentationml.slideLayout+xml"/>
  <Override PartName="/ppt/slideLayouts/slideLayout1319.xml" ContentType="application/vnd.openxmlformats-officedocument.presentationml.slideLayout+xml"/>
  <Override PartName="/ppt/slideLayouts/slideLayout1320.xml" ContentType="application/vnd.openxmlformats-officedocument.presentationml.slideLayout+xml"/>
  <Override PartName="/ppt/slideLayouts/slideLayout1321.xml" ContentType="application/vnd.openxmlformats-officedocument.presentationml.slideLayout+xml"/>
  <Override PartName="/ppt/slideLayouts/slideLayout1322.xml" ContentType="application/vnd.openxmlformats-officedocument.presentationml.slideLayout+xml"/>
  <Override PartName="/ppt/slideLayouts/slideLayout1323.xml" ContentType="application/vnd.openxmlformats-officedocument.presentationml.slideLayout+xml"/>
  <Override PartName="/ppt/slideLayouts/slideLayout1324.xml" ContentType="application/vnd.openxmlformats-officedocument.presentationml.slideLayout+xml"/>
  <Override PartName="/ppt/slideLayouts/slideLayout1325.xml" ContentType="application/vnd.openxmlformats-officedocument.presentationml.slideLayout+xml"/>
  <Override PartName="/ppt/slideLayouts/slideLayout1326.xml" ContentType="application/vnd.openxmlformats-officedocument.presentationml.slideLayout+xml"/>
  <Override PartName="/ppt/slideLayouts/slideLayout1327.xml" ContentType="application/vnd.openxmlformats-officedocument.presentationml.slideLayout+xml"/>
  <Override PartName="/ppt/slideLayouts/slideLayout1328.xml" ContentType="application/vnd.openxmlformats-officedocument.presentationml.slideLayout+xml"/>
  <Override PartName="/ppt/slideLayouts/slideLayout1329.xml" ContentType="application/vnd.openxmlformats-officedocument.presentationml.slideLayout+xml"/>
  <Override PartName="/ppt/slideLayouts/slideLayout1330.xml" ContentType="application/vnd.openxmlformats-officedocument.presentationml.slideLayout+xml"/>
  <Override PartName="/ppt/slideLayouts/slideLayout1331.xml" ContentType="application/vnd.openxmlformats-officedocument.presentationml.slideLayout+xml"/>
  <Override PartName="/ppt/slideLayouts/slideLayout1332.xml" ContentType="application/vnd.openxmlformats-officedocument.presentationml.slideLayout+xml"/>
  <Override PartName="/ppt/slideLayouts/slideLayout1333.xml" ContentType="application/vnd.openxmlformats-officedocument.presentationml.slideLayout+xml"/>
  <Override PartName="/ppt/slideLayouts/slideLayout1334.xml" ContentType="application/vnd.openxmlformats-officedocument.presentationml.slideLayout+xml"/>
  <Override PartName="/ppt/slideLayouts/slideLayout1335.xml" ContentType="application/vnd.openxmlformats-officedocument.presentationml.slideLayout+xml"/>
  <Override PartName="/ppt/slideLayouts/slideLayout1336.xml" ContentType="application/vnd.openxmlformats-officedocument.presentationml.slideLayout+xml"/>
  <Override PartName="/ppt/slideLayouts/slideLayout1337.xml" ContentType="application/vnd.openxmlformats-officedocument.presentationml.slideLayout+xml"/>
  <Override PartName="/ppt/slideLayouts/slideLayout1338.xml" ContentType="application/vnd.openxmlformats-officedocument.presentationml.slideLayout+xml"/>
  <Override PartName="/ppt/slideLayouts/slideLayout1339.xml" ContentType="application/vnd.openxmlformats-officedocument.presentationml.slideLayout+xml"/>
  <Override PartName="/ppt/slideLayouts/slideLayout1340.xml" ContentType="application/vnd.openxmlformats-officedocument.presentationml.slideLayout+xml"/>
  <Override PartName="/ppt/slideLayouts/slideLayout1341.xml" ContentType="application/vnd.openxmlformats-officedocument.presentationml.slideLayout+xml"/>
  <Override PartName="/ppt/slideLayouts/slideLayout1342.xml" ContentType="application/vnd.openxmlformats-officedocument.presentationml.slideLayout+xml"/>
  <Override PartName="/ppt/slideLayouts/slideLayout1343.xml" ContentType="application/vnd.openxmlformats-officedocument.presentationml.slideLayout+xml"/>
  <Override PartName="/ppt/slideLayouts/slideLayout1344.xml" ContentType="application/vnd.openxmlformats-officedocument.presentationml.slideLayout+xml"/>
  <Override PartName="/ppt/slideLayouts/slideLayout1345.xml" ContentType="application/vnd.openxmlformats-officedocument.presentationml.slideLayout+xml"/>
  <Override PartName="/ppt/slideLayouts/slideLayout1346.xml" ContentType="application/vnd.openxmlformats-officedocument.presentationml.slideLayout+xml"/>
  <Override PartName="/ppt/slideLayouts/slideLayout1347.xml" ContentType="application/vnd.openxmlformats-officedocument.presentationml.slideLayout+xml"/>
  <Override PartName="/ppt/slideLayouts/slideLayout1348.xml" ContentType="application/vnd.openxmlformats-officedocument.presentationml.slideLayout+xml"/>
  <Override PartName="/ppt/slideLayouts/slideLayout1349.xml" ContentType="application/vnd.openxmlformats-officedocument.presentationml.slideLayout+xml"/>
  <Override PartName="/ppt/slideLayouts/slideLayout1350.xml" ContentType="application/vnd.openxmlformats-officedocument.presentationml.slideLayout+xml"/>
  <Override PartName="/ppt/slideLayouts/slideLayout1351.xml" ContentType="application/vnd.openxmlformats-officedocument.presentationml.slideLayout+xml"/>
  <Override PartName="/ppt/slideLayouts/slideLayout1352.xml" ContentType="application/vnd.openxmlformats-officedocument.presentationml.slideLayout+xml"/>
  <Override PartName="/ppt/slideLayouts/slideLayout1353.xml" ContentType="application/vnd.openxmlformats-officedocument.presentationml.slideLayout+xml"/>
  <Override PartName="/ppt/slideLayouts/slideLayout1354.xml" ContentType="application/vnd.openxmlformats-officedocument.presentationml.slideLayout+xml"/>
  <Override PartName="/ppt/slideLayouts/slideLayout1355.xml" ContentType="application/vnd.openxmlformats-officedocument.presentationml.slideLayout+xml"/>
  <Override PartName="/ppt/slideLayouts/slideLayout1356.xml" ContentType="application/vnd.openxmlformats-officedocument.presentationml.slideLayout+xml"/>
  <Override PartName="/ppt/slideLayouts/slideLayout1357.xml" ContentType="application/vnd.openxmlformats-officedocument.presentationml.slideLayout+xml"/>
  <Override PartName="/ppt/slideLayouts/slideLayout1358.xml" ContentType="application/vnd.openxmlformats-officedocument.presentationml.slideLayout+xml"/>
  <Override PartName="/ppt/slideLayouts/slideLayout1359.xml" ContentType="application/vnd.openxmlformats-officedocument.presentationml.slideLayout+xml"/>
  <Override PartName="/ppt/slideLayouts/slideLayout1360.xml" ContentType="application/vnd.openxmlformats-officedocument.presentationml.slideLayout+xml"/>
  <Override PartName="/ppt/slideLayouts/slideLayout1361.xml" ContentType="application/vnd.openxmlformats-officedocument.presentationml.slideLayout+xml"/>
  <Override PartName="/ppt/slideLayouts/slideLayout1362.xml" ContentType="application/vnd.openxmlformats-officedocument.presentationml.slideLayout+xml"/>
  <Override PartName="/ppt/slideLayouts/slideLayout1363.xml" ContentType="application/vnd.openxmlformats-officedocument.presentationml.slideLayout+xml"/>
  <Override PartName="/ppt/slideLayouts/slideLayout1364.xml" ContentType="application/vnd.openxmlformats-officedocument.presentationml.slideLayout+xml"/>
  <Override PartName="/ppt/slideLayouts/slideLayout1365.xml" ContentType="application/vnd.openxmlformats-officedocument.presentationml.slideLayout+xml"/>
  <Override PartName="/ppt/slideLayouts/slideLayout1366.xml" ContentType="application/vnd.openxmlformats-officedocument.presentationml.slideLayout+xml"/>
  <Override PartName="/ppt/slideLayouts/slideLayout1367.xml" ContentType="application/vnd.openxmlformats-officedocument.presentationml.slideLayout+xml"/>
  <Override PartName="/ppt/slideLayouts/slideLayout1368.xml" ContentType="application/vnd.openxmlformats-officedocument.presentationml.slideLayout+xml"/>
  <Override PartName="/ppt/slideLayouts/slideLayout1369.xml" ContentType="application/vnd.openxmlformats-officedocument.presentationml.slideLayout+xml"/>
  <Override PartName="/ppt/slideLayouts/slideLayout1370.xml" ContentType="application/vnd.openxmlformats-officedocument.presentationml.slideLayout+xml"/>
  <Override PartName="/ppt/slideLayouts/slideLayout1371.xml" ContentType="application/vnd.openxmlformats-officedocument.presentationml.slideLayout+xml"/>
  <Override PartName="/ppt/slideLayouts/slideLayout1372.xml" ContentType="application/vnd.openxmlformats-officedocument.presentationml.slideLayout+xml"/>
  <Override PartName="/ppt/slideLayouts/slideLayout1373.xml" ContentType="application/vnd.openxmlformats-officedocument.presentationml.slideLayout+xml"/>
  <Override PartName="/ppt/slideLayouts/slideLayout1374.xml" ContentType="application/vnd.openxmlformats-officedocument.presentationml.slideLayout+xml"/>
  <Override PartName="/ppt/slideLayouts/slideLayout1375.xml" ContentType="application/vnd.openxmlformats-officedocument.presentationml.slideLayout+xml"/>
  <Override PartName="/ppt/slideLayouts/slideLayout1376.xml" ContentType="application/vnd.openxmlformats-officedocument.presentationml.slideLayout+xml"/>
  <Override PartName="/ppt/slideLayouts/slideLayout1377.xml" ContentType="application/vnd.openxmlformats-officedocument.presentationml.slideLayout+xml"/>
  <Override PartName="/ppt/slideLayouts/slideLayout1378.xml" ContentType="application/vnd.openxmlformats-officedocument.presentationml.slideLayout+xml"/>
  <Override PartName="/ppt/slideLayouts/slideLayout1379.xml" ContentType="application/vnd.openxmlformats-officedocument.presentationml.slideLayout+xml"/>
  <Override PartName="/ppt/slideLayouts/slideLayout1380.xml" ContentType="application/vnd.openxmlformats-officedocument.presentationml.slideLayout+xml"/>
  <Override PartName="/ppt/slideLayouts/slideLayout1381.xml" ContentType="application/vnd.openxmlformats-officedocument.presentationml.slideLayout+xml"/>
  <Override PartName="/ppt/slideLayouts/slideLayout1382.xml" ContentType="application/vnd.openxmlformats-officedocument.presentationml.slideLayout+xml"/>
  <Override PartName="/ppt/slideLayouts/slideLayout1383.xml" ContentType="application/vnd.openxmlformats-officedocument.presentationml.slideLayout+xml"/>
  <Override PartName="/ppt/slideLayouts/slideLayout1384.xml" ContentType="application/vnd.openxmlformats-officedocument.presentationml.slideLayout+xml"/>
  <Override PartName="/ppt/slideLayouts/slideLayout1385.xml" ContentType="application/vnd.openxmlformats-officedocument.presentationml.slideLayout+xml"/>
  <Override PartName="/ppt/slideLayouts/slideLayout1386.xml" ContentType="application/vnd.openxmlformats-officedocument.presentationml.slideLayout+xml"/>
  <Override PartName="/ppt/slideLayouts/slideLayout1387.xml" ContentType="application/vnd.openxmlformats-officedocument.presentationml.slideLayout+xml"/>
  <Override PartName="/ppt/slideLayouts/slideLayout1388.xml" ContentType="application/vnd.openxmlformats-officedocument.presentationml.slideLayout+xml"/>
  <Override PartName="/ppt/slideLayouts/slideLayout1389.xml" ContentType="application/vnd.openxmlformats-officedocument.presentationml.slideLayout+xml"/>
  <Override PartName="/ppt/slideLayouts/slideLayout1390.xml" ContentType="application/vnd.openxmlformats-officedocument.presentationml.slideLayout+xml"/>
  <Override PartName="/ppt/slideLayouts/slideLayout1391.xml" ContentType="application/vnd.openxmlformats-officedocument.presentationml.slideLayout+xml"/>
  <Override PartName="/ppt/slideLayouts/slideLayout1392.xml" ContentType="application/vnd.openxmlformats-officedocument.presentationml.slideLayout+xml"/>
  <Override PartName="/ppt/slideLayouts/slideLayout1393.xml" ContentType="application/vnd.openxmlformats-officedocument.presentationml.slideLayout+xml"/>
  <Override PartName="/ppt/slideLayouts/slideLayout1394.xml" ContentType="application/vnd.openxmlformats-officedocument.presentationml.slideLayout+xml"/>
  <Override PartName="/ppt/slideLayouts/slideLayout1395.xml" ContentType="application/vnd.openxmlformats-officedocument.presentationml.slideLayout+xml"/>
  <Override PartName="/ppt/slideLayouts/slideLayout1396.xml" ContentType="application/vnd.openxmlformats-officedocument.presentationml.slideLayout+xml"/>
  <Override PartName="/ppt/slideLayouts/slideLayout1397.xml" ContentType="application/vnd.openxmlformats-officedocument.presentationml.slideLayout+xml"/>
  <Override PartName="/ppt/slideLayouts/slideLayout1398.xml" ContentType="application/vnd.openxmlformats-officedocument.presentationml.slideLayout+xml"/>
  <Override PartName="/ppt/slideLayouts/slideLayout1399.xml" ContentType="application/vnd.openxmlformats-officedocument.presentationml.slideLayout+xml"/>
  <Override PartName="/ppt/slideLayouts/slideLayout1400.xml" ContentType="application/vnd.openxmlformats-officedocument.presentationml.slideLayout+xml"/>
  <Override PartName="/ppt/slideLayouts/slideLayout1401.xml" ContentType="application/vnd.openxmlformats-officedocument.presentationml.slideLayout+xml"/>
  <Override PartName="/ppt/slideLayouts/slideLayout1402.xml" ContentType="application/vnd.openxmlformats-officedocument.presentationml.slideLayout+xml"/>
  <Override PartName="/ppt/slideLayouts/slideLayout1403.xml" ContentType="application/vnd.openxmlformats-officedocument.presentationml.slideLayout+xml"/>
  <Override PartName="/ppt/slideLayouts/slideLayout1404.xml" ContentType="application/vnd.openxmlformats-officedocument.presentationml.slideLayout+xml"/>
  <Override PartName="/ppt/slideLayouts/slideLayout1405.xml" ContentType="application/vnd.openxmlformats-officedocument.presentationml.slideLayout+xml"/>
  <Override PartName="/ppt/slideLayouts/slideLayout1406.xml" ContentType="application/vnd.openxmlformats-officedocument.presentationml.slideLayout+xml"/>
  <Override PartName="/ppt/slideLayouts/slideLayout1407.xml" ContentType="application/vnd.openxmlformats-officedocument.presentationml.slideLayout+xml"/>
  <Override PartName="/ppt/slideLayouts/slideLayout1408.xml" ContentType="application/vnd.openxmlformats-officedocument.presentationml.slideLayout+xml"/>
  <Override PartName="/ppt/slideLayouts/slideLayout1409.xml" ContentType="application/vnd.openxmlformats-officedocument.presentationml.slideLayout+xml"/>
  <Override PartName="/ppt/slideLayouts/slideLayout1410.xml" ContentType="application/vnd.openxmlformats-officedocument.presentationml.slideLayout+xml"/>
  <Override PartName="/ppt/slideLayouts/slideLayout1411.xml" ContentType="application/vnd.openxmlformats-officedocument.presentationml.slideLayout+xml"/>
  <Override PartName="/ppt/slideLayouts/slideLayout1412.xml" ContentType="application/vnd.openxmlformats-officedocument.presentationml.slideLayout+xml"/>
  <Override PartName="/ppt/slideLayouts/slideLayout1413.xml" ContentType="application/vnd.openxmlformats-officedocument.presentationml.slideLayout+xml"/>
  <Override PartName="/ppt/slideLayouts/slideLayout1414.xml" ContentType="application/vnd.openxmlformats-officedocument.presentationml.slideLayout+xml"/>
  <Override PartName="/ppt/slideLayouts/slideLayout1415.xml" ContentType="application/vnd.openxmlformats-officedocument.presentationml.slideLayout+xml"/>
  <Override PartName="/ppt/slideLayouts/slideLayout1416.xml" ContentType="application/vnd.openxmlformats-officedocument.presentationml.slideLayout+xml"/>
  <Override PartName="/ppt/slideLayouts/slideLayout1417.xml" ContentType="application/vnd.openxmlformats-officedocument.presentationml.slideLayout+xml"/>
  <Override PartName="/ppt/slideLayouts/slideLayout1418.xml" ContentType="application/vnd.openxmlformats-officedocument.presentationml.slideLayout+xml"/>
  <Override PartName="/ppt/slideLayouts/slideLayout1419.xml" ContentType="application/vnd.openxmlformats-officedocument.presentationml.slideLayout+xml"/>
  <Override PartName="/ppt/slideLayouts/slideLayout1420.xml" ContentType="application/vnd.openxmlformats-officedocument.presentationml.slideLayout+xml"/>
  <Override PartName="/ppt/slideLayouts/slideLayout1421.xml" ContentType="application/vnd.openxmlformats-officedocument.presentationml.slideLayout+xml"/>
  <Override PartName="/ppt/slideLayouts/slideLayout1422.xml" ContentType="application/vnd.openxmlformats-officedocument.presentationml.slideLayout+xml"/>
  <Override PartName="/ppt/slideLayouts/slideLayout1423.xml" ContentType="application/vnd.openxmlformats-officedocument.presentationml.slideLayout+xml"/>
  <Override PartName="/ppt/slideLayouts/slideLayout1424.xml" ContentType="application/vnd.openxmlformats-officedocument.presentationml.slideLayout+xml"/>
  <Override PartName="/ppt/slideLayouts/slideLayout1425.xml" ContentType="application/vnd.openxmlformats-officedocument.presentationml.slideLayout+xml"/>
  <Override PartName="/ppt/slideLayouts/slideLayout1426.xml" ContentType="application/vnd.openxmlformats-officedocument.presentationml.slideLayout+xml"/>
  <Override PartName="/ppt/slideLayouts/slideLayout1427.xml" ContentType="application/vnd.openxmlformats-officedocument.presentationml.slideLayout+xml"/>
  <Override PartName="/ppt/slideLayouts/slideLayout1428.xml" ContentType="application/vnd.openxmlformats-officedocument.presentationml.slideLayout+xml"/>
  <Override PartName="/ppt/slideLayouts/slideLayout1429.xml" ContentType="application/vnd.openxmlformats-officedocument.presentationml.slideLayout+xml"/>
  <Override PartName="/ppt/slideLayouts/slideLayout1430.xml" ContentType="application/vnd.openxmlformats-officedocument.presentationml.slideLayout+xml"/>
  <Override PartName="/ppt/slideLayouts/slideLayout1431.xml" ContentType="application/vnd.openxmlformats-officedocument.presentationml.slideLayout+xml"/>
  <Override PartName="/ppt/slideLayouts/slideLayout1432.xml" ContentType="application/vnd.openxmlformats-officedocument.presentationml.slideLayout+xml"/>
  <Override PartName="/ppt/slideLayouts/slideLayout1433.xml" ContentType="application/vnd.openxmlformats-officedocument.presentationml.slideLayout+xml"/>
  <Override PartName="/ppt/slideLayouts/slideLayout1434.xml" ContentType="application/vnd.openxmlformats-officedocument.presentationml.slideLayout+xml"/>
  <Override PartName="/ppt/slideLayouts/slideLayout1435.xml" ContentType="application/vnd.openxmlformats-officedocument.presentationml.slideLayout+xml"/>
  <Override PartName="/ppt/slideLayouts/slideLayout1436.xml" ContentType="application/vnd.openxmlformats-officedocument.presentationml.slideLayout+xml"/>
  <Override PartName="/ppt/slideLayouts/slideLayout1437.xml" ContentType="application/vnd.openxmlformats-officedocument.presentationml.slideLayout+xml"/>
  <Override PartName="/ppt/slideLayouts/slideLayout1438.xml" ContentType="application/vnd.openxmlformats-officedocument.presentationml.slideLayout+xml"/>
  <Override PartName="/ppt/slideLayouts/slideLayout1439.xml" ContentType="application/vnd.openxmlformats-officedocument.presentationml.slideLayout+xml"/>
  <Override PartName="/ppt/slideLayouts/slideLayout1440.xml" ContentType="application/vnd.openxmlformats-officedocument.presentationml.slideLayout+xml"/>
  <Override PartName="/ppt/slideLayouts/slideLayout1441.xml" ContentType="application/vnd.openxmlformats-officedocument.presentationml.slideLayout+xml"/>
  <Override PartName="/ppt/slideLayouts/slideLayout1442.xml" ContentType="application/vnd.openxmlformats-officedocument.presentationml.slideLayout+xml"/>
  <Override PartName="/ppt/slideLayouts/slideLayout1443.xml" ContentType="application/vnd.openxmlformats-officedocument.presentationml.slideLayout+xml"/>
  <Override PartName="/ppt/slideLayouts/slideLayout1444.xml" ContentType="application/vnd.openxmlformats-officedocument.presentationml.slideLayout+xml"/>
  <Override PartName="/ppt/slideLayouts/slideLayout1445.xml" ContentType="application/vnd.openxmlformats-officedocument.presentationml.slideLayout+xml"/>
  <Override PartName="/ppt/slideLayouts/slideLayout1446.xml" ContentType="application/vnd.openxmlformats-officedocument.presentationml.slideLayout+xml"/>
  <Override PartName="/ppt/slideLayouts/slideLayout1447.xml" ContentType="application/vnd.openxmlformats-officedocument.presentationml.slideLayout+xml"/>
  <Override PartName="/ppt/slideLayouts/slideLayout1448.xml" ContentType="application/vnd.openxmlformats-officedocument.presentationml.slideLayout+xml"/>
  <Override PartName="/ppt/slideLayouts/slideLayout1449.xml" ContentType="application/vnd.openxmlformats-officedocument.presentationml.slideLayout+xml"/>
  <Override PartName="/ppt/slideLayouts/slideLayout1450.xml" ContentType="application/vnd.openxmlformats-officedocument.presentationml.slideLayout+xml"/>
  <Override PartName="/ppt/slideLayouts/slideLayout1451.xml" ContentType="application/vnd.openxmlformats-officedocument.presentationml.slideLayout+xml"/>
  <Override PartName="/ppt/slideLayouts/slideLayout1452.xml" ContentType="application/vnd.openxmlformats-officedocument.presentationml.slideLayout+xml"/>
  <Override PartName="/ppt/slideLayouts/slideLayout1453.xml" ContentType="application/vnd.openxmlformats-officedocument.presentationml.slideLayout+xml"/>
  <Override PartName="/ppt/slideLayouts/slideLayout1454.xml" ContentType="application/vnd.openxmlformats-officedocument.presentationml.slideLayout+xml"/>
  <Override PartName="/ppt/slideLayouts/slideLayout1455.xml" ContentType="application/vnd.openxmlformats-officedocument.presentationml.slideLayout+xml"/>
  <Override PartName="/ppt/slideLayouts/slideLayout1456.xml" ContentType="application/vnd.openxmlformats-officedocument.presentationml.slideLayout+xml"/>
  <Override PartName="/ppt/slideLayouts/slideLayout1457.xml" ContentType="application/vnd.openxmlformats-officedocument.presentationml.slideLayout+xml"/>
  <Override PartName="/ppt/slideLayouts/slideLayout1458.xml" ContentType="application/vnd.openxmlformats-officedocument.presentationml.slideLayout+xml"/>
  <Override PartName="/ppt/slideLayouts/slideLayout1459.xml" ContentType="application/vnd.openxmlformats-officedocument.presentationml.slideLayout+xml"/>
  <Override PartName="/ppt/slideLayouts/slideLayout1460.xml" ContentType="application/vnd.openxmlformats-officedocument.presentationml.slideLayout+xml"/>
  <Override PartName="/ppt/slideLayouts/slideLayout1461.xml" ContentType="application/vnd.openxmlformats-officedocument.presentationml.slideLayout+xml"/>
  <Override PartName="/ppt/slideLayouts/slideLayout1462.xml" ContentType="application/vnd.openxmlformats-officedocument.presentationml.slideLayout+xml"/>
  <Override PartName="/ppt/slideLayouts/slideLayout1463.xml" ContentType="application/vnd.openxmlformats-officedocument.presentationml.slideLayout+xml"/>
  <Override PartName="/ppt/slideLayouts/slideLayout1464.xml" ContentType="application/vnd.openxmlformats-officedocument.presentationml.slideLayout+xml"/>
  <Override PartName="/ppt/slideLayouts/slideLayout1465.xml" ContentType="application/vnd.openxmlformats-officedocument.presentationml.slideLayout+xml"/>
  <Override PartName="/ppt/slideLayouts/slideLayout1466.xml" ContentType="application/vnd.openxmlformats-officedocument.presentationml.slideLayout+xml"/>
  <Override PartName="/ppt/slideLayouts/slideLayout1467.xml" ContentType="application/vnd.openxmlformats-officedocument.presentationml.slideLayout+xml"/>
  <Override PartName="/ppt/slideLayouts/slideLayout1468.xml" ContentType="application/vnd.openxmlformats-officedocument.presentationml.slideLayout+xml"/>
  <Override PartName="/ppt/slideLayouts/slideLayout1469.xml" ContentType="application/vnd.openxmlformats-officedocument.presentationml.slideLayout+xml"/>
  <Override PartName="/ppt/slideLayouts/slideLayout1470.xml" ContentType="application/vnd.openxmlformats-officedocument.presentationml.slideLayout+xml"/>
  <Override PartName="/ppt/slideLayouts/slideLayout1471.xml" ContentType="application/vnd.openxmlformats-officedocument.presentationml.slideLayout+xml"/>
  <Override PartName="/ppt/slideLayouts/slideLayout1472.xml" ContentType="application/vnd.openxmlformats-officedocument.presentationml.slideLayout+xml"/>
  <Override PartName="/ppt/slideLayouts/slideLayout1473.xml" ContentType="application/vnd.openxmlformats-officedocument.presentationml.slideLayout+xml"/>
  <Override PartName="/ppt/slideLayouts/slideLayout1474.xml" ContentType="application/vnd.openxmlformats-officedocument.presentationml.slideLayout+xml"/>
  <Override PartName="/ppt/slideLayouts/slideLayout1475.xml" ContentType="application/vnd.openxmlformats-officedocument.presentationml.slideLayout+xml"/>
  <Override PartName="/ppt/slideLayouts/slideLayout1476.xml" ContentType="application/vnd.openxmlformats-officedocument.presentationml.slideLayout+xml"/>
  <Override PartName="/ppt/slideLayouts/slideLayout1477.xml" ContentType="application/vnd.openxmlformats-officedocument.presentationml.slideLayout+xml"/>
  <Override PartName="/ppt/slideLayouts/slideLayout1478.xml" ContentType="application/vnd.openxmlformats-officedocument.presentationml.slideLayout+xml"/>
  <Override PartName="/ppt/slideLayouts/slideLayout1479.xml" ContentType="application/vnd.openxmlformats-officedocument.presentationml.slideLayout+xml"/>
  <Override PartName="/ppt/slideLayouts/slideLayout1480.xml" ContentType="application/vnd.openxmlformats-officedocument.presentationml.slideLayout+xml"/>
  <Override PartName="/ppt/slideLayouts/slideLayout1481.xml" ContentType="application/vnd.openxmlformats-officedocument.presentationml.slideLayout+xml"/>
  <Override PartName="/ppt/slideLayouts/slideLayout1482.xml" ContentType="application/vnd.openxmlformats-officedocument.presentationml.slideLayout+xml"/>
  <Override PartName="/ppt/slideLayouts/slideLayout1483.xml" ContentType="application/vnd.openxmlformats-officedocument.presentationml.slideLayout+xml"/>
  <Override PartName="/ppt/slideLayouts/slideLayout1484.xml" ContentType="application/vnd.openxmlformats-officedocument.presentationml.slideLayout+xml"/>
  <Override PartName="/ppt/slideLayouts/slideLayout1485.xml" ContentType="application/vnd.openxmlformats-officedocument.presentationml.slideLayout+xml"/>
  <Override PartName="/ppt/slideLayouts/slideLayout1486.xml" ContentType="application/vnd.openxmlformats-officedocument.presentationml.slideLayout+xml"/>
  <Override PartName="/ppt/slideLayouts/slideLayout1487.xml" ContentType="application/vnd.openxmlformats-officedocument.presentationml.slideLayout+xml"/>
  <Override PartName="/ppt/slideLayouts/slideLayout1488.xml" ContentType="application/vnd.openxmlformats-officedocument.presentationml.slideLayout+xml"/>
  <Override PartName="/ppt/slideLayouts/slideLayout1489.xml" ContentType="application/vnd.openxmlformats-officedocument.presentationml.slideLayout+xml"/>
  <Override PartName="/ppt/slideLayouts/slideLayout1490.xml" ContentType="application/vnd.openxmlformats-officedocument.presentationml.slideLayout+xml"/>
  <Override PartName="/ppt/slideLayouts/slideLayout1491.xml" ContentType="application/vnd.openxmlformats-officedocument.presentationml.slideLayout+xml"/>
  <Override PartName="/ppt/slideLayouts/slideLayout1492.xml" ContentType="application/vnd.openxmlformats-officedocument.presentationml.slideLayout+xml"/>
  <Override PartName="/ppt/slideLayouts/slideLayout1493.xml" ContentType="application/vnd.openxmlformats-officedocument.presentationml.slideLayout+xml"/>
  <Override PartName="/ppt/slideLayouts/slideLayout1494.xml" ContentType="application/vnd.openxmlformats-officedocument.presentationml.slideLayout+xml"/>
  <Override PartName="/ppt/slideLayouts/slideLayout1495.xml" ContentType="application/vnd.openxmlformats-officedocument.presentationml.slideLayout+xml"/>
  <Override PartName="/ppt/slideLayouts/slideLayout1496.xml" ContentType="application/vnd.openxmlformats-officedocument.presentationml.slideLayout+xml"/>
  <Override PartName="/ppt/slideLayouts/slideLayout1497.xml" ContentType="application/vnd.openxmlformats-officedocument.presentationml.slideLayout+xml"/>
  <Override PartName="/ppt/slideLayouts/slideLayout1498.xml" ContentType="application/vnd.openxmlformats-officedocument.presentationml.slideLayout+xml"/>
  <Override PartName="/ppt/slideLayouts/slideLayout1499.xml" ContentType="application/vnd.openxmlformats-officedocument.presentationml.slideLayout+xml"/>
  <Override PartName="/ppt/slideLayouts/slideLayout1500.xml" ContentType="application/vnd.openxmlformats-officedocument.presentationml.slideLayout+xml"/>
  <Override PartName="/ppt/slideLayouts/slideLayout1501.xml" ContentType="application/vnd.openxmlformats-officedocument.presentationml.slideLayout+xml"/>
  <Override PartName="/ppt/slideLayouts/slideLayout1502.xml" ContentType="application/vnd.openxmlformats-officedocument.presentationml.slideLayout+xml"/>
  <Override PartName="/ppt/slideLayouts/slideLayout1503.xml" ContentType="application/vnd.openxmlformats-officedocument.presentationml.slideLayout+xml"/>
  <Override PartName="/ppt/slideLayouts/slideLayout1504.xml" ContentType="application/vnd.openxmlformats-officedocument.presentationml.slideLayout+xml"/>
  <Override PartName="/ppt/slideLayouts/slideLayout1505.xml" ContentType="application/vnd.openxmlformats-officedocument.presentationml.slideLayout+xml"/>
  <Override PartName="/ppt/slideLayouts/slideLayout1506.xml" ContentType="application/vnd.openxmlformats-officedocument.presentationml.slideLayout+xml"/>
  <Override PartName="/ppt/slideLayouts/slideLayout1507.xml" ContentType="application/vnd.openxmlformats-officedocument.presentationml.slideLayout+xml"/>
  <Override PartName="/ppt/slideLayouts/slideLayout1508.xml" ContentType="application/vnd.openxmlformats-officedocument.presentationml.slideLayout+xml"/>
  <Override PartName="/ppt/slideLayouts/slideLayout1509.xml" ContentType="application/vnd.openxmlformats-officedocument.presentationml.slideLayout+xml"/>
  <Override PartName="/ppt/slideLayouts/slideLayout1510.xml" ContentType="application/vnd.openxmlformats-officedocument.presentationml.slideLayout+xml"/>
  <Override PartName="/ppt/slideLayouts/slideLayout1511.xml" ContentType="application/vnd.openxmlformats-officedocument.presentationml.slideLayout+xml"/>
  <Override PartName="/ppt/slideLayouts/slideLayout1512.xml" ContentType="application/vnd.openxmlformats-officedocument.presentationml.slideLayout+xml"/>
  <Override PartName="/ppt/slideLayouts/slideLayout1513.xml" ContentType="application/vnd.openxmlformats-officedocument.presentationml.slideLayout+xml"/>
  <Override PartName="/ppt/slideLayouts/slideLayout1514.xml" ContentType="application/vnd.openxmlformats-officedocument.presentationml.slideLayout+xml"/>
  <Override PartName="/ppt/slideLayouts/slideLayout1515.xml" ContentType="application/vnd.openxmlformats-officedocument.presentationml.slideLayout+xml"/>
  <Override PartName="/ppt/slideLayouts/slideLayout1516.xml" ContentType="application/vnd.openxmlformats-officedocument.presentationml.slideLayout+xml"/>
  <Override PartName="/ppt/slideLayouts/slideLayout1517.xml" ContentType="application/vnd.openxmlformats-officedocument.presentationml.slideLayout+xml"/>
  <Override PartName="/ppt/slideLayouts/slideLayout1518.xml" ContentType="application/vnd.openxmlformats-officedocument.presentationml.slideLayout+xml"/>
  <Override PartName="/ppt/slideLayouts/slideLayout1519.xml" ContentType="application/vnd.openxmlformats-officedocument.presentationml.slideLayout+xml"/>
  <Override PartName="/ppt/slideLayouts/slideLayout1520.xml" ContentType="application/vnd.openxmlformats-officedocument.presentationml.slideLayout+xml"/>
  <Override PartName="/ppt/slideLayouts/slideLayout1521.xml" ContentType="application/vnd.openxmlformats-officedocument.presentationml.slideLayout+xml"/>
  <Override PartName="/ppt/slideLayouts/slideLayout1522.xml" ContentType="application/vnd.openxmlformats-officedocument.presentationml.slideLayout+xml"/>
  <Override PartName="/ppt/slideLayouts/slideLayout1523.xml" ContentType="application/vnd.openxmlformats-officedocument.presentationml.slideLayout+xml"/>
  <Override PartName="/ppt/slideLayouts/slideLayout1524.xml" ContentType="application/vnd.openxmlformats-officedocument.presentationml.slideLayout+xml"/>
  <Override PartName="/ppt/slideLayouts/slideLayout1525.xml" ContentType="application/vnd.openxmlformats-officedocument.presentationml.slideLayout+xml"/>
  <Override PartName="/ppt/slideLayouts/slideLayout1526.xml" ContentType="application/vnd.openxmlformats-officedocument.presentationml.slideLayout+xml"/>
  <Override PartName="/ppt/slideLayouts/slideLayout1527.xml" ContentType="application/vnd.openxmlformats-officedocument.presentationml.slideLayout+xml"/>
  <Override PartName="/ppt/slideLayouts/slideLayout1528.xml" ContentType="application/vnd.openxmlformats-officedocument.presentationml.slideLayout+xml"/>
  <Override PartName="/ppt/slideLayouts/slideLayout1529.xml" ContentType="application/vnd.openxmlformats-officedocument.presentationml.slideLayout+xml"/>
  <Override PartName="/ppt/slideLayouts/slideLayout1530.xml" ContentType="application/vnd.openxmlformats-officedocument.presentationml.slideLayout+xml"/>
  <Override PartName="/ppt/slideLayouts/slideLayout1531.xml" ContentType="application/vnd.openxmlformats-officedocument.presentationml.slideLayout+xml"/>
  <Override PartName="/ppt/slideLayouts/slideLayout1532.xml" ContentType="application/vnd.openxmlformats-officedocument.presentationml.slideLayout+xml"/>
  <Override PartName="/ppt/slideLayouts/slideLayout1533.xml" ContentType="application/vnd.openxmlformats-officedocument.presentationml.slideLayout+xml"/>
  <Override PartName="/ppt/slideLayouts/slideLayout1534.xml" ContentType="application/vnd.openxmlformats-officedocument.presentationml.slideLayout+xml"/>
  <Override PartName="/ppt/slideLayouts/slideLayout1535.xml" ContentType="application/vnd.openxmlformats-officedocument.presentationml.slideLayout+xml"/>
  <Override PartName="/ppt/slideLayouts/slideLayout1536.xml" ContentType="application/vnd.openxmlformats-officedocument.presentationml.slideLayout+xml"/>
  <Override PartName="/ppt/slideLayouts/slideLayout1537.xml" ContentType="application/vnd.openxmlformats-officedocument.presentationml.slideLayout+xml"/>
  <Override PartName="/ppt/slideLayouts/slideLayout1538.xml" ContentType="application/vnd.openxmlformats-officedocument.presentationml.slideLayout+xml"/>
  <Override PartName="/ppt/slideLayouts/slideLayout1539.xml" ContentType="application/vnd.openxmlformats-officedocument.presentationml.slideLayout+xml"/>
  <Override PartName="/ppt/slideLayouts/slideLayout1540.xml" ContentType="application/vnd.openxmlformats-officedocument.presentationml.slideLayout+xml"/>
  <Override PartName="/ppt/slideLayouts/slideLayout1541.xml" ContentType="application/vnd.openxmlformats-officedocument.presentationml.slideLayout+xml"/>
  <Override PartName="/ppt/slideLayouts/slideLayout1542.xml" ContentType="application/vnd.openxmlformats-officedocument.presentationml.slideLayout+xml"/>
  <Override PartName="/ppt/slideLayouts/slideLayout1543.xml" ContentType="application/vnd.openxmlformats-officedocument.presentationml.slideLayout+xml"/>
  <Override PartName="/ppt/slideLayouts/slideLayout1544.xml" ContentType="application/vnd.openxmlformats-officedocument.presentationml.slideLayout+xml"/>
  <Override PartName="/ppt/slideLayouts/slideLayout1545.xml" ContentType="application/vnd.openxmlformats-officedocument.presentationml.slideLayout+xml"/>
  <Override PartName="/ppt/slideLayouts/slideLayout1546.xml" ContentType="application/vnd.openxmlformats-officedocument.presentationml.slideLayout+xml"/>
  <Override PartName="/ppt/slideLayouts/slideLayout1547.xml" ContentType="application/vnd.openxmlformats-officedocument.presentationml.slideLayout+xml"/>
  <Override PartName="/ppt/slideLayouts/slideLayout1548.xml" ContentType="application/vnd.openxmlformats-officedocument.presentationml.slideLayout+xml"/>
  <Override PartName="/ppt/slideLayouts/slideLayout1549.xml" ContentType="application/vnd.openxmlformats-officedocument.presentationml.slideLayout+xml"/>
  <Override PartName="/ppt/slideLayouts/slideLayout1550.xml" ContentType="application/vnd.openxmlformats-officedocument.presentationml.slideLayout+xml"/>
  <Override PartName="/ppt/slideLayouts/slideLayout1551.xml" ContentType="application/vnd.openxmlformats-officedocument.presentationml.slideLayout+xml"/>
  <Override PartName="/ppt/slideLayouts/slideLayout1552.xml" ContentType="application/vnd.openxmlformats-officedocument.presentationml.slideLayout+xml"/>
  <Override PartName="/ppt/slideLayouts/slideLayout1553.xml" ContentType="application/vnd.openxmlformats-officedocument.presentationml.slideLayout+xml"/>
  <Override PartName="/ppt/slideLayouts/slideLayout1554.xml" ContentType="application/vnd.openxmlformats-officedocument.presentationml.slideLayout+xml"/>
  <Override PartName="/ppt/slideLayouts/slideLayout1555.xml" ContentType="application/vnd.openxmlformats-officedocument.presentationml.slideLayout+xml"/>
  <Override PartName="/ppt/slideLayouts/slideLayout1556.xml" ContentType="application/vnd.openxmlformats-officedocument.presentationml.slideLayout+xml"/>
  <Override PartName="/ppt/slideLayouts/slideLayout1557.xml" ContentType="application/vnd.openxmlformats-officedocument.presentationml.slideLayout+xml"/>
  <Override PartName="/ppt/slideLayouts/slideLayout1558.xml" ContentType="application/vnd.openxmlformats-officedocument.presentationml.slideLayout+xml"/>
  <Override PartName="/ppt/slideLayouts/slideLayout1559.xml" ContentType="application/vnd.openxmlformats-officedocument.presentationml.slideLayout+xml"/>
  <Override PartName="/ppt/slideLayouts/slideLayout1560.xml" ContentType="application/vnd.openxmlformats-officedocument.presentationml.slideLayout+xml"/>
  <Override PartName="/ppt/slideLayouts/slideLayout1561.xml" ContentType="application/vnd.openxmlformats-officedocument.presentationml.slideLayout+xml"/>
  <Override PartName="/ppt/slideLayouts/slideLayout1562.xml" ContentType="application/vnd.openxmlformats-officedocument.presentationml.slideLayout+xml"/>
  <Override PartName="/ppt/slideLayouts/slideLayout1563.xml" ContentType="application/vnd.openxmlformats-officedocument.presentationml.slideLayout+xml"/>
  <Override PartName="/ppt/slideLayouts/slideLayout1564.xml" ContentType="application/vnd.openxmlformats-officedocument.presentationml.slideLayout+xml"/>
  <Override PartName="/ppt/slideLayouts/slideLayout1565.xml" ContentType="application/vnd.openxmlformats-officedocument.presentationml.slideLayout+xml"/>
  <Override PartName="/ppt/slideLayouts/slideLayout1566.xml" ContentType="application/vnd.openxmlformats-officedocument.presentationml.slideLayout+xml"/>
  <Override PartName="/ppt/slideLayouts/slideLayout1567.xml" ContentType="application/vnd.openxmlformats-officedocument.presentationml.slideLayout+xml"/>
  <Override PartName="/ppt/slideLayouts/slideLayout1568.xml" ContentType="application/vnd.openxmlformats-officedocument.presentationml.slideLayout+xml"/>
  <Override PartName="/ppt/slideLayouts/slideLayout1569.xml" ContentType="application/vnd.openxmlformats-officedocument.presentationml.slideLayout+xml"/>
  <Override PartName="/ppt/slideLayouts/slideLayout1570.xml" ContentType="application/vnd.openxmlformats-officedocument.presentationml.slideLayout+xml"/>
  <Override PartName="/ppt/slideLayouts/slideLayout1571.xml" ContentType="application/vnd.openxmlformats-officedocument.presentationml.slideLayout+xml"/>
  <Override PartName="/ppt/slideLayouts/slideLayout1572.xml" ContentType="application/vnd.openxmlformats-officedocument.presentationml.slideLayout+xml"/>
  <Override PartName="/ppt/slideLayouts/slideLayout1573.xml" ContentType="application/vnd.openxmlformats-officedocument.presentationml.slideLayout+xml"/>
  <Override PartName="/ppt/slideLayouts/slideLayout1574.xml" ContentType="application/vnd.openxmlformats-officedocument.presentationml.slideLayout+xml"/>
  <Override PartName="/ppt/theme/theme4.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omments/modernComment_2E1_440EB12B.xml" ContentType="application/vnd.ms-powerpoint.comment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omments/modernComment_2D9_CC678456.xml" ContentType="application/vnd.ms-powerpoint.comment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omments/modernComment_2E7_403B96C1.xml" ContentType="application/vnd.ms-powerpoint.comment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9.xml" ContentType="application/vnd.openxmlformats-officedocument.presentationml.notesSlide+xml"/>
  <Override PartName="/ppt/comments/modernComment_2E8_908653B0.xml" ContentType="application/vnd.ms-powerpoint.comment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56" r:id="rId1"/>
    <p:sldMasterId id="2147483648" r:id="rId2"/>
    <p:sldMasterId id="2147484595" r:id="rId3"/>
    <p:sldMasterId id="2147487382" r:id="rId4"/>
  </p:sldMasterIdLst>
  <p:notesMasterIdLst>
    <p:notesMasterId r:id="rId88"/>
  </p:notesMasterIdLst>
  <p:sldIdLst>
    <p:sldId id="280" r:id="rId5"/>
    <p:sldId id="283" r:id="rId6"/>
    <p:sldId id="712" r:id="rId7"/>
    <p:sldId id="740" r:id="rId8"/>
    <p:sldId id="715" r:id="rId9"/>
    <p:sldId id="703" r:id="rId10"/>
    <p:sldId id="711" r:id="rId11"/>
    <p:sldId id="710" r:id="rId12"/>
    <p:sldId id="709" r:id="rId13"/>
    <p:sldId id="708" r:id="rId14"/>
    <p:sldId id="713" r:id="rId15"/>
    <p:sldId id="707" r:id="rId16"/>
    <p:sldId id="716" r:id="rId17"/>
    <p:sldId id="705" r:id="rId18"/>
    <p:sldId id="652" r:id="rId19"/>
    <p:sldId id="654" r:id="rId20"/>
    <p:sldId id="747" r:id="rId21"/>
    <p:sldId id="706" r:id="rId22"/>
    <p:sldId id="655" r:id="rId23"/>
    <p:sldId id="545" r:id="rId24"/>
    <p:sldId id="616" r:id="rId25"/>
    <p:sldId id="556" r:id="rId26"/>
    <p:sldId id="552" r:id="rId27"/>
    <p:sldId id="555" r:id="rId28"/>
    <p:sldId id="558" r:id="rId29"/>
    <p:sldId id="546" r:id="rId30"/>
    <p:sldId id="622" r:id="rId31"/>
    <p:sldId id="584" r:id="rId32"/>
    <p:sldId id="577" r:id="rId33"/>
    <p:sldId id="581" r:id="rId34"/>
    <p:sldId id="580" r:id="rId35"/>
    <p:sldId id="579" r:id="rId36"/>
    <p:sldId id="578" r:id="rId37"/>
    <p:sldId id="737" r:id="rId38"/>
    <p:sldId id="735" r:id="rId39"/>
    <p:sldId id="749" r:id="rId40"/>
    <p:sldId id="734" r:id="rId41"/>
    <p:sldId id="733" r:id="rId42"/>
    <p:sldId id="732" r:id="rId43"/>
    <p:sldId id="731" r:id="rId44"/>
    <p:sldId id="730" r:id="rId45"/>
    <p:sldId id="729" r:id="rId46"/>
    <p:sldId id="728" r:id="rId47"/>
    <p:sldId id="727" r:id="rId48"/>
    <p:sldId id="726" r:id="rId49"/>
    <p:sldId id="725" r:id="rId50"/>
    <p:sldId id="724" r:id="rId51"/>
    <p:sldId id="723" r:id="rId52"/>
    <p:sldId id="722" r:id="rId53"/>
    <p:sldId id="721" r:id="rId54"/>
    <p:sldId id="720" r:id="rId55"/>
    <p:sldId id="719" r:id="rId56"/>
    <p:sldId id="718" r:id="rId57"/>
    <p:sldId id="717" r:id="rId58"/>
    <p:sldId id="742" r:id="rId59"/>
    <p:sldId id="743" r:id="rId60"/>
    <p:sldId id="741" r:id="rId61"/>
    <p:sldId id="548" r:id="rId62"/>
    <p:sldId id="551" r:id="rId63"/>
    <p:sldId id="550" r:id="rId64"/>
    <p:sldId id="698" r:id="rId65"/>
    <p:sldId id="699" r:id="rId66"/>
    <p:sldId id="700" r:id="rId67"/>
    <p:sldId id="701" r:id="rId68"/>
    <p:sldId id="702" r:id="rId69"/>
    <p:sldId id="694" r:id="rId70"/>
    <p:sldId id="695" r:id="rId71"/>
    <p:sldId id="696" r:id="rId72"/>
    <p:sldId id="697" r:id="rId73"/>
    <p:sldId id="692" r:id="rId74"/>
    <p:sldId id="693" r:id="rId75"/>
    <p:sldId id="683" r:id="rId76"/>
    <p:sldId id="687" r:id="rId77"/>
    <p:sldId id="685" r:id="rId78"/>
    <p:sldId id="686" r:id="rId79"/>
    <p:sldId id="689" r:id="rId80"/>
    <p:sldId id="562" r:id="rId81"/>
    <p:sldId id="681" r:id="rId82"/>
    <p:sldId id="744" r:id="rId83"/>
    <p:sldId id="690" r:id="rId84"/>
    <p:sldId id="736" r:id="rId85"/>
    <p:sldId id="750" r:id="rId86"/>
    <p:sldId id="326" r:id="rId8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FBE01E-7B92-B9C0-0995-5C3FE74E91A1}" name="Alana Rivera" initials="AR" userId="S::arg3669@ads.northwestern.edu::fc8b707a-b7e9-4f2a-8d71-2d76819b7881" providerId="AD"/>
  <p188:author id="{C5E8FD3E-DBE1-911B-42BB-476104B578AF}" name="Daniel L Weiss" initials="DW" userId="S::dlw2885@ads.northwestern.edu::9eb720c2-52d8-4896-8792-48826e9f92f5" providerId="AD"/>
  <p188:author id="{0B48CC40-4357-5959-C41E-8F630855A478}" name="Aleena Lida Surenian" initials="AS" userId="S::als0813@ads.northwestern.edu::e2fd0e4e-6417-49b0-ab16-0ba26a1719f0" providerId="AD"/>
  <p188:author id="{65A64FCD-321F-D00C-6F0D-39389F913B93}" name="Isabel Rose Gippo" initials="" userId="S::irg9370@ads.northwestern.edu::b10bfe7e-55b9-46dd-9add-2eb52cb66d3b" providerId="AD"/>
  <p188:author id="{B1E8E1CE-C373-4BDB-0D3F-F84FE1DA86D4}" name="Eileen Fleming Suse" initials="ES" userId="S::efs3844@ads.northwestern.edu::725c94ef-d051-42d7-9d33-8572765d592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DEAEE"/>
    <a:srgbClr val="E7E9EE"/>
    <a:srgbClr val="F5668F"/>
    <a:srgbClr val="F4B03D"/>
    <a:srgbClr val="7030A0"/>
    <a:srgbClr val="D47FA1"/>
    <a:srgbClr val="4AB1B4"/>
    <a:srgbClr val="F9C04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41ED96-5143-9562-5248-833DF36573A1}" v="1" dt="2023-10-23T23:48:58.023"/>
    <p1510:client id="{11980D98-74D1-71E7-E86A-19E64303BD27}" v="153" dt="2023-10-30T16:12:53.918"/>
    <p1510:client id="{1D788AEF-8DA4-9FDC-F8F6-781996136A25}" v="1" dt="2023-11-20T17:20:03.301"/>
    <p1510:client id="{22D2D811-4E65-4C88-896C-E87684E0524E}" v="158" dt="2023-10-27T19:12:45.418"/>
    <p1510:client id="{27D417B1-AC1D-5613-774C-09BCD51B442A}" v="182" dt="2023-11-20T15:57:10.100"/>
    <p1510:client id="{2D3E1CBF-0F08-92B9-6543-9FE5E77E56E9}" v="418" dt="2023-10-28T14:57:28.029"/>
    <p1510:client id="{2F9B0802-2085-E0B0-3887-F6AEBA41C785}" v="19" dt="2023-10-27T20:01:53.166"/>
    <p1510:client id="{300BD813-CD9C-8649-0637-C0ACE24151DD}" v="50" dt="2023-10-26T17:23:46.185"/>
    <p1510:client id="{305AC9D0-E55A-2A1E-F2E7-EBEA3644D9AC}" v="84" dt="2023-10-24T16:00:52.345"/>
    <p1510:client id="{316D5976-A92B-4DA1-B7A8-34F7AEF9B15D}" v="4" dt="2023-10-25T16:12:34.060"/>
    <p1510:client id="{35DF06BD-25AA-054F-4D8F-840FED1FA1E6}" v="4" dt="2023-10-31T02:20:39.446"/>
    <p1510:client id="{36AFF060-5319-E6D5-0957-513AFAA6A2E5}" v="48" dt="2023-10-24T18:55:21.243"/>
    <p1510:client id="{3A3E4FEE-6F9B-7EC3-B167-3C31BBE96824}" v="665" dt="2023-10-31T16:46:24.892"/>
    <p1510:client id="{4159E2D1-1878-F778-C779-F53B58D257B9}" v="40" dt="2023-10-27T17:39:07.217"/>
    <p1510:client id="{4F909934-BF80-9406-F823-1BE12A003AA4}" v="15" dt="2023-11-20T15:22:24.918"/>
    <p1510:client id="{524F6783-CF9C-A7C1-D142-27E8864BC3CB}" v="52" dt="2023-10-24T02:49:43.199"/>
    <p1510:client id="{525C70A3-2AD6-57EA-9F7E-A6FC0841DEBD}" v="24" dt="2023-10-23T23:00:26.391"/>
    <p1510:client id="{5DC65600-F3C9-4205-B138-3708EB0A1C1D}" v="1" dt="2023-05-09T18:50:49.614"/>
    <p1510:client id="{61DCECB8-FCC4-463F-180A-DE94BEA715D4}" v="482" dt="2023-10-30T22:49:41.685"/>
    <p1510:client id="{6299E2EC-AA5F-793A-628C-EBCF8BF5D2B0}" v="2" dt="2023-11-20T14:40:33.879"/>
    <p1510:client id="{64CA3CFC-DFB9-4EB2-185A-94BBCF197F69}" v="12" dt="2023-10-31T18:53:06.815"/>
    <p1510:client id="{6F4BA6F9-4A5A-3B13-85C3-6DB0B61CBC00}" v="2882" dt="2023-10-24T15:58:08.213"/>
    <p1510:client id="{782B053E-75E5-959C-8BAD-C5B3CB312E1F}" v="9" dt="2023-10-27T17:32:56.380"/>
    <p1510:client id="{8024C570-7E9A-022B-CE90-C0FD861720C1}" v="843" dt="2023-10-23T23:03:36.862"/>
    <p1510:client id="{8544FFE2-8133-585B-66CC-2C8177C23087}" v="372" dt="2023-11-18T01:37:30.204"/>
    <p1510:client id="{85CD7F39-8F26-7081-E17F-9CFE5E103D63}" v="54" dt="2023-10-24T19:03:39.508"/>
    <p1510:client id="{8E3BEBCA-AD6A-76DA-B8D3-33301DA82F27}" v="45" dt="2023-10-24T18:26:04.342"/>
    <p1510:client id="{8E54177A-FEA1-170D-0EA8-ABD6FF4ACD90}" v="42" dt="2023-10-30T19:44:29.502"/>
    <p1510:client id="{9570DE12-7482-A365-A3C2-E94E5026C97C}" v="21" dt="2023-11-17T16:55:40.336"/>
    <p1510:client id="{96B049F1-23A1-EFBD-700B-2889CC878206}" v="52" dt="2023-10-31T04:45:51.889"/>
    <p1510:client id="{9DE0ADE9-A0A8-D2EA-1EF2-AD3C089DDA7A}" v="252" dt="2023-10-19T17:41:58.437"/>
    <p1510:client id="{9EA480BD-2ABC-0E67-CCB3-672E9005EA21}" v="92" dt="2023-10-31T18:53:54.682"/>
    <p1510:client id="{AC5E249F-4AD8-EC7C-FB2F-902F01AC2000}" v="515" dt="2023-10-27T16:29:18.072"/>
    <p1510:client id="{AFE245F6-AF84-51BF-AB4C-88F7188B99E6}" v="85" dt="2023-10-31T20:15:08.574"/>
    <p1510:client id="{B4964270-B086-4309-6459-65EA28D1CB38}" v="3" dt="2023-10-26T06:44:01.652"/>
    <p1510:client id="{B6F32D0F-7EF8-C22A-D4AE-933B4E9674EC}" v="235" dt="2023-10-24T04:39:00.705"/>
    <p1510:client id="{BC047B72-8F18-01C2-FA60-A38A99380270}" v="753" dt="2023-10-31T04:33:13.284"/>
    <p1510:client id="{BFC87AA7-C8F9-9EFC-19DD-EB23F26608F3}" v="9" dt="2023-11-16T22:57:07.054"/>
    <p1510:client id="{C3552A06-5909-6D3B-9B48-7F6146D07F3D}" v="154" dt="2023-10-30T19:52:09.301"/>
    <p1510:client id="{C766F19B-0830-AB8B-3618-23EF0AC64A24}" v="68" dt="2023-10-30T15:49:33.394"/>
    <p1510:client id="{C93D31B3-2B8C-DAAF-7090-3A2197BCB065}" v="274" dt="2023-10-27T21:32:15.542"/>
    <p1510:client id="{D1FD5983-AA3B-9DE6-CECC-8854B06948B5}" v="35" dt="2023-11-15T18:35:58.840"/>
    <p1510:client id="{DC570ED0-804E-A0E2-5D93-D510896DFB64}" v="865" dt="2023-10-24T14:25:12.957"/>
    <p1510:client id="{F448B036-0349-8976-DAC4-88BE6A4E488E}" v="457" dt="2023-11-20T05:00:10.909"/>
    <p1510:client id="{FC194283-EEC6-0521-D05D-577D27A78776}" v="273" dt="2023-10-30T20:28:43.602"/>
    <p1510:client id="{FFAD42E9-C519-11DF-E299-D524098D897E}" v="54" dt="2023-10-24T02:47:59.1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3" d="100"/>
          <a:sy n="83" d="100"/>
        </p:scale>
        <p:origin x="658" y="6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presProps" Target="presProp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viewProps" Target="viewProps.xml"/><Relationship Id="rId95" Type="http://schemas.microsoft.com/office/2018/10/relationships/authors" Target="author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microsoft.com/office/2016/11/relationships/changesInfo" Target="changesInfos/changesInfo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notesMaster" Target="notesMasters/notesMaster1.xml"/><Relationship Id="rId9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tableStyles" Target="tableStyles.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ana Rivera" userId="S::arg3669@ads.northwestern.edu::fc8b707a-b7e9-4f2a-8d71-2d76819b7881" providerId="AD" clId="Web-{8E54177A-FEA1-170D-0EA8-ABD6FF4ACD90}"/>
    <pc:docChg chg="addSld modSld modMainMaster">
      <pc:chgData name="Alana Rivera" userId="S::arg3669@ads.northwestern.edu::fc8b707a-b7e9-4f2a-8d71-2d76819b7881" providerId="AD" clId="Web-{8E54177A-FEA1-170D-0EA8-ABD6FF4ACD90}" dt="2023-10-30T19:44:29.502" v="28" actId="1076"/>
      <pc:docMkLst>
        <pc:docMk/>
      </pc:docMkLst>
      <pc:sldChg chg="addCm">
        <pc:chgData name="Alana Rivera" userId="S::arg3669@ads.northwestern.edu::fc8b707a-b7e9-4f2a-8d71-2d76819b7881" providerId="AD" clId="Web-{8E54177A-FEA1-170D-0EA8-ABD6FF4ACD90}" dt="2023-10-30T19:07:35.597" v="0"/>
        <pc:sldMkLst>
          <pc:docMk/>
          <pc:sldMk cId="3127921386" sldId="280"/>
        </pc:sldMkLst>
        <pc:extLst>
          <p:ext xmlns:p="http://schemas.openxmlformats.org/presentationml/2006/main" uri="{D6D511B9-2390-475A-947B-AFAB55BFBCF1}">
            <pc226:cmChg xmlns:pc226="http://schemas.microsoft.com/office/powerpoint/2022/06/main/command" chg="add">
              <pc226:chgData name="Alana Rivera" userId="S::arg3669@ads.northwestern.edu::fc8b707a-b7e9-4f2a-8d71-2d76819b7881" providerId="AD" clId="Web-{8E54177A-FEA1-170D-0EA8-ABD6FF4ACD90}" dt="2023-10-30T19:07:35.597" v="0"/>
              <pc2:cmMkLst xmlns:pc2="http://schemas.microsoft.com/office/powerpoint/2019/9/main/command">
                <pc:docMk/>
                <pc:sldMk cId="3127921386" sldId="280"/>
                <pc2:cmMk id="{78C9B980-2656-432B-BA11-07ACE79B211F}"/>
              </pc2:cmMkLst>
            </pc226:cmChg>
          </p:ext>
        </pc:extLst>
      </pc:sldChg>
      <pc:sldChg chg="addSp modSp">
        <pc:chgData name="Alana Rivera" userId="S::arg3669@ads.northwestern.edu::fc8b707a-b7e9-4f2a-8d71-2d76819b7881" providerId="AD" clId="Web-{8E54177A-FEA1-170D-0EA8-ABD6FF4ACD90}" dt="2023-10-30T19:42:37.202" v="17" actId="20577"/>
        <pc:sldMkLst>
          <pc:docMk/>
          <pc:sldMk cId="3419957415" sldId="577"/>
        </pc:sldMkLst>
        <pc:spChg chg="add mod">
          <ac:chgData name="Alana Rivera" userId="S::arg3669@ads.northwestern.edu::fc8b707a-b7e9-4f2a-8d71-2d76819b7881" providerId="AD" clId="Web-{8E54177A-FEA1-170D-0EA8-ABD6FF4ACD90}" dt="2023-10-30T19:42:37.202" v="17" actId="20577"/>
          <ac:spMkLst>
            <pc:docMk/>
            <pc:sldMk cId="3419957415" sldId="577"/>
            <ac:spMk id="64" creationId="{CE06DA76-2516-7530-74D6-38D1B1FC6BFE}"/>
          </ac:spMkLst>
        </pc:spChg>
      </pc:sldChg>
      <pc:sldChg chg="addSp modSp">
        <pc:chgData name="Alana Rivera" userId="S::arg3669@ads.northwestern.edu::fc8b707a-b7e9-4f2a-8d71-2d76819b7881" providerId="AD" clId="Web-{8E54177A-FEA1-170D-0EA8-ABD6FF4ACD90}" dt="2023-10-30T19:44:29.502" v="28" actId="1076"/>
        <pc:sldMkLst>
          <pc:docMk/>
          <pc:sldMk cId="785115983" sldId="578"/>
        </pc:sldMkLst>
        <pc:spChg chg="add mod">
          <ac:chgData name="Alana Rivera" userId="S::arg3669@ads.northwestern.edu::fc8b707a-b7e9-4f2a-8d71-2d76819b7881" providerId="AD" clId="Web-{8E54177A-FEA1-170D-0EA8-ABD6FF4ACD90}" dt="2023-10-30T19:44:29.502" v="28" actId="1076"/>
          <ac:spMkLst>
            <pc:docMk/>
            <pc:sldMk cId="785115983" sldId="578"/>
            <ac:spMk id="54" creationId="{3719DC3C-330E-96DC-F3E0-D6B8EE5E5A3C}"/>
          </ac:spMkLst>
        </pc:spChg>
      </pc:sldChg>
      <pc:sldChg chg="addSp modSp">
        <pc:chgData name="Alana Rivera" userId="S::arg3669@ads.northwestern.edu::fc8b707a-b7e9-4f2a-8d71-2d76819b7881" providerId="AD" clId="Web-{8E54177A-FEA1-170D-0EA8-ABD6FF4ACD90}" dt="2023-10-30T19:44:18.002" v="26" actId="1076"/>
        <pc:sldMkLst>
          <pc:docMk/>
          <pc:sldMk cId="3030449316" sldId="579"/>
        </pc:sldMkLst>
        <pc:spChg chg="add mod">
          <ac:chgData name="Alana Rivera" userId="S::arg3669@ads.northwestern.edu::fc8b707a-b7e9-4f2a-8d71-2d76819b7881" providerId="AD" clId="Web-{8E54177A-FEA1-170D-0EA8-ABD6FF4ACD90}" dt="2023-10-30T19:44:18.002" v="26" actId="1076"/>
          <ac:spMkLst>
            <pc:docMk/>
            <pc:sldMk cId="3030449316" sldId="579"/>
            <ac:spMk id="56" creationId="{AB0F7BDF-C613-8BB0-BFCB-8F26B40EC06E}"/>
          </ac:spMkLst>
        </pc:spChg>
      </pc:sldChg>
      <pc:sldChg chg="addSp modSp">
        <pc:chgData name="Alana Rivera" userId="S::arg3669@ads.northwestern.edu::fc8b707a-b7e9-4f2a-8d71-2d76819b7881" providerId="AD" clId="Web-{8E54177A-FEA1-170D-0EA8-ABD6FF4ACD90}" dt="2023-10-30T19:44:05.314" v="24" actId="1076"/>
        <pc:sldMkLst>
          <pc:docMk/>
          <pc:sldMk cId="4283907660" sldId="580"/>
        </pc:sldMkLst>
        <pc:spChg chg="add mod">
          <ac:chgData name="Alana Rivera" userId="S::arg3669@ads.northwestern.edu::fc8b707a-b7e9-4f2a-8d71-2d76819b7881" providerId="AD" clId="Web-{8E54177A-FEA1-170D-0EA8-ABD6FF4ACD90}" dt="2023-10-30T19:44:05.314" v="24" actId="1076"/>
          <ac:spMkLst>
            <pc:docMk/>
            <pc:sldMk cId="4283907660" sldId="580"/>
            <ac:spMk id="71" creationId="{755536B4-F5C2-3697-61E6-0681DE0C12BD}"/>
          </ac:spMkLst>
        </pc:spChg>
      </pc:sldChg>
      <pc:sldChg chg="addSp modSp">
        <pc:chgData name="Alana Rivera" userId="S::arg3669@ads.northwestern.edu::fc8b707a-b7e9-4f2a-8d71-2d76819b7881" providerId="AD" clId="Web-{8E54177A-FEA1-170D-0EA8-ABD6FF4ACD90}" dt="2023-10-30T19:42:59.765" v="19" actId="1076"/>
        <pc:sldMkLst>
          <pc:docMk/>
          <pc:sldMk cId="3429940818" sldId="581"/>
        </pc:sldMkLst>
        <pc:spChg chg="add mod">
          <ac:chgData name="Alana Rivera" userId="S::arg3669@ads.northwestern.edu::fc8b707a-b7e9-4f2a-8d71-2d76819b7881" providerId="AD" clId="Web-{8E54177A-FEA1-170D-0EA8-ABD6FF4ACD90}" dt="2023-10-30T19:42:59.765" v="19" actId="1076"/>
          <ac:spMkLst>
            <pc:docMk/>
            <pc:sldMk cId="3429940818" sldId="581"/>
            <ac:spMk id="73" creationId="{1A989E17-799A-6415-ED4B-A44CCA00B657}"/>
          </ac:spMkLst>
        </pc:spChg>
      </pc:sldChg>
      <pc:sldChg chg="add">
        <pc:chgData name="Alana Rivera" userId="S::arg3669@ads.northwestern.edu::fc8b707a-b7e9-4f2a-8d71-2d76819b7881" providerId="AD" clId="Web-{8E54177A-FEA1-170D-0EA8-ABD6FF4ACD90}" dt="2023-10-30T19:11:07.401" v="1"/>
        <pc:sldMkLst>
          <pc:docMk/>
          <pc:sldMk cId="1271905251" sldId="637"/>
        </pc:sldMkLst>
      </pc:sldChg>
      <pc:sldChg chg="add">
        <pc:chgData name="Alana Rivera" userId="S::arg3669@ads.northwestern.edu::fc8b707a-b7e9-4f2a-8d71-2d76819b7881" providerId="AD" clId="Web-{8E54177A-FEA1-170D-0EA8-ABD6FF4ACD90}" dt="2023-10-30T19:11:07.526" v="2"/>
        <pc:sldMkLst>
          <pc:docMk/>
          <pc:sldMk cId="2890705621" sldId="638"/>
        </pc:sldMkLst>
      </pc:sldChg>
      <pc:sldChg chg="add">
        <pc:chgData name="Alana Rivera" userId="S::arg3669@ads.northwestern.edu::fc8b707a-b7e9-4f2a-8d71-2d76819b7881" providerId="AD" clId="Web-{8E54177A-FEA1-170D-0EA8-ABD6FF4ACD90}" dt="2023-10-30T19:11:25.277" v="3"/>
        <pc:sldMkLst>
          <pc:docMk/>
          <pc:sldMk cId="3557549611" sldId="639"/>
        </pc:sldMkLst>
      </pc:sldChg>
      <pc:sldMasterChg chg="addSldLayout">
        <pc:chgData name="Alana Rivera" userId="S::arg3669@ads.northwestern.edu::fc8b707a-b7e9-4f2a-8d71-2d76819b7881" providerId="AD" clId="Web-{8E54177A-FEA1-170D-0EA8-ABD6FF4ACD90}" dt="2023-10-30T19:11:07.401" v="1"/>
        <pc:sldMasterMkLst>
          <pc:docMk/>
          <pc:sldMasterMk cId="3378073280" sldId="2147483756"/>
        </pc:sldMasterMkLst>
        <pc:sldLayoutChg chg="add">
          <pc:chgData name="Alana Rivera" userId="S::arg3669@ads.northwestern.edu::fc8b707a-b7e9-4f2a-8d71-2d76819b7881" providerId="AD" clId="Web-{8E54177A-FEA1-170D-0EA8-ABD6FF4ACD90}" dt="2023-10-30T19:11:07.401" v="1"/>
          <pc:sldLayoutMkLst>
            <pc:docMk/>
            <pc:sldMasterMk cId="3378073280" sldId="2147483756"/>
            <pc:sldLayoutMk cId="2441756453" sldId="2147483680"/>
          </pc:sldLayoutMkLst>
        </pc:sldLayoutChg>
        <pc:sldLayoutChg chg="add">
          <pc:chgData name="Alana Rivera" userId="S::arg3669@ads.northwestern.edu::fc8b707a-b7e9-4f2a-8d71-2d76819b7881" providerId="AD" clId="Web-{8E54177A-FEA1-170D-0EA8-ABD6FF4ACD90}" dt="2023-10-30T19:11:07.401" v="1"/>
          <pc:sldLayoutMkLst>
            <pc:docMk/>
            <pc:sldMasterMk cId="3378073280" sldId="2147483756"/>
            <pc:sldLayoutMk cId="4224424939" sldId="2147483681"/>
          </pc:sldLayoutMkLst>
        </pc:sldLayoutChg>
      </pc:sldMasterChg>
      <pc:sldMasterChg chg="modSldLayout">
        <pc:chgData name="Alana Rivera" userId="S::arg3669@ads.northwestern.edu::fc8b707a-b7e9-4f2a-8d71-2d76819b7881" providerId="AD" clId="Web-{8E54177A-FEA1-170D-0EA8-ABD6FF4ACD90}" dt="2023-10-30T19:11:07.401" v="1"/>
        <pc:sldMasterMkLst>
          <pc:docMk/>
          <pc:sldMasterMk cId="0" sldId="2147484595"/>
        </pc:sldMasterMkLst>
        <pc:sldLayoutChg chg="replId">
          <pc:chgData name="Alana Rivera" userId="S::arg3669@ads.northwestern.edu::fc8b707a-b7e9-4f2a-8d71-2d76819b7881" providerId="AD" clId="Web-{8E54177A-FEA1-170D-0EA8-ABD6FF4ACD90}" dt="2023-10-30T19:11:07.401" v="1"/>
          <pc:sldLayoutMkLst>
            <pc:docMk/>
            <pc:sldMasterMk cId="0" sldId="2147484595"/>
            <pc:sldLayoutMk cId="0" sldId="2147487380"/>
          </pc:sldLayoutMkLst>
        </pc:sldLayoutChg>
        <pc:sldLayoutChg chg="replId">
          <pc:chgData name="Alana Rivera" userId="S::arg3669@ads.northwestern.edu::fc8b707a-b7e9-4f2a-8d71-2d76819b7881" providerId="AD" clId="Web-{8E54177A-FEA1-170D-0EA8-ABD6FF4ACD90}" dt="2023-10-30T19:11:07.401" v="1"/>
          <pc:sldLayoutMkLst>
            <pc:docMk/>
            <pc:sldMasterMk cId="0" sldId="2147484595"/>
            <pc:sldLayoutMk cId="0" sldId="2147487381"/>
          </pc:sldLayoutMkLst>
        </pc:sldLayoutChg>
      </pc:sldMasterChg>
    </pc:docChg>
  </pc:docChgLst>
  <pc:docChgLst>
    <pc:chgData name="Eileen Fleming Suse" userId="S::efs3844@ads.northwestern.edu::725c94ef-d051-42d7-9d33-8572765d592b" providerId="AD" clId="Web-{525C70A3-2AD6-57EA-9F7E-A6FC0841DEBD}"/>
    <pc:docChg chg="mod addSld modSld sldOrd">
      <pc:chgData name="Eileen Fleming Suse" userId="S::efs3844@ads.northwestern.edu::725c94ef-d051-42d7-9d33-8572765d592b" providerId="AD" clId="Web-{525C70A3-2AD6-57EA-9F7E-A6FC0841DEBD}" dt="2023-10-23T23:00:26.391" v="20"/>
      <pc:docMkLst>
        <pc:docMk/>
      </pc:docMkLst>
      <pc:sldChg chg="addCm">
        <pc:chgData name="Eileen Fleming Suse" userId="S::efs3844@ads.northwestern.edu::725c94ef-d051-42d7-9d33-8572765d592b" providerId="AD" clId="Web-{525C70A3-2AD6-57EA-9F7E-A6FC0841DEBD}" dt="2023-10-23T18:53:43.980" v="2"/>
        <pc:sldMkLst>
          <pc:docMk/>
          <pc:sldMk cId="2351229145" sldId="544"/>
        </pc:sldMkLst>
        <pc:extLst>
          <p:ext xmlns:p="http://schemas.openxmlformats.org/presentationml/2006/main" uri="{D6D511B9-2390-475A-947B-AFAB55BFBCF1}">
            <pc226:cmChg xmlns:pc226="http://schemas.microsoft.com/office/powerpoint/2022/06/main/command" chg="add">
              <pc226:chgData name="Eileen Fleming Suse" userId="S::efs3844@ads.northwestern.edu::725c94ef-d051-42d7-9d33-8572765d592b" providerId="AD" clId="Web-{525C70A3-2AD6-57EA-9F7E-A6FC0841DEBD}" dt="2023-10-23T18:53:43.980" v="2"/>
              <pc2:cmMkLst xmlns:pc2="http://schemas.microsoft.com/office/powerpoint/2019/9/main/command">
                <pc:docMk/>
                <pc:sldMk cId="2351229145" sldId="544"/>
                <pc2:cmMk id="{94040B62-D001-43B9-8FD0-0A8B0C9B684C}"/>
              </pc2:cmMkLst>
            </pc226:cmChg>
          </p:ext>
        </pc:extLst>
      </pc:sldChg>
      <pc:sldChg chg="add ord">
        <pc:chgData name="Eileen Fleming Suse" userId="S::efs3844@ads.northwestern.edu::725c94ef-d051-42d7-9d33-8572765d592b" providerId="AD" clId="Web-{525C70A3-2AD6-57EA-9F7E-A6FC0841DEBD}" dt="2023-10-23T22:34:05.799" v="12"/>
        <pc:sldMkLst>
          <pc:docMk/>
          <pc:sldMk cId="714682852" sldId="552"/>
        </pc:sldMkLst>
      </pc:sldChg>
      <pc:sldChg chg="add">
        <pc:chgData name="Eileen Fleming Suse" userId="S::efs3844@ads.northwestern.edu::725c94ef-d051-42d7-9d33-8572765d592b" providerId="AD" clId="Web-{525C70A3-2AD6-57EA-9F7E-A6FC0841DEBD}" dt="2023-10-23T22:32:28.515" v="4"/>
        <pc:sldMkLst>
          <pc:docMk/>
          <pc:sldMk cId="3536510335" sldId="553"/>
        </pc:sldMkLst>
      </pc:sldChg>
      <pc:sldChg chg="add">
        <pc:chgData name="Eileen Fleming Suse" userId="S::efs3844@ads.northwestern.edu::725c94ef-d051-42d7-9d33-8572765d592b" providerId="AD" clId="Web-{525C70A3-2AD6-57EA-9F7E-A6FC0841DEBD}" dt="2023-10-23T22:32:29.500" v="5"/>
        <pc:sldMkLst>
          <pc:docMk/>
          <pc:sldMk cId="1231844700" sldId="554"/>
        </pc:sldMkLst>
      </pc:sldChg>
      <pc:sldChg chg="add">
        <pc:chgData name="Eileen Fleming Suse" userId="S::efs3844@ads.northwestern.edu::725c94ef-d051-42d7-9d33-8572765d592b" providerId="AD" clId="Web-{525C70A3-2AD6-57EA-9F7E-A6FC0841DEBD}" dt="2023-10-23T22:32:30.546" v="6"/>
        <pc:sldMkLst>
          <pc:docMk/>
          <pc:sldMk cId="1522616096" sldId="555"/>
        </pc:sldMkLst>
      </pc:sldChg>
      <pc:sldChg chg="modSp add">
        <pc:chgData name="Eileen Fleming Suse" userId="S::efs3844@ads.northwestern.edu::725c94ef-d051-42d7-9d33-8572765d592b" providerId="AD" clId="Web-{525C70A3-2AD6-57EA-9F7E-A6FC0841DEBD}" dt="2023-10-23T22:32:56.500" v="9" actId="20577"/>
        <pc:sldMkLst>
          <pc:docMk/>
          <pc:sldMk cId="1514756035" sldId="556"/>
        </pc:sldMkLst>
        <pc:spChg chg="mod">
          <ac:chgData name="Eileen Fleming Suse" userId="S::efs3844@ads.northwestern.edu::725c94ef-d051-42d7-9d33-8572765d592b" providerId="AD" clId="Web-{525C70A3-2AD6-57EA-9F7E-A6FC0841DEBD}" dt="2023-10-23T22:32:56.500" v="9" actId="20577"/>
          <ac:spMkLst>
            <pc:docMk/>
            <pc:sldMk cId="1514756035" sldId="556"/>
            <ac:spMk id="48" creationId="{9DA002CE-213B-0EFE-03DC-C3DB65BCF003}"/>
          </ac:spMkLst>
        </pc:spChg>
      </pc:sldChg>
      <pc:sldChg chg="delSp add">
        <pc:chgData name="Eileen Fleming Suse" userId="S::efs3844@ads.northwestern.edu::725c94ef-d051-42d7-9d33-8572765d592b" providerId="AD" clId="Web-{525C70A3-2AD6-57EA-9F7E-A6FC0841DEBD}" dt="2023-10-23T22:33:47.314" v="11"/>
        <pc:sldMkLst>
          <pc:docMk/>
          <pc:sldMk cId="2997078466" sldId="557"/>
        </pc:sldMkLst>
        <pc:spChg chg="del">
          <ac:chgData name="Eileen Fleming Suse" userId="S::efs3844@ads.northwestern.edu::725c94ef-d051-42d7-9d33-8572765d592b" providerId="AD" clId="Web-{525C70A3-2AD6-57EA-9F7E-A6FC0841DEBD}" dt="2023-10-23T22:33:47.314" v="11"/>
          <ac:spMkLst>
            <pc:docMk/>
            <pc:sldMk cId="2997078466" sldId="557"/>
            <ac:spMk id="3" creationId="{519453C4-D641-E6F9-196B-26AF5EFCC40A}"/>
          </ac:spMkLst>
        </pc:spChg>
      </pc:sldChg>
      <pc:sldChg chg="modSp mod modClrScheme chgLayout">
        <pc:chgData name="Eileen Fleming Suse" userId="S::efs3844@ads.northwestern.edu::725c94ef-d051-42d7-9d33-8572765d592b" providerId="AD" clId="Web-{525C70A3-2AD6-57EA-9F7E-A6FC0841DEBD}" dt="2023-10-23T22:59:09.760" v="13"/>
        <pc:sldMkLst>
          <pc:docMk/>
          <pc:sldMk cId="202185053" sldId="559"/>
        </pc:sldMkLst>
        <pc:spChg chg="mod ord">
          <ac:chgData name="Eileen Fleming Suse" userId="S::efs3844@ads.northwestern.edu::725c94ef-d051-42d7-9d33-8572765d592b" providerId="AD" clId="Web-{525C70A3-2AD6-57EA-9F7E-A6FC0841DEBD}" dt="2023-10-23T22:59:09.760" v="13"/>
          <ac:spMkLst>
            <pc:docMk/>
            <pc:sldMk cId="202185053" sldId="559"/>
            <ac:spMk id="2" creationId="{4DA6F726-268B-D1E3-168E-B1D635F770C9}"/>
          </ac:spMkLst>
        </pc:spChg>
        <pc:spChg chg="mod ord">
          <ac:chgData name="Eileen Fleming Suse" userId="S::efs3844@ads.northwestern.edu::725c94ef-d051-42d7-9d33-8572765d592b" providerId="AD" clId="Web-{525C70A3-2AD6-57EA-9F7E-A6FC0841DEBD}" dt="2023-10-23T22:59:09.760" v="13"/>
          <ac:spMkLst>
            <pc:docMk/>
            <pc:sldMk cId="202185053" sldId="559"/>
            <ac:spMk id="3" creationId="{97C35C3F-414A-0BEC-2B1F-CEADE5601055}"/>
          </ac:spMkLst>
        </pc:spChg>
      </pc:sldChg>
      <pc:sldChg chg="new">
        <pc:chgData name="Eileen Fleming Suse" userId="S::efs3844@ads.northwestern.edu::725c94ef-d051-42d7-9d33-8572765d592b" providerId="AD" clId="Web-{525C70A3-2AD6-57EA-9F7E-A6FC0841DEBD}" dt="2023-10-23T22:59:48.498" v="14"/>
        <pc:sldMkLst>
          <pc:docMk/>
          <pc:sldMk cId="3067427377" sldId="560"/>
        </pc:sldMkLst>
      </pc:sldChg>
      <pc:sldChg chg="modSp new">
        <pc:chgData name="Eileen Fleming Suse" userId="S::efs3844@ads.northwestern.edu::725c94ef-d051-42d7-9d33-8572765d592b" providerId="AD" clId="Web-{525C70A3-2AD6-57EA-9F7E-A6FC0841DEBD}" dt="2023-10-23T23:00:13.859" v="18" actId="20577"/>
        <pc:sldMkLst>
          <pc:docMk/>
          <pc:sldMk cId="613071383" sldId="561"/>
        </pc:sldMkLst>
        <pc:spChg chg="mod">
          <ac:chgData name="Eileen Fleming Suse" userId="S::efs3844@ads.northwestern.edu::725c94ef-d051-42d7-9d33-8572765d592b" providerId="AD" clId="Web-{525C70A3-2AD6-57EA-9F7E-A6FC0841DEBD}" dt="2023-10-23T23:00:13.859" v="18" actId="20577"/>
          <ac:spMkLst>
            <pc:docMk/>
            <pc:sldMk cId="613071383" sldId="561"/>
            <ac:spMk id="2" creationId="{3E76F914-FD90-77EF-B54F-DA5B2A3B6B40}"/>
          </ac:spMkLst>
        </pc:spChg>
      </pc:sldChg>
      <pc:sldChg chg="modSp new mod modClrScheme chgLayout">
        <pc:chgData name="Eileen Fleming Suse" userId="S::efs3844@ads.northwestern.edu::725c94ef-d051-42d7-9d33-8572765d592b" providerId="AD" clId="Web-{525C70A3-2AD6-57EA-9F7E-A6FC0841DEBD}" dt="2023-10-23T23:00:26.391" v="20"/>
        <pc:sldMkLst>
          <pc:docMk/>
          <pc:sldMk cId="1141815353" sldId="562"/>
        </pc:sldMkLst>
        <pc:spChg chg="mod ord">
          <ac:chgData name="Eileen Fleming Suse" userId="S::efs3844@ads.northwestern.edu::725c94ef-d051-42d7-9d33-8572765d592b" providerId="AD" clId="Web-{525C70A3-2AD6-57EA-9F7E-A6FC0841DEBD}" dt="2023-10-23T23:00:26.391" v="20"/>
          <ac:spMkLst>
            <pc:docMk/>
            <pc:sldMk cId="1141815353" sldId="562"/>
            <ac:spMk id="2" creationId="{05579FEB-3306-A04E-6516-F16994F3B0F9}"/>
          </ac:spMkLst>
        </pc:spChg>
        <pc:spChg chg="mod ord">
          <ac:chgData name="Eileen Fleming Suse" userId="S::efs3844@ads.northwestern.edu::725c94ef-d051-42d7-9d33-8572765d592b" providerId="AD" clId="Web-{525C70A3-2AD6-57EA-9F7E-A6FC0841DEBD}" dt="2023-10-23T23:00:26.391" v="20"/>
          <ac:spMkLst>
            <pc:docMk/>
            <pc:sldMk cId="1141815353" sldId="562"/>
            <ac:spMk id="3" creationId="{FAB96473-F45F-5893-CEB0-FAFF66B2B444}"/>
          </ac:spMkLst>
        </pc:spChg>
      </pc:sldChg>
      <pc:sldMasterChg chg="addSldLayout">
        <pc:chgData name="Eileen Fleming Suse" userId="S::efs3844@ads.northwestern.edu::725c94ef-d051-42d7-9d33-8572765d592b" providerId="AD" clId="Web-{525C70A3-2AD6-57EA-9F7E-A6FC0841DEBD}" dt="2023-10-23T22:32:27.671" v="3"/>
        <pc:sldMasterMkLst>
          <pc:docMk/>
          <pc:sldMasterMk cId="3378073280" sldId="2147483756"/>
        </pc:sldMasterMkLst>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922533" sldId="214748384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5841725" sldId="21474838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10596175" sldId="21474838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16315189" sldId="21474838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1008025" sldId="21474838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93792943" sldId="21474838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75092572" sldId="21474838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88716721" sldId="21474838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45037749" sldId="21474838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86002367" sldId="21474838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39855488" sldId="21474838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21826003" sldId="21474838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75499530" sldId="21474838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1596344" sldId="21474838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3561641" sldId="21474838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45267698" sldId="214748386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75297497" sldId="214748386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78663217" sldId="21474838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20774020" sldId="21474838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34594192" sldId="21474838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56315279" sldId="21474838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01317895" sldId="21474838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00288109" sldId="21474838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96376101" sldId="21474838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92886451" sldId="21474838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06159376" sldId="21474838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88616943" sldId="21474838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46938417" sldId="21474838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83550571" sldId="21474838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20877040" sldId="21474838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68574274" sldId="21474838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35471929" sldId="21474838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8278594" sldId="21474838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9404483" sldId="21474838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3478424" sldId="21474838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59098044" sldId="21474838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45276364" sldId="21474838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18021461" sldId="21474838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39989584" sldId="21474838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75864542" sldId="21474838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78282302" sldId="21474838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7104982" sldId="21474838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5372134" sldId="21474838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7828020" sldId="21474838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27648628" sldId="21474838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26122543" sldId="21474838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62054694" sldId="21474838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9055294" sldId="21474838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6171260" sldId="21474838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80090535" sldId="21474838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7921214" sldId="21474838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1920976" sldId="214748389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35804420" sldId="21474838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0585276" sldId="21474839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09666298" sldId="21474839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56760714" sldId="21474839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35649411" sldId="21474839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51432267" sldId="21474839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80461207" sldId="21474839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73984959" sldId="21474839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29066305" sldId="21474839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17638659" sldId="214748392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7640099" sldId="21474839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88764591" sldId="21474839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19800057" sldId="21474839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11585504" sldId="21474839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22746103" sldId="21474839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65694009" sldId="21474839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54029526" sldId="21474839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9059292" sldId="21474839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04868132" sldId="21474839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70792940" sldId="21474839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783795" sldId="21474839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80660955" sldId="21474839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64467406" sldId="21474839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5677796" sldId="21474839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1248361" sldId="21474839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51683148" sldId="21474839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76612349" sldId="21474839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61684694" sldId="21474839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22325930" sldId="21474839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72981547" sldId="21474839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42479938" sldId="21474839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66296709" sldId="21474839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70922304" sldId="21474839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55432313" sldId="21474839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79056666" sldId="214748396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1967696" sldId="214748396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86446465" sldId="21474839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10798543" sldId="21474839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48675539" sldId="21474839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23011711" sldId="21474839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36372206" sldId="21474839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92031328" sldId="21474839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10270537" sldId="21474839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4610509" sldId="21474839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50515904" sldId="21474839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53644344" sldId="21474839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30798206" sldId="21474839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22990995" sldId="21474839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8653374" sldId="21474839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24834593" sldId="21474839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43003970" sldId="21474839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17355230" sldId="21474839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1400287" sldId="21474839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946972" sldId="21474839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51562560" sldId="21474839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26479413" sldId="21474839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89622913" sldId="21474839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57336188" sldId="21474839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8520332" sldId="21474839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28489293" sldId="21474839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5040569" sldId="21474839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21105823" sldId="21474839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5772397" sldId="21474839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51901327" sldId="21474839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1352467" sldId="21474839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2305507" sldId="21474839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45177511" sldId="21474839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6909929" sldId="21474839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38498237" sldId="21474839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36365882" sldId="21474839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08656322" sldId="214748399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30473943" sldId="21474839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35550117" sldId="21474840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05824695" sldId="21474840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42248109" sldId="21474840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28249061" sldId="21474840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15655145" sldId="21474840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2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42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2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2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2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57904224" sldId="21474842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2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2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2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2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2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42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2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26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2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42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43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3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3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3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3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43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3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43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3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434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3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34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3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37652033" sldId="21474843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532180" sldId="21474843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37652033" sldId="21474843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03439267" sldId="21474843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77496322" sldId="21474843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47879164" sldId="21474843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9302691" sldId="21474843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35420318" sldId="21474843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65852557" sldId="21474843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3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3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3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3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1076637" sldId="21474843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1420108" sldId="21474843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43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38803846" sldId="21474843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898753" sldId="21474843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0091495" sldId="21474843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14599787" sldId="21474843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1682188" sldId="21474843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148766" sldId="21474843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26228292" sldId="21474843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38240366" sldId="21474843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44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4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4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4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44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44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44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4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4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4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4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4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5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630080" sldId="21474845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3420" sldId="21474845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36500789" sldId="21474845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45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5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5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5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45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5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5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1076637" sldId="21474845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14599787" sldId="21474846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1682188" sldId="21474846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148766" sldId="21474846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30479694" sldId="21474846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6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46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32483557" sldId="21474846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26228292" sldId="21474846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38240366" sldId="21474846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48463225" sldId="21474846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88034496" sldId="21474846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6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6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7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7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7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47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7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47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7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8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81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81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82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8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0902241" sldId="21474848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38803846" sldId="21474848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898753" sldId="21474848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77496322" sldId="21474848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630080" sldId="21474848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5676063" sldId="214748484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4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3420" sldId="21474848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88949313" sldId="21474848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36500789" sldId="21474848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2401269" sldId="21474848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2224325" sldId="21474848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10812348" sldId="21474848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532180" sldId="21474848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88436358" sldId="21474849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25634235" sldId="21474850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7289008" sldId="21474850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2153863" sldId="21474850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5956606" sldId="21474850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19806002" sldId="21474850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65887101" sldId="21474850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50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50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50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50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50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50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50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50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57904224" sldId="21474850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1076637" sldId="21474850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0902241" sldId="21474850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1420108" sldId="21474850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50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38803846" sldId="21474850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898753" sldId="21474850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0091495" sldId="21474850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14599787" sldId="21474850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1682188" sldId="21474850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148766" sldId="21474850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5676063" sldId="21474850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87509848" sldId="21474851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28347992" sldId="214748521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9018680" sldId="214748521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87509848" sldId="21474852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52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52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52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52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52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52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52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52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52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52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52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53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36500789" sldId="21474853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630080" sldId="21474853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53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53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53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53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53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53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53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53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53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53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53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53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54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54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54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54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0902241" sldId="21474854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54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82254879" sldId="214748542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32483557" sldId="21474854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54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54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5676063" sldId="21474854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0117215" sldId="21474855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1076637" sldId="214748584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0902241" sldId="21474858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1420108" sldId="21474858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58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38803846" sldId="21474858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898753" sldId="21474858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0091495" sldId="21474858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14599787" sldId="21474858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1682188" sldId="21474858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148766" sldId="21474858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77496322" sldId="21474858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47879164" sldId="21474858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9302691" sldId="21474858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35420318" sldId="21474858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65852557" sldId="21474858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58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58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58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58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58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29644005" sldId="21474858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58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58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03439267" sldId="21474858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2401269" sldId="21474858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532180" sldId="21474859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36500789" sldId="21474859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2401269" sldId="21474859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59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60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60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30479694" sldId="21474860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62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62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62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62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62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2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62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62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62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622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62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622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622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88949313" sldId="21474862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48463225" sldId="21474862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88034496" sldId="21474862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2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13001559" sldId="21474863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0117215" sldId="21474863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88436358" sldId="214748636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25634235" sldId="21474863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7289008" sldId="21474863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2153863" sldId="21474863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5956606" sldId="21474863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19806002" sldId="21474863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65887101" sldId="21474863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3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63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63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63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63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64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64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64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4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64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64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641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3753234" sldId="214748641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630080" sldId="214748642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3420" sldId="214748642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642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64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64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69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691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87509848" sldId="21474869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69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2401269" sldId="21474869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69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69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5676063" sldId="21474869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69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69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69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9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69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69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69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1596344" sldId="21474869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29644005" sldId="21474869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3753234" sldId="21474869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30479694" sldId="21474869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69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91410609" sldId="21474870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25634235" sldId="21474870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2153863" sldId="21474870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88436358" sldId="21474870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7289008" sldId="21474870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2153863" sldId="214748701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5956606" sldId="214748701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19806002" sldId="214748701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65887101" sldId="214748701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91578072" sldId="21474870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79854312" sldId="21474870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32318659" sldId="21474870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8904194" sldId="21474870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83035621" sldId="21474870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34488667" sldId="21474870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84238912" sldId="21474870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2020187" sldId="21474870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81955522" sldId="21474870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32453738" sldId="21474870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4874233" sldId="21474870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71771967" sldId="21474870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14228870" sldId="21474870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48015493" sldId="214748704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91810783" sldId="21474870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68296633" sldId="214748704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63854968" sldId="21474870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78744679" sldId="21474870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86376476" sldId="214748704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43775063" sldId="214748704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34956318" sldId="21474870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88786427" sldId="21474870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18415549" sldId="21474870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521326" sldId="21474870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171903" sldId="21474870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74324019" sldId="21474870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538390" sldId="21474870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51446120" sldId="21474870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32493380" sldId="21474870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45280055" sldId="21474870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48434812" sldId="214748706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05592603" sldId="214748706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92427770" sldId="21474870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94052774" sldId="21474870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47862978" sldId="21474870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76877181" sldId="21474870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50889900" sldId="21474870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56107529" sldId="21474870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04698859" sldId="21474870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61201835" sldId="21474870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75538182" sldId="21474870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845375" sldId="21474870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32901630" sldId="21474870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11840102" sldId="21474870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89779657" sldId="21474870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91043975" sldId="21474870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7739039" sldId="21474870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34936126" sldId="21474870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73437552" sldId="21474870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58328559" sldId="21474870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29386569" sldId="21474870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65731875" sldId="21474870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43182943" sldId="21474870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39854147" sldId="21474870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19986855" sldId="21474870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78186423" sldId="21474870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44781546" sldId="21474870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82901995" sldId="21474870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08658575" sldId="21474870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59532752" sldId="21474870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47643842" sldId="21474870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3045463" sldId="21474870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02931972" sldId="21474870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1024431" sldId="21474870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05505364" sldId="21474870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60285631" sldId="214748709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8619597" sldId="21474870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82738" sldId="21474871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4587918" sldId="21474871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09084614" sldId="21474871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14221174" sldId="21474871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93290789" sldId="21474871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26322304" sldId="21474871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03393694" sldId="21474871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92589500" sldId="21474871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53485271" sldId="21474871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95870651" sldId="21474871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28825244" sldId="214748711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9238068" sldId="214748711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49862182" sldId="214748711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63852016" sldId="214748711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3736809" sldId="214748711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84184684" sldId="21474871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99434678" sldId="214748711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68056590" sldId="214748711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19438968" sldId="214748711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3871782" sldId="214748711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65694493" sldId="214748712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73350505" sldId="214748712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99849130" sldId="21474871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11595628" sldId="214748712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09251650" sldId="214748712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2428475" sldId="21474871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9805404" sldId="21474871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48702167" sldId="21474871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57713067" sldId="21474871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73097338" sldId="21474871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16179664" sldId="21474871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0493336" sldId="21474871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74977627" sldId="21474871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34355322" sldId="21474871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9001456" sldId="21474871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61880748" sldId="21474871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19786099" sldId="21474871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69168792" sldId="21474871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58112831" sldId="21474871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3635138" sldId="21474871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72360139" sldId="214748714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39256970" sldId="21474871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04300062" sldId="21474871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71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1420108" sldId="21474871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0091495" sldId="21474871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1914057" sldId="21474871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84230286" sldId="21474871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2798914" sldId="21474871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91199215" sldId="21474871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29515799" sldId="21474871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48436128" sldId="21474871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83270214" sldId="21474871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964228" sldId="21474871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03719949" sldId="21474871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90515151" sldId="21474871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8274380" sldId="21474871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08841809" sldId="21474871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03686679" sldId="21474872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04450066" sldId="21474872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65481949" sldId="21474872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4801019" sldId="21474872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07914573" sldId="21474872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02775852" sldId="214748721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47288010" sldId="214748721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25519462" sldId="214748721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98032396" sldId="214748721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04125666" sldId="214748721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25845292" sldId="21474872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56388239" sldId="214748721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68412230" sldId="214748721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7651266" sldId="214748721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18896833" sldId="214748721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82089770" sldId="214748722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57758517" sldId="214748722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23406442" sldId="21474872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77243743" sldId="214748722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65875377" sldId="214748722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94216092" sldId="214748722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1876091" sldId="21474872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81815734" sldId="21474872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5213743" sldId="21474872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1114809" sldId="21474872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68810016" sldId="21474872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47740735" sldId="21474872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95849402" sldId="21474872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62217939" sldId="21474872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629127" sldId="21474872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32741348" sldId="21474872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42047047" sldId="21474872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98479306" sldId="21474872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5636675" sldId="21474872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94065546" sldId="21474872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75016611" sldId="214748724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1954738" sldId="21474872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72710091" sldId="21474872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62430371" sldId="21474872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88036761" sldId="21474872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82342115" sldId="21474872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14054778" sldId="21474872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36486368" sldId="21474872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70705443" sldId="21474872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48020355" sldId="21474872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62208845" sldId="21474872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29070028" sldId="21474872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89649185" sldId="21474872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48626561" sldId="21474872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76538025" sldId="21474872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24847678" sldId="21474872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83649414" sldId="21474872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7111013" sldId="21474872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00008366" sldId="21474872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18321361" sldId="21474872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59555195" sldId="21474872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41522953" sldId="21474872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668804" sldId="21474872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01862111" sldId="21474872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57949696" sldId="214748729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96907520" sldId="21474872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62774728" sldId="21474873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27363329" sldId="21474873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59463894" sldId="21474873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52727692" sldId="21474873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86647170" sldId="21474873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26791542" sldId="21474873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69632276" sldId="21474873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43247745" sldId="21474873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63663494" sldId="214748731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97839732" sldId="214748731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29198981" sldId="214748731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0579671" sldId="214748731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91955889" sldId="214748732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69414299" sldId="21474873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56972729" sldId="214748734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41926387" sldId="21474873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86669273" sldId="2147487349"/>
          </pc:sldLayoutMkLst>
        </pc:sldLayoutChg>
      </pc:sldMasterChg>
    </pc:docChg>
  </pc:docChgLst>
  <pc:docChgLst>
    <pc:chgData name="Isabel Rose Gippo" userId="S::irg9370@ads.northwestern.edu::b10bfe7e-55b9-46dd-9add-2eb52cb66d3b" providerId="AD" clId="Web-{6F4BA6F9-4A5A-3B13-85C3-6DB0B61CBC00}"/>
    <pc:docChg chg="addSld delSld modSld sldOrd">
      <pc:chgData name="Isabel Rose Gippo" userId="S::irg9370@ads.northwestern.edu::b10bfe7e-55b9-46dd-9add-2eb52cb66d3b" providerId="AD" clId="Web-{6F4BA6F9-4A5A-3B13-85C3-6DB0B61CBC00}" dt="2023-10-24T15:58:08.213" v="1715" actId="1076"/>
      <pc:docMkLst>
        <pc:docMk/>
      </pc:docMkLst>
      <pc:sldChg chg="addSp delSp modSp add del">
        <pc:chgData name="Isabel Rose Gippo" userId="S::irg9370@ads.northwestern.edu::b10bfe7e-55b9-46dd-9add-2eb52cb66d3b" providerId="AD" clId="Web-{6F4BA6F9-4A5A-3B13-85C3-6DB0B61CBC00}" dt="2023-10-24T15:58:08.213" v="1715" actId="1076"/>
        <pc:sldMkLst>
          <pc:docMk/>
          <pc:sldMk cId="3090389772" sldId="568"/>
        </pc:sldMkLst>
        <pc:spChg chg="mod">
          <ac:chgData name="Isabel Rose Gippo" userId="S::irg9370@ads.northwestern.edu::b10bfe7e-55b9-46dd-9add-2eb52cb66d3b" providerId="AD" clId="Web-{6F4BA6F9-4A5A-3B13-85C3-6DB0B61CBC00}" dt="2023-10-24T15:58:08.213" v="1715" actId="1076"/>
          <ac:spMkLst>
            <pc:docMk/>
            <pc:sldMk cId="3090389772" sldId="568"/>
            <ac:spMk id="11" creationId="{13896302-555C-1A80-C459-6D1ACE663F72}"/>
          </ac:spMkLst>
        </pc:spChg>
        <pc:spChg chg="mod">
          <ac:chgData name="Isabel Rose Gippo" userId="S::irg9370@ads.northwestern.edu::b10bfe7e-55b9-46dd-9add-2eb52cb66d3b" providerId="AD" clId="Web-{6F4BA6F9-4A5A-3B13-85C3-6DB0B61CBC00}" dt="2023-10-24T15:57:58.447" v="1714"/>
          <ac:spMkLst>
            <pc:docMk/>
            <pc:sldMk cId="3090389772" sldId="568"/>
            <ac:spMk id="15" creationId="{CA00A902-9377-5B4A-9651-129D059BB685}"/>
          </ac:spMkLst>
        </pc:spChg>
        <pc:spChg chg="mod">
          <ac:chgData name="Isabel Rose Gippo" userId="S::irg9370@ads.northwestern.edu::b10bfe7e-55b9-46dd-9add-2eb52cb66d3b" providerId="AD" clId="Web-{6F4BA6F9-4A5A-3B13-85C3-6DB0B61CBC00}" dt="2023-10-24T15:56:10.319" v="1694" actId="1076"/>
          <ac:spMkLst>
            <pc:docMk/>
            <pc:sldMk cId="3090389772" sldId="568"/>
            <ac:spMk id="19" creationId="{F49C1F1A-614A-5749-1A3F-78980B65ADBC}"/>
          </ac:spMkLst>
        </pc:spChg>
        <pc:graphicFrameChg chg="add del mod modGraphic">
          <ac:chgData name="Isabel Rose Gippo" userId="S::irg9370@ads.northwestern.edu::b10bfe7e-55b9-46dd-9add-2eb52cb66d3b" providerId="AD" clId="Web-{6F4BA6F9-4A5A-3B13-85C3-6DB0B61CBC00}" dt="2023-10-24T14:31:59.177" v="62"/>
          <ac:graphicFrameMkLst>
            <pc:docMk/>
            <pc:sldMk cId="3090389772" sldId="568"/>
            <ac:graphicFrameMk id="4" creationId="{6A2907FB-67FD-24B1-D91A-81A1E0F2FE3E}"/>
          </ac:graphicFrameMkLst>
        </pc:graphicFrameChg>
        <pc:picChg chg="add del mod">
          <ac:chgData name="Isabel Rose Gippo" userId="S::irg9370@ads.northwestern.edu::b10bfe7e-55b9-46dd-9add-2eb52cb66d3b" providerId="AD" clId="Web-{6F4BA6F9-4A5A-3B13-85C3-6DB0B61CBC00}" dt="2023-10-24T14:35:05.776" v="115"/>
          <ac:picMkLst>
            <pc:docMk/>
            <pc:sldMk cId="3090389772" sldId="568"/>
            <ac:picMk id="2" creationId="{22E3189E-1004-3B9A-952C-B9908ABEC812}"/>
          </ac:picMkLst>
        </pc:picChg>
        <pc:picChg chg="add mod">
          <ac:chgData name="Isabel Rose Gippo" userId="S::irg9370@ads.northwestern.edu::b10bfe7e-55b9-46dd-9add-2eb52cb66d3b" providerId="AD" clId="Web-{6F4BA6F9-4A5A-3B13-85C3-6DB0B61CBC00}" dt="2023-10-24T14:35:18.041" v="119" actId="14100"/>
          <ac:picMkLst>
            <pc:docMk/>
            <pc:sldMk cId="3090389772" sldId="568"/>
            <ac:picMk id="5" creationId="{65C4865E-19D9-EE97-B5E3-CD1D974570D2}"/>
          </ac:picMkLst>
        </pc:picChg>
        <pc:picChg chg="mod">
          <ac:chgData name="Isabel Rose Gippo" userId="S::irg9370@ads.northwestern.edu::b10bfe7e-55b9-46dd-9add-2eb52cb66d3b" providerId="AD" clId="Web-{6F4BA6F9-4A5A-3B13-85C3-6DB0B61CBC00}" dt="2023-10-24T15:56:31.632" v="1698" actId="1076"/>
          <ac:picMkLst>
            <pc:docMk/>
            <pc:sldMk cId="3090389772" sldId="568"/>
            <ac:picMk id="14" creationId="{557B5DD0-CAF3-34F4-E916-20658CE8833E}"/>
          </ac:picMkLst>
        </pc:picChg>
        <pc:picChg chg="del mod">
          <ac:chgData name="Isabel Rose Gippo" userId="S::irg9370@ads.northwestern.edu::b10bfe7e-55b9-46dd-9add-2eb52cb66d3b" providerId="AD" clId="Web-{6F4BA6F9-4A5A-3B13-85C3-6DB0B61CBC00}" dt="2023-10-24T14:32:31.866" v="75"/>
          <ac:picMkLst>
            <pc:docMk/>
            <pc:sldMk cId="3090389772" sldId="568"/>
            <ac:picMk id="21" creationId="{B3F7D84D-D47C-2EE1-3151-7E4DB552539E}"/>
          </ac:picMkLst>
        </pc:picChg>
        <pc:cxnChg chg="add mod">
          <ac:chgData name="Isabel Rose Gippo" userId="S::irg9370@ads.northwestern.edu::b10bfe7e-55b9-46dd-9add-2eb52cb66d3b" providerId="AD" clId="Web-{6F4BA6F9-4A5A-3B13-85C3-6DB0B61CBC00}" dt="2023-10-24T15:57:36.212" v="1709" actId="1076"/>
          <ac:cxnSpMkLst>
            <pc:docMk/>
            <pc:sldMk cId="3090389772" sldId="568"/>
            <ac:cxnSpMk id="6" creationId="{800C1A4B-558C-C3C1-0A73-4639336A0837}"/>
          </ac:cxnSpMkLst>
        </pc:cxnChg>
      </pc:sldChg>
      <pc:sldChg chg="addSp delSp modSp add del">
        <pc:chgData name="Isabel Rose Gippo" userId="S::irg9370@ads.northwestern.edu::b10bfe7e-55b9-46dd-9add-2eb52cb66d3b" providerId="AD" clId="Web-{6F4BA6F9-4A5A-3B13-85C3-6DB0B61CBC00}" dt="2023-10-24T14:58:27.576" v="440" actId="1076"/>
        <pc:sldMkLst>
          <pc:docMk/>
          <pc:sldMk cId="1088329954" sldId="569"/>
        </pc:sldMkLst>
        <pc:spChg chg="add mod">
          <ac:chgData name="Isabel Rose Gippo" userId="S::irg9370@ads.northwestern.edu::b10bfe7e-55b9-46dd-9add-2eb52cb66d3b" providerId="AD" clId="Web-{6F4BA6F9-4A5A-3B13-85C3-6DB0B61CBC00}" dt="2023-10-24T14:39:08.110" v="142"/>
          <ac:spMkLst>
            <pc:docMk/>
            <pc:sldMk cId="1088329954" sldId="569"/>
            <ac:spMk id="6" creationId="{001FEC55-3964-F5A7-7AE0-6E293AC7CBD9}"/>
          </ac:spMkLst>
        </pc:spChg>
        <pc:spChg chg="add mod">
          <ac:chgData name="Isabel Rose Gippo" userId="S::irg9370@ads.northwestern.edu::b10bfe7e-55b9-46dd-9add-2eb52cb66d3b" providerId="AD" clId="Web-{6F4BA6F9-4A5A-3B13-85C3-6DB0B61CBC00}" dt="2023-10-24T14:51:03.987" v="376" actId="1076"/>
          <ac:spMkLst>
            <pc:docMk/>
            <pc:sldMk cId="1088329954" sldId="569"/>
            <ac:spMk id="7" creationId="{EAD90045-A731-42F5-ED3E-D5AE61B97B24}"/>
          </ac:spMkLst>
        </pc:spChg>
        <pc:spChg chg="mod">
          <ac:chgData name="Isabel Rose Gippo" userId="S::irg9370@ads.northwestern.edu::b10bfe7e-55b9-46dd-9add-2eb52cb66d3b" providerId="AD" clId="Web-{6F4BA6F9-4A5A-3B13-85C3-6DB0B61CBC00}" dt="2023-10-24T14:39:06.766" v="139" actId="20577"/>
          <ac:spMkLst>
            <pc:docMk/>
            <pc:sldMk cId="1088329954" sldId="569"/>
            <ac:spMk id="19" creationId="{F49C1F1A-614A-5749-1A3F-78980B65ADBC}"/>
          </ac:spMkLst>
        </pc:spChg>
        <pc:spChg chg="mod">
          <ac:chgData name="Isabel Rose Gippo" userId="S::irg9370@ads.northwestern.edu::b10bfe7e-55b9-46dd-9add-2eb52cb66d3b" providerId="AD" clId="Web-{6F4BA6F9-4A5A-3B13-85C3-6DB0B61CBC00}" dt="2023-10-24T14:58:27.576" v="440" actId="1076"/>
          <ac:spMkLst>
            <pc:docMk/>
            <pc:sldMk cId="1088329954" sldId="569"/>
            <ac:spMk id="16386" creationId="{00000000-0000-0000-0000-000000000000}"/>
          </ac:spMkLst>
        </pc:spChg>
        <pc:graphicFrameChg chg="add del mod modGraphic">
          <ac:chgData name="Isabel Rose Gippo" userId="S::irg9370@ads.northwestern.edu::b10bfe7e-55b9-46dd-9add-2eb52cb66d3b" providerId="AD" clId="Web-{6F4BA6F9-4A5A-3B13-85C3-6DB0B61CBC00}" dt="2023-10-24T14:40:40.096" v="166"/>
          <ac:graphicFrameMkLst>
            <pc:docMk/>
            <pc:sldMk cId="1088329954" sldId="569"/>
            <ac:graphicFrameMk id="5" creationId="{44D1F5E2-36F3-46C2-BDE5-F839C2396742}"/>
          </ac:graphicFrameMkLst>
        </pc:graphicFrameChg>
        <pc:picChg chg="del mod">
          <ac:chgData name="Isabel Rose Gippo" userId="S::irg9370@ads.northwestern.edu::b10bfe7e-55b9-46dd-9add-2eb52cb66d3b" providerId="AD" clId="Web-{6F4BA6F9-4A5A-3B13-85C3-6DB0B61CBC00}" dt="2023-10-24T14:38:43.484" v="137"/>
          <ac:picMkLst>
            <pc:docMk/>
            <pc:sldMk cId="1088329954" sldId="569"/>
            <ac:picMk id="2" creationId="{7088B35E-417D-2903-C144-75276D9E0FF3}"/>
          </ac:picMkLst>
        </pc:picChg>
        <pc:picChg chg="add mod modCrop">
          <ac:chgData name="Isabel Rose Gippo" userId="S::irg9370@ads.northwestern.edu::b10bfe7e-55b9-46dd-9add-2eb52cb66d3b" providerId="AD" clId="Web-{6F4BA6F9-4A5A-3B13-85C3-6DB0B61CBC00}" dt="2023-10-24T14:44:29.852" v="231" actId="1076"/>
          <ac:picMkLst>
            <pc:docMk/>
            <pc:sldMk cId="1088329954" sldId="569"/>
            <ac:picMk id="3" creationId="{787AF34B-E42D-4B43-CB21-2B40E3955DDD}"/>
          </ac:picMkLst>
        </pc:picChg>
      </pc:sldChg>
      <pc:sldChg chg="addSp delSp modSp">
        <pc:chgData name="Isabel Rose Gippo" userId="S::irg9370@ads.northwestern.edu::b10bfe7e-55b9-46dd-9add-2eb52cb66d3b" providerId="AD" clId="Web-{6F4BA6F9-4A5A-3B13-85C3-6DB0B61CBC00}" dt="2023-10-24T15:55:56.382" v="1691" actId="1076"/>
        <pc:sldMkLst>
          <pc:docMk/>
          <pc:sldMk cId="2849312483" sldId="570"/>
        </pc:sldMkLst>
        <pc:spChg chg="mod">
          <ac:chgData name="Isabel Rose Gippo" userId="S::irg9370@ads.northwestern.edu::b10bfe7e-55b9-46dd-9add-2eb52cb66d3b" providerId="AD" clId="Web-{6F4BA6F9-4A5A-3B13-85C3-6DB0B61CBC00}" dt="2023-10-24T15:55:56.382" v="1691" actId="1076"/>
          <ac:spMkLst>
            <pc:docMk/>
            <pc:sldMk cId="2849312483" sldId="570"/>
            <ac:spMk id="4" creationId="{EA09FBC4-EFF6-9AB4-25A1-D6ED252CED0D}"/>
          </ac:spMkLst>
        </pc:spChg>
        <pc:spChg chg="mod">
          <ac:chgData name="Isabel Rose Gippo" userId="S::irg9370@ads.northwestern.edu::b10bfe7e-55b9-46dd-9add-2eb52cb66d3b" providerId="AD" clId="Web-{6F4BA6F9-4A5A-3B13-85C3-6DB0B61CBC00}" dt="2023-10-24T14:46:10.308" v="247" actId="1076"/>
          <ac:spMkLst>
            <pc:docMk/>
            <pc:sldMk cId="2849312483" sldId="570"/>
            <ac:spMk id="5" creationId="{E069BE35-38BF-B866-0B62-A243ACB6F110}"/>
          </ac:spMkLst>
        </pc:spChg>
        <pc:spChg chg="mod">
          <ac:chgData name="Isabel Rose Gippo" userId="S::irg9370@ads.northwestern.edu::b10bfe7e-55b9-46dd-9add-2eb52cb66d3b" providerId="AD" clId="Web-{6F4BA6F9-4A5A-3B13-85C3-6DB0B61CBC00}" dt="2023-10-24T14:45:53.292" v="243" actId="1076"/>
          <ac:spMkLst>
            <pc:docMk/>
            <pc:sldMk cId="2849312483" sldId="570"/>
            <ac:spMk id="6" creationId="{137890F0-FB58-2F7F-C68D-9B504512854C}"/>
          </ac:spMkLst>
        </pc:spChg>
        <pc:spChg chg="mod">
          <ac:chgData name="Isabel Rose Gippo" userId="S::irg9370@ads.northwestern.edu::b10bfe7e-55b9-46dd-9add-2eb52cb66d3b" providerId="AD" clId="Web-{6F4BA6F9-4A5A-3B13-85C3-6DB0B61CBC00}" dt="2023-10-24T14:46:01.714" v="245" actId="1076"/>
          <ac:spMkLst>
            <pc:docMk/>
            <pc:sldMk cId="2849312483" sldId="570"/>
            <ac:spMk id="7" creationId="{1F35585C-3549-CE9C-A34A-3452229F6833}"/>
          </ac:spMkLst>
        </pc:spChg>
        <pc:spChg chg="mod">
          <ac:chgData name="Isabel Rose Gippo" userId="S::irg9370@ads.northwestern.edu::b10bfe7e-55b9-46dd-9add-2eb52cb66d3b" providerId="AD" clId="Web-{6F4BA6F9-4A5A-3B13-85C3-6DB0B61CBC00}" dt="2023-10-24T14:46:07.167" v="246" actId="1076"/>
          <ac:spMkLst>
            <pc:docMk/>
            <pc:sldMk cId="2849312483" sldId="570"/>
            <ac:spMk id="9" creationId="{9BD0DB87-BFB9-248F-9187-16322CEC9C89}"/>
          </ac:spMkLst>
        </pc:spChg>
        <pc:spChg chg="mod">
          <ac:chgData name="Isabel Rose Gippo" userId="S::irg9370@ads.northwestern.edu::b10bfe7e-55b9-46dd-9add-2eb52cb66d3b" providerId="AD" clId="Web-{6F4BA6F9-4A5A-3B13-85C3-6DB0B61CBC00}" dt="2023-10-24T14:46:13.480" v="248" actId="1076"/>
          <ac:spMkLst>
            <pc:docMk/>
            <pc:sldMk cId="2849312483" sldId="570"/>
            <ac:spMk id="10" creationId="{C8307CA0-040F-CDB1-5F4D-16A04C6E74DF}"/>
          </ac:spMkLst>
        </pc:spChg>
        <pc:spChg chg="mod">
          <ac:chgData name="Isabel Rose Gippo" userId="S::irg9370@ads.northwestern.edu::b10bfe7e-55b9-46dd-9add-2eb52cb66d3b" providerId="AD" clId="Web-{6F4BA6F9-4A5A-3B13-85C3-6DB0B61CBC00}" dt="2023-10-24T14:58:32.123" v="441" actId="1076"/>
          <ac:spMkLst>
            <pc:docMk/>
            <pc:sldMk cId="2849312483" sldId="570"/>
            <ac:spMk id="16386" creationId="{00000000-0000-0000-0000-000000000000}"/>
          </ac:spMkLst>
        </pc:spChg>
        <pc:picChg chg="add mod modCrop">
          <ac:chgData name="Isabel Rose Gippo" userId="S::irg9370@ads.northwestern.edu::b10bfe7e-55b9-46dd-9add-2eb52cb66d3b" providerId="AD" clId="Web-{6F4BA6F9-4A5A-3B13-85C3-6DB0B61CBC00}" dt="2023-10-24T14:26:44.169" v="9" actId="1076"/>
          <ac:picMkLst>
            <pc:docMk/>
            <pc:sldMk cId="2849312483" sldId="570"/>
            <ac:picMk id="2" creationId="{D549A1D4-41B1-1D6F-42CB-8A4CB202EBC2}"/>
          </ac:picMkLst>
        </pc:picChg>
        <pc:picChg chg="add mod">
          <ac:chgData name="Isabel Rose Gippo" userId="S::irg9370@ads.northwestern.edu::b10bfe7e-55b9-46dd-9add-2eb52cb66d3b" providerId="AD" clId="Web-{6F4BA6F9-4A5A-3B13-85C3-6DB0B61CBC00}" dt="2023-10-24T14:45:56.854" v="244" actId="1076"/>
          <ac:picMkLst>
            <pc:docMk/>
            <pc:sldMk cId="2849312483" sldId="570"/>
            <ac:picMk id="3" creationId="{4DA2BC9A-416B-F3D1-6F75-394A69766AB0}"/>
          </ac:picMkLst>
        </pc:picChg>
        <pc:picChg chg="del mod">
          <ac:chgData name="Isabel Rose Gippo" userId="S::irg9370@ads.northwestern.edu::b10bfe7e-55b9-46dd-9add-2eb52cb66d3b" providerId="AD" clId="Web-{6F4BA6F9-4A5A-3B13-85C3-6DB0B61CBC00}" dt="2023-10-24T14:45:45.604" v="241"/>
          <ac:picMkLst>
            <pc:docMk/>
            <pc:sldMk cId="2849312483" sldId="570"/>
            <ac:picMk id="8" creationId="{59E0F2EE-E480-541D-E8E7-5C865B35C88F}"/>
          </ac:picMkLst>
        </pc:picChg>
        <pc:picChg chg="del">
          <ac:chgData name="Isabel Rose Gippo" userId="S::irg9370@ads.northwestern.edu::b10bfe7e-55b9-46dd-9add-2eb52cb66d3b" providerId="AD" clId="Web-{6F4BA6F9-4A5A-3B13-85C3-6DB0B61CBC00}" dt="2023-10-24T14:26:18.934" v="4"/>
          <ac:picMkLst>
            <pc:docMk/>
            <pc:sldMk cId="2849312483" sldId="570"/>
            <ac:picMk id="13" creationId="{03BF52CD-31EC-FC46-9A7F-3B257CCAC6A4}"/>
          </ac:picMkLst>
        </pc:picChg>
      </pc:sldChg>
      <pc:sldChg chg="addSp delSp modSp add ord replId">
        <pc:chgData name="Isabel Rose Gippo" userId="S::irg9370@ads.northwestern.edu::b10bfe7e-55b9-46dd-9add-2eb52cb66d3b" providerId="AD" clId="Web-{6F4BA6F9-4A5A-3B13-85C3-6DB0B61CBC00}" dt="2023-10-24T15:15:11.101" v="905" actId="1076"/>
        <pc:sldMkLst>
          <pc:docMk/>
          <pc:sldMk cId="1337825202" sldId="571"/>
        </pc:sldMkLst>
        <pc:spChg chg="add mod">
          <ac:chgData name="Isabel Rose Gippo" userId="S::irg9370@ads.northwestern.edu::b10bfe7e-55b9-46dd-9add-2eb52cb66d3b" providerId="AD" clId="Web-{6F4BA6F9-4A5A-3B13-85C3-6DB0B61CBC00}" dt="2023-10-24T14:58:09.169" v="438" actId="1076"/>
          <ac:spMkLst>
            <pc:docMk/>
            <pc:sldMk cId="1337825202" sldId="571"/>
            <ac:spMk id="4" creationId="{16B24218-AF37-F6C6-7684-E7E3C16AFAF4}"/>
          </ac:spMkLst>
        </pc:spChg>
        <pc:spChg chg="add mod">
          <ac:chgData name="Isabel Rose Gippo" userId="S::irg9370@ads.northwestern.edu::b10bfe7e-55b9-46dd-9add-2eb52cb66d3b" providerId="AD" clId="Web-{6F4BA6F9-4A5A-3B13-85C3-6DB0B61CBC00}" dt="2023-10-24T15:10:52.157" v="734" actId="1076"/>
          <ac:spMkLst>
            <pc:docMk/>
            <pc:sldMk cId="1337825202" sldId="571"/>
            <ac:spMk id="5" creationId="{45477BD9-E066-785E-8D58-760863918D07}"/>
          </ac:spMkLst>
        </pc:spChg>
        <pc:spChg chg="add mod ord">
          <ac:chgData name="Isabel Rose Gippo" userId="S::irg9370@ads.northwestern.edu::b10bfe7e-55b9-46dd-9add-2eb52cb66d3b" providerId="AD" clId="Web-{6F4BA6F9-4A5A-3B13-85C3-6DB0B61CBC00}" dt="2023-10-24T15:12:27.613" v="746" actId="14100"/>
          <ac:spMkLst>
            <pc:docMk/>
            <pc:sldMk cId="1337825202" sldId="571"/>
            <ac:spMk id="7" creationId="{70F70170-82A9-3F58-8A7E-1C8F0DE96C28}"/>
          </ac:spMkLst>
        </pc:spChg>
        <pc:spChg chg="add mod">
          <ac:chgData name="Isabel Rose Gippo" userId="S::irg9370@ads.northwestern.edu::b10bfe7e-55b9-46dd-9add-2eb52cb66d3b" providerId="AD" clId="Web-{6F4BA6F9-4A5A-3B13-85C3-6DB0B61CBC00}" dt="2023-10-24T15:11:07.955" v="736" actId="1076"/>
          <ac:spMkLst>
            <pc:docMk/>
            <pc:sldMk cId="1337825202" sldId="571"/>
            <ac:spMk id="9" creationId="{16E68D9A-C1B6-0901-3EFC-15C208817766}"/>
          </ac:spMkLst>
        </pc:spChg>
        <pc:spChg chg="add mod">
          <ac:chgData name="Isabel Rose Gippo" userId="S::irg9370@ads.northwestern.edu::b10bfe7e-55b9-46dd-9add-2eb52cb66d3b" providerId="AD" clId="Web-{6F4BA6F9-4A5A-3B13-85C3-6DB0B61CBC00}" dt="2023-10-24T15:11:14.377" v="737" actId="1076"/>
          <ac:spMkLst>
            <pc:docMk/>
            <pc:sldMk cId="1337825202" sldId="571"/>
            <ac:spMk id="10" creationId="{25AE8A2F-EC9C-3068-BE56-5960B5C6DCA1}"/>
          </ac:spMkLst>
        </pc:spChg>
        <pc:spChg chg="add mod">
          <ac:chgData name="Isabel Rose Gippo" userId="S::irg9370@ads.northwestern.edu::b10bfe7e-55b9-46dd-9add-2eb52cb66d3b" providerId="AD" clId="Web-{6F4BA6F9-4A5A-3B13-85C3-6DB0B61CBC00}" dt="2023-10-24T15:11:21.221" v="738" actId="1076"/>
          <ac:spMkLst>
            <pc:docMk/>
            <pc:sldMk cId="1337825202" sldId="571"/>
            <ac:spMk id="11" creationId="{F406DC6F-8C94-AF9D-26F8-B81A3F9E5004}"/>
          </ac:spMkLst>
        </pc:spChg>
        <pc:spChg chg="add mod">
          <ac:chgData name="Isabel Rose Gippo" userId="S::irg9370@ads.northwestern.edu::b10bfe7e-55b9-46dd-9add-2eb52cb66d3b" providerId="AD" clId="Web-{6F4BA6F9-4A5A-3B13-85C3-6DB0B61CBC00}" dt="2023-10-24T15:11:37.909" v="741" actId="1076"/>
          <ac:spMkLst>
            <pc:docMk/>
            <pc:sldMk cId="1337825202" sldId="571"/>
            <ac:spMk id="12" creationId="{913F4C80-BE39-2B7C-C4A4-98B839B10F3C}"/>
          </ac:spMkLst>
        </pc:spChg>
        <pc:spChg chg="add mod">
          <ac:chgData name="Isabel Rose Gippo" userId="S::irg9370@ads.northwestern.edu::b10bfe7e-55b9-46dd-9add-2eb52cb66d3b" providerId="AD" clId="Web-{6F4BA6F9-4A5A-3B13-85C3-6DB0B61CBC00}" dt="2023-10-24T15:11:32.768" v="740" actId="1076"/>
          <ac:spMkLst>
            <pc:docMk/>
            <pc:sldMk cId="1337825202" sldId="571"/>
            <ac:spMk id="13" creationId="{CA29CC08-AC6C-D03F-4212-3671B5C0255E}"/>
          </ac:spMkLst>
        </pc:spChg>
        <pc:spChg chg="add mod">
          <ac:chgData name="Isabel Rose Gippo" userId="S::irg9370@ads.northwestern.edu::b10bfe7e-55b9-46dd-9add-2eb52cb66d3b" providerId="AD" clId="Web-{6F4BA6F9-4A5A-3B13-85C3-6DB0B61CBC00}" dt="2023-10-24T15:11:44.581" v="742" actId="1076"/>
          <ac:spMkLst>
            <pc:docMk/>
            <pc:sldMk cId="1337825202" sldId="571"/>
            <ac:spMk id="14" creationId="{56D7802A-D9E3-5022-FEB1-A5E340BE8541}"/>
          </ac:spMkLst>
        </pc:spChg>
        <pc:spChg chg="add mod">
          <ac:chgData name="Isabel Rose Gippo" userId="S::irg9370@ads.northwestern.edu::b10bfe7e-55b9-46dd-9add-2eb52cb66d3b" providerId="AD" clId="Web-{6F4BA6F9-4A5A-3B13-85C3-6DB0B61CBC00}" dt="2023-10-24T15:11:52.956" v="743" actId="1076"/>
          <ac:spMkLst>
            <pc:docMk/>
            <pc:sldMk cId="1337825202" sldId="571"/>
            <ac:spMk id="15" creationId="{33C1CB15-DF62-AAD5-40DF-C348B0B14C79}"/>
          </ac:spMkLst>
        </pc:spChg>
        <pc:spChg chg="add">
          <ac:chgData name="Isabel Rose Gippo" userId="S::irg9370@ads.northwestern.edu::b10bfe7e-55b9-46dd-9add-2eb52cb66d3b" providerId="AD" clId="Web-{6F4BA6F9-4A5A-3B13-85C3-6DB0B61CBC00}" dt="2023-10-24T15:12:40.520" v="747"/>
          <ac:spMkLst>
            <pc:docMk/>
            <pc:sldMk cId="1337825202" sldId="571"/>
            <ac:spMk id="16" creationId="{F313A7DF-7EB6-E236-0B93-A3D3C3E562BC}"/>
          </ac:spMkLst>
        </pc:spChg>
        <pc:spChg chg="add mod">
          <ac:chgData name="Isabel Rose Gippo" userId="S::irg9370@ads.northwestern.edu::b10bfe7e-55b9-46dd-9add-2eb52cb66d3b" providerId="AD" clId="Web-{6F4BA6F9-4A5A-3B13-85C3-6DB0B61CBC00}" dt="2023-10-24T15:15:11.101" v="905" actId="1076"/>
          <ac:spMkLst>
            <pc:docMk/>
            <pc:sldMk cId="1337825202" sldId="571"/>
            <ac:spMk id="17" creationId="{F322531C-B747-9294-091C-9F40532B993A}"/>
          </ac:spMkLst>
        </pc:spChg>
        <pc:spChg chg="mod">
          <ac:chgData name="Isabel Rose Gippo" userId="S::irg9370@ads.northwestern.edu::b10bfe7e-55b9-46dd-9add-2eb52cb66d3b" providerId="AD" clId="Web-{6F4BA6F9-4A5A-3B13-85C3-6DB0B61CBC00}" dt="2023-10-24T14:57:39.325" v="425" actId="1076"/>
          <ac:spMkLst>
            <pc:docMk/>
            <pc:sldMk cId="1337825202" sldId="571"/>
            <ac:spMk id="19" creationId="{F49C1F1A-614A-5749-1A3F-78980B65ADBC}"/>
          </ac:spMkLst>
        </pc:spChg>
        <pc:spChg chg="mod">
          <ac:chgData name="Isabel Rose Gippo" userId="S::irg9370@ads.northwestern.edu::b10bfe7e-55b9-46dd-9add-2eb52cb66d3b" providerId="AD" clId="Web-{6F4BA6F9-4A5A-3B13-85C3-6DB0B61CBC00}" dt="2023-10-24T14:58:21.529" v="439" actId="1076"/>
          <ac:spMkLst>
            <pc:docMk/>
            <pc:sldMk cId="1337825202" sldId="571"/>
            <ac:spMk id="16386" creationId="{00000000-0000-0000-0000-000000000000}"/>
          </ac:spMkLst>
        </pc:spChg>
        <pc:picChg chg="del">
          <ac:chgData name="Isabel Rose Gippo" userId="S::irg9370@ads.northwestern.edu::b10bfe7e-55b9-46dd-9add-2eb52cb66d3b" providerId="AD" clId="Web-{6F4BA6F9-4A5A-3B13-85C3-6DB0B61CBC00}" dt="2023-10-24T14:28:03.140" v="46"/>
          <ac:picMkLst>
            <pc:docMk/>
            <pc:sldMk cId="1337825202" sldId="571"/>
            <ac:picMk id="2" creationId="{7088B35E-417D-2903-C144-75276D9E0FF3}"/>
          </ac:picMkLst>
        </pc:picChg>
        <pc:picChg chg="add mod">
          <ac:chgData name="Isabel Rose Gippo" userId="S::irg9370@ads.northwestern.edu::b10bfe7e-55b9-46dd-9add-2eb52cb66d3b" providerId="AD" clId="Web-{6F4BA6F9-4A5A-3B13-85C3-6DB0B61CBC00}" dt="2023-10-24T14:57:54.528" v="431" actId="14100"/>
          <ac:picMkLst>
            <pc:docMk/>
            <pc:sldMk cId="1337825202" sldId="571"/>
            <ac:picMk id="3" creationId="{295316AB-273C-55D8-0FED-C92B67DB5F3C}"/>
          </ac:picMkLst>
        </pc:picChg>
        <pc:picChg chg="add mod">
          <ac:chgData name="Isabel Rose Gippo" userId="S::irg9370@ads.northwestern.edu::b10bfe7e-55b9-46dd-9add-2eb52cb66d3b" providerId="AD" clId="Web-{6F4BA6F9-4A5A-3B13-85C3-6DB0B61CBC00}" dt="2023-10-24T15:11:02.736" v="735" actId="1076"/>
          <ac:picMkLst>
            <pc:docMk/>
            <pc:sldMk cId="1337825202" sldId="571"/>
            <ac:picMk id="6" creationId="{D2D0700A-FC9B-84DC-6A25-6288ECF7D29A}"/>
          </ac:picMkLst>
        </pc:picChg>
      </pc:sldChg>
      <pc:sldChg chg="modSp add del replId">
        <pc:chgData name="Isabel Rose Gippo" userId="S::irg9370@ads.northwestern.edu::b10bfe7e-55b9-46dd-9add-2eb52cb66d3b" providerId="AD" clId="Web-{6F4BA6F9-4A5A-3B13-85C3-6DB0B61CBC00}" dt="2023-10-24T15:15:28.883" v="910"/>
        <pc:sldMkLst>
          <pc:docMk/>
          <pc:sldMk cId="2676048260" sldId="574"/>
        </pc:sldMkLst>
        <pc:spChg chg="mod">
          <ac:chgData name="Isabel Rose Gippo" userId="S::irg9370@ads.northwestern.edu::b10bfe7e-55b9-46dd-9add-2eb52cb66d3b" providerId="AD" clId="Web-{6F4BA6F9-4A5A-3B13-85C3-6DB0B61CBC00}" dt="2023-10-24T15:09:52.078" v="731" actId="20577"/>
          <ac:spMkLst>
            <pc:docMk/>
            <pc:sldMk cId="2676048260" sldId="574"/>
            <ac:spMk id="5" creationId="{45477BD9-E066-785E-8D58-760863918D07}"/>
          </ac:spMkLst>
        </pc:spChg>
        <pc:spChg chg="mod">
          <ac:chgData name="Isabel Rose Gippo" userId="S::irg9370@ads.northwestern.edu::b10bfe7e-55b9-46dd-9add-2eb52cb66d3b" providerId="AD" clId="Web-{6F4BA6F9-4A5A-3B13-85C3-6DB0B61CBC00}" dt="2023-10-24T15:09:58.547" v="732"/>
          <ac:spMkLst>
            <pc:docMk/>
            <pc:sldMk cId="2676048260" sldId="574"/>
            <ac:spMk id="7" creationId="{70F70170-82A9-3F58-8A7E-1C8F0DE96C28}"/>
          </ac:spMkLst>
        </pc:spChg>
        <pc:spChg chg="mod">
          <ac:chgData name="Isabel Rose Gippo" userId="S::irg9370@ads.northwestern.edu::b10bfe7e-55b9-46dd-9add-2eb52cb66d3b" providerId="AD" clId="Web-{6F4BA6F9-4A5A-3B13-85C3-6DB0B61CBC00}" dt="2023-10-24T15:09:41.171" v="729" actId="20577"/>
          <ac:spMkLst>
            <pc:docMk/>
            <pc:sldMk cId="2676048260" sldId="574"/>
            <ac:spMk id="16386" creationId="{00000000-0000-0000-0000-000000000000}"/>
          </ac:spMkLst>
        </pc:spChg>
      </pc:sldChg>
      <pc:sldChg chg="addSp delSp modSp add del replId">
        <pc:chgData name="Isabel Rose Gippo" userId="S::irg9370@ads.northwestern.edu::b10bfe7e-55b9-46dd-9add-2eb52cb66d3b" providerId="AD" clId="Web-{6F4BA6F9-4A5A-3B13-85C3-6DB0B61CBC00}" dt="2023-10-24T15:55:34.943" v="1689" actId="1076"/>
        <pc:sldMkLst>
          <pc:docMk/>
          <pc:sldMk cId="1568500938" sldId="575"/>
        </pc:sldMkLst>
        <pc:spChg chg="mod">
          <ac:chgData name="Isabel Rose Gippo" userId="S::irg9370@ads.northwestern.edu::b10bfe7e-55b9-46dd-9add-2eb52cb66d3b" providerId="AD" clId="Web-{6F4BA6F9-4A5A-3B13-85C3-6DB0B61CBC00}" dt="2023-10-24T15:22:51.394" v="981" actId="1076"/>
          <ac:spMkLst>
            <pc:docMk/>
            <pc:sldMk cId="1568500938" sldId="575"/>
            <ac:spMk id="4" creationId="{16B24218-AF37-F6C6-7684-E7E3C16AFAF4}"/>
          </ac:spMkLst>
        </pc:spChg>
        <pc:spChg chg="mod">
          <ac:chgData name="Isabel Rose Gippo" userId="S::irg9370@ads.northwestern.edu::b10bfe7e-55b9-46dd-9add-2eb52cb66d3b" providerId="AD" clId="Web-{6F4BA6F9-4A5A-3B13-85C3-6DB0B61CBC00}" dt="2023-10-24T15:15:41.665" v="912" actId="20577"/>
          <ac:spMkLst>
            <pc:docMk/>
            <pc:sldMk cId="1568500938" sldId="575"/>
            <ac:spMk id="5" creationId="{45477BD9-E066-785E-8D58-760863918D07}"/>
          </ac:spMkLst>
        </pc:spChg>
        <pc:spChg chg="mod">
          <ac:chgData name="Isabel Rose Gippo" userId="S::irg9370@ads.northwestern.edu::b10bfe7e-55b9-46dd-9add-2eb52cb66d3b" providerId="AD" clId="Web-{6F4BA6F9-4A5A-3B13-85C3-6DB0B61CBC00}" dt="2023-10-24T15:15:36.930" v="911"/>
          <ac:spMkLst>
            <pc:docMk/>
            <pc:sldMk cId="1568500938" sldId="575"/>
            <ac:spMk id="7" creationId="{70F70170-82A9-3F58-8A7E-1C8F0DE96C28}"/>
          </ac:spMkLst>
        </pc:spChg>
        <pc:spChg chg="mod">
          <ac:chgData name="Isabel Rose Gippo" userId="S::irg9370@ads.northwestern.edu::b10bfe7e-55b9-46dd-9add-2eb52cb66d3b" providerId="AD" clId="Web-{6F4BA6F9-4A5A-3B13-85C3-6DB0B61CBC00}" dt="2023-10-24T15:30:40.812" v="1090" actId="1076"/>
          <ac:spMkLst>
            <pc:docMk/>
            <pc:sldMk cId="1568500938" sldId="575"/>
            <ac:spMk id="9" creationId="{16E68D9A-C1B6-0901-3EFC-15C208817766}"/>
          </ac:spMkLst>
        </pc:spChg>
        <pc:spChg chg="mod">
          <ac:chgData name="Isabel Rose Gippo" userId="S::irg9370@ads.northwestern.edu::b10bfe7e-55b9-46dd-9add-2eb52cb66d3b" providerId="AD" clId="Web-{6F4BA6F9-4A5A-3B13-85C3-6DB0B61CBC00}" dt="2023-10-24T15:30:48.922" v="1091" actId="1076"/>
          <ac:spMkLst>
            <pc:docMk/>
            <pc:sldMk cId="1568500938" sldId="575"/>
            <ac:spMk id="10" creationId="{25AE8A2F-EC9C-3068-BE56-5960B5C6DCA1}"/>
          </ac:spMkLst>
        </pc:spChg>
        <pc:spChg chg="mod">
          <ac:chgData name="Isabel Rose Gippo" userId="S::irg9370@ads.northwestern.edu::b10bfe7e-55b9-46dd-9add-2eb52cb66d3b" providerId="AD" clId="Web-{6F4BA6F9-4A5A-3B13-85C3-6DB0B61CBC00}" dt="2023-10-24T15:30:52.359" v="1092" actId="1076"/>
          <ac:spMkLst>
            <pc:docMk/>
            <pc:sldMk cId="1568500938" sldId="575"/>
            <ac:spMk id="11" creationId="{F406DC6F-8C94-AF9D-26F8-B81A3F9E5004}"/>
          </ac:spMkLst>
        </pc:spChg>
        <pc:spChg chg="mod">
          <ac:chgData name="Isabel Rose Gippo" userId="S::irg9370@ads.northwestern.edu::b10bfe7e-55b9-46dd-9add-2eb52cb66d3b" providerId="AD" clId="Web-{6F4BA6F9-4A5A-3B13-85C3-6DB0B61CBC00}" dt="2023-10-24T15:30:55.109" v="1093" actId="1076"/>
          <ac:spMkLst>
            <pc:docMk/>
            <pc:sldMk cId="1568500938" sldId="575"/>
            <ac:spMk id="12" creationId="{913F4C80-BE39-2B7C-C4A4-98B839B10F3C}"/>
          </ac:spMkLst>
        </pc:spChg>
        <pc:spChg chg="mod">
          <ac:chgData name="Isabel Rose Gippo" userId="S::irg9370@ads.northwestern.edu::b10bfe7e-55b9-46dd-9add-2eb52cb66d3b" providerId="AD" clId="Web-{6F4BA6F9-4A5A-3B13-85C3-6DB0B61CBC00}" dt="2023-10-24T15:30:59.516" v="1094" actId="1076"/>
          <ac:spMkLst>
            <pc:docMk/>
            <pc:sldMk cId="1568500938" sldId="575"/>
            <ac:spMk id="13" creationId="{CA29CC08-AC6C-D03F-4212-3671B5C0255E}"/>
          </ac:spMkLst>
        </pc:spChg>
        <pc:spChg chg="mod">
          <ac:chgData name="Isabel Rose Gippo" userId="S::irg9370@ads.northwestern.edu::b10bfe7e-55b9-46dd-9add-2eb52cb66d3b" providerId="AD" clId="Web-{6F4BA6F9-4A5A-3B13-85C3-6DB0B61CBC00}" dt="2023-10-24T15:31:03.172" v="1095" actId="1076"/>
          <ac:spMkLst>
            <pc:docMk/>
            <pc:sldMk cId="1568500938" sldId="575"/>
            <ac:spMk id="14" creationId="{56D7802A-D9E3-5022-FEB1-A5E340BE8541}"/>
          </ac:spMkLst>
        </pc:spChg>
        <pc:spChg chg="mod">
          <ac:chgData name="Isabel Rose Gippo" userId="S::irg9370@ads.northwestern.edu::b10bfe7e-55b9-46dd-9add-2eb52cb66d3b" providerId="AD" clId="Web-{6F4BA6F9-4A5A-3B13-85C3-6DB0B61CBC00}" dt="2023-10-24T15:31:07.750" v="1096" actId="1076"/>
          <ac:spMkLst>
            <pc:docMk/>
            <pc:sldMk cId="1568500938" sldId="575"/>
            <ac:spMk id="15" creationId="{33C1CB15-DF62-AAD5-40DF-C348B0B14C79}"/>
          </ac:spMkLst>
        </pc:spChg>
        <pc:spChg chg="mod">
          <ac:chgData name="Isabel Rose Gippo" userId="S::irg9370@ads.northwestern.edu::b10bfe7e-55b9-46dd-9add-2eb52cb66d3b" providerId="AD" clId="Web-{6F4BA6F9-4A5A-3B13-85C3-6DB0B61CBC00}" dt="2023-10-24T15:34:03.114" v="1206" actId="20577"/>
          <ac:spMkLst>
            <pc:docMk/>
            <pc:sldMk cId="1568500938" sldId="575"/>
            <ac:spMk id="17" creationId="{F322531C-B747-9294-091C-9F40532B993A}"/>
          </ac:spMkLst>
        </pc:spChg>
        <pc:spChg chg="mod">
          <ac:chgData name="Isabel Rose Gippo" userId="S::irg9370@ads.northwestern.edu::b10bfe7e-55b9-46dd-9add-2eb52cb66d3b" providerId="AD" clId="Web-{6F4BA6F9-4A5A-3B13-85C3-6DB0B61CBC00}" dt="2023-10-24T15:22:48.097" v="980" actId="1076"/>
          <ac:spMkLst>
            <pc:docMk/>
            <pc:sldMk cId="1568500938" sldId="575"/>
            <ac:spMk id="19" creationId="{F49C1F1A-614A-5749-1A3F-78980B65ADBC}"/>
          </ac:spMkLst>
        </pc:spChg>
        <pc:spChg chg="add mod">
          <ac:chgData name="Isabel Rose Gippo" userId="S::irg9370@ads.northwestern.edu::b10bfe7e-55b9-46dd-9add-2eb52cb66d3b" providerId="AD" clId="Web-{6F4BA6F9-4A5A-3B13-85C3-6DB0B61CBC00}" dt="2023-10-24T15:31:11.344" v="1097" actId="1076"/>
          <ac:spMkLst>
            <pc:docMk/>
            <pc:sldMk cId="1568500938" sldId="575"/>
            <ac:spMk id="21" creationId="{16124592-48C8-CBB5-0C67-F7EC7BD3F818}"/>
          </ac:spMkLst>
        </pc:spChg>
        <pc:spChg chg="add del mod">
          <ac:chgData name="Isabel Rose Gippo" userId="S::irg9370@ads.northwestern.edu::b10bfe7e-55b9-46dd-9add-2eb52cb66d3b" providerId="AD" clId="Web-{6F4BA6F9-4A5A-3B13-85C3-6DB0B61CBC00}" dt="2023-10-24T15:31:53.142" v="1125"/>
          <ac:spMkLst>
            <pc:docMk/>
            <pc:sldMk cId="1568500938" sldId="575"/>
            <ac:spMk id="22" creationId="{79C0A09F-BAC0-9497-B649-4AFA9FF44101}"/>
          </ac:spMkLst>
        </pc:spChg>
        <pc:spChg chg="add mod">
          <ac:chgData name="Isabel Rose Gippo" userId="S::irg9370@ads.northwestern.edu::b10bfe7e-55b9-46dd-9add-2eb52cb66d3b" providerId="AD" clId="Web-{6F4BA6F9-4A5A-3B13-85C3-6DB0B61CBC00}" dt="2023-10-24T15:33:52.380" v="1203" actId="1076"/>
          <ac:spMkLst>
            <pc:docMk/>
            <pc:sldMk cId="1568500938" sldId="575"/>
            <ac:spMk id="23" creationId="{242E4660-E8A4-DB53-3AE0-E98317C0C8D3}"/>
          </ac:spMkLst>
        </pc:spChg>
        <pc:spChg chg="mod">
          <ac:chgData name="Isabel Rose Gippo" userId="S::irg9370@ads.northwestern.edu::b10bfe7e-55b9-46dd-9add-2eb52cb66d3b" providerId="AD" clId="Web-{6F4BA6F9-4A5A-3B13-85C3-6DB0B61CBC00}" dt="2023-10-24T15:15:26.242" v="909" actId="20577"/>
          <ac:spMkLst>
            <pc:docMk/>
            <pc:sldMk cId="1568500938" sldId="575"/>
            <ac:spMk id="16386" creationId="{00000000-0000-0000-0000-000000000000}"/>
          </ac:spMkLst>
        </pc:spChg>
        <pc:picChg chg="add del mod">
          <ac:chgData name="Isabel Rose Gippo" userId="S::irg9370@ads.northwestern.edu::b10bfe7e-55b9-46dd-9add-2eb52cb66d3b" providerId="AD" clId="Web-{6F4BA6F9-4A5A-3B13-85C3-6DB0B61CBC00}" dt="2023-10-24T15:18:28.763" v="935"/>
          <ac:picMkLst>
            <pc:docMk/>
            <pc:sldMk cId="1568500938" sldId="575"/>
            <ac:picMk id="2" creationId="{95BB1340-67B2-9A3C-8B7D-1DAD7401068E}"/>
          </ac:picMkLst>
        </pc:picChg>
        <pc:picChg chg="del">
          <ac:chgData name="Isabel Rose Gippo" userId="S::irg9370@ads.northwestern.edu::b10bfe7e-55b9-46dd-9add-2eb52cb66d3b" providerId="AD" clId="Web-{6F4BA6F9-4A5A-3B13-85C3-6DB0B61CBC00}" dt="2023-10-24T15:17:12.761" v="916"/>
          <ac:picMkLst>
            <pc:docMk/>
            <pc:sldMk cId="1568500938" sldId="575"/>
            <ac:picMk id="3" creationId="{295316AB-273C-55D8-0FED-C92B67DB5F3C}"/>
          </ac:picMkLst>
        </pc:picChg>
        <pc:picChg chg="del mod">
          <ac:chgData name="Isabel Rose Gippo" userId="S::irg9370@ads.northwestern.edu::b10bfe7e-55b9-46dd-9add-2eb52cb66d3b" providerId="AD" clId="Web-{6F4BA6F9-4A5A-3B13-85C3-6DB0B61CBC00}" dt="2023-10-24T15:26:38.150" v="986"/>
          <ac:picMkLst>
            <pc:docMk/>
            <pc:sldMk cId="1568500938" sldId="575"/>
            <ac:picMk id="6" creationId="{D2D0700A-FC9B-84DC-6A25-6288ECF7D29A}"/>
          </ac:picMkLst>
        </pc:picChg>
        <pc:picChg chg="add mod">
          <ac:chgData name="Isabel Rose Gippo" userId="S::irg9370@ads.northwestern.edu::b10bfe7e-55b9-46dd-9add-2eb52cb66d3b" providerId="AD" clId="Web-{6F4BA6F9-4A5A-3B13-85C3-6DB0B61CBC00}" dt="2023-10-24T15:55:34.943" v="1689" actId="1076"/>
          <ac:picMkLst>
            <pc:docMk/>
            <pc:sldMk cId="1568500938" sldId="575"/>
            <ac:picMk id="8" creationId="{C4A61916-BC63-F6E7-BBA0-F124F7732FEA}"/>
          </ac:picMkLst>
        </pc:picChg>
        <pc:picChg chg="add del mod">
          <ac:chgData name="Isabel Rose Gippo" userId="S::irg9370@ads.northwestern.edu::b10bfe7e-55b9-46dd-9add-2eb52cb66d3b" providerId="AD" clId="Web-{6F4BA6F9-4A5A-3B13-85C3-6DB0B61CBC00}" dt="2023-10-24T15:27:20.839" v="994"/>
          <ac:picMkLst>
            <pc:docMk/>
            <pc:sldMk cId="1568500938" sldId="575"/>
            <ac:picMk id="18" creationId="{BCD3C2AF-D968-0135-4B4D-CDF4831C9AC7}"/>
          </ac:picMkLst>
        </pc:picChg>
        <pc:picChg chg="add mod">
          <ac:chgData name="Isabel Rose Gippo" userId="S::irg9370@ads.northwestern.edu::b10bfe7e-55b9-46dd-9add-2eb52cb66d3b" providerId="AD" clId="Web-{6F4BA6F9-4A5A-3B13-85C3-6DB0B61CBC00}" dt="2023-10-24T15:30:35.140" v="1089" actId="1076"/>
          <ac:picMkLst>
            <pc:docMk/>
            <pc:sldMk cId="1568500938" sldId="575"/>
            <ac:picMk id="20" creationId="{B6BEFD36-21D1-F003-8218-38BCE13A76CD}"/>
          </ac:picMkLst>
        </pc:picChg>
      </pc:sldChg>
      <pc:sldChg chg="addSp delSp modSp add del replId">
        <pc:chgData name="Isabel Rose Gippo" userId="S::irg9370@ads.northwestern.edu::b10bfe7e-55b9-46dd-9add-2eb52cb66d3b" providerId="AD" clId="Web-{6F4BA6F9-4A5A-3B13-85C3-6DB0B61CBC00}" dt="2023-10-24T15:55:22.521" v="1688"/>
        <pc:sldMkLst>
          <pc:docMk/>
          <pc:sldMk cId="1407824229" sldId="576"/>
        </pc:sldMkLst>
        <pc:spChg chg="add mod ord">
          <ac:chgData name="Isabel Rose Gippo" userId="S::irg9370@ads.northwestern.edu::b10bfe7e-55b9-46dd-9add-2eb52cb66d3b" providerId="AD" clId="Web-{6F4BA6F9-4A5A-3B13-85C3-6DB0B61CBC00}" dt="2023-10-24T15:55:16.099" v="1687"/>
          <ac:spMkLst>
            <pc:docMk/>
            <pc:sldMk cId="1407824229" sldId="576"/>
            <ac:spMk id="3" creationId="{E820A2E4-4F18-6799-9BD9-B308061CC76C}"/>
          </ac:spMkLst>
        </pc:spChg>
        <pc:spChg chg="del">
          <ac:chgData name="Isabel Rose Gippo" userId="S::irg9370@ads.northwestern.edu::b10bfe7e-55b9-46dd-9add-2eb52cb66d3b" providerId="AD" clId="Web-{6F4BA6F9-4A5A-3B13-85C3-6DB0B61CBC00}" dt="2023-10-24T15:38:43.746" v="1261"/>
          <ac:spMkLst>
            <pc:docMk/>
            <pc:sldMk cId="1407824229" sldId="576"/>
            <ac:spMk id="4" creationId="{16B24218-AF37-F6C6-7684-E7E3C16AFAF4}"/>
          </ac:spMkLst>
        </pc:spChg>
        <pc:spChg chg="mod">
          <ac:chgData name="Isabel Rose Gippo" userId="S::irg9370@ads.northwestern.edu::b10bfe7e-55b9-46dd-9add-2eb52cb66d3b" providerId="AD" clId="Web-{6F4BA6F9-4A5A-3B13-85C3-6DB0B61CBC00}" dt="2023-10-24T15:55:00.771" v="1686" actId="1076"/>
          <ac:spMkLst>
            <pc:docMk/>
            <pc:sldMk cId="1407824229" sldId="576"/>
            <ac:spMk id="5" creationId="{45477BD9-E066-785E-8D58-760863918D07}"/>
          </ac:spMkLst>
        </pc:spChg>
        <pc:spChg chg="add mod">
          <ac:chgData name="Isabel Rose Gippo" userId="S::irg9370@ads.northwestern.edu::b10bfe7e-55b9-46dd-9add-2eb52cb66d3b" providerId="AD" clId="Web-{6F4BA6F9-4A5A-3B13-85C3-6DB0B61CBC00}" dt="2023-10-24T15:55:22.521" v="1688"/>
          <ac:spMkLst>
            <pc:docMk/>
            <pc:sldMk cId="1407824229" sldId="576"/>
            <ac:spMk id="6" creationId="{ADFC1F5A-A2FF-8C65-F763-941E2E4DFF8C}"/>
          </ac:spMkLst>
        </pc:spChg>
        <pc:spChg chg="mod">
          <ac:chgData name="Isabel Rose Gippo" userId="S::irg9370@ads.northwestern.edu::b10bfe7e-55b9-46dd-9add-2eb52cb66d3b" providerId="AD" clId="Web-{6F4BA6F9-4A5A-3B13-85C3-6DB0B61CBC00}" dt="2023-10-24T15:46:13.601" v="1454"/>
          <ac:spMkLst>
            <pc:docMk/>
            <pc:sldMk cId="1407824229" sldId="576"/>
            <ac:spMk id="7" creationId="{70F70170-82A9-3F58-8A7E-1C8F0DE96C28}"/>
          </ac:spMkLst>
        </pc:spChg>
        <pc:spChg chg="del">
          <ac:chgData name="Isabel Rose Gippo" userId="S::irg9370@ads.northwestern.edu::b10bfe7e-55b9-46dd-9add-2eb52cb66d3b" providerId="AD" clId="Web-{6F4BA6F9-4A5A-3B13-85C3-6DB0B61CBC00}" dt="2023-10-24T15:48:10.464" v="1469"/>
          <ac:spMkLst>
            <pc:docMk/>
            <pc:sldMk cId="1407824229" sldId="576"/>
            <ac:spMk id="9" creationId="{16E68D9A-C1B6-0901-3EFC-15C208817766}"/>
          </ac:spMkLst>
        </pc:spChg>
        <pc:spChg chg="del">
          <ac:chgData name="Isabel Rose Gippo" userId="S::irg9370@ads.northwestern.edu::b10bfe7e-55b9-46dd-9add-2eb52cb66d3b" providerId="AD" clId="Web-{6F4BA6F9-4A5A-3B13-85C3-6DB0B61CBC00}" dt="2023-10-24T15:48:08.573" v="1468"/>
          <ac:spMkLst>
            <pc:docMk/>
            <pc:sldMk cId="1407824229" sldId="576"/>
            <ac:spMk id="10" creationId="{25AE8A2F-EC9C-3068-BE56-5960B5C6DCA1}"/>
          </ac:spMkLst>
        </pc:spChg>
        <pc:spChg chg="del">
          <ac:chgData name="Isabel Rose Gippo" userId="S::irg9370@ads.northwestern.edu::b10bfe7e-55b9-46dd-9add-2eb52cb66d3b" providerId="AD" clId="Web-{6F4BA6F9-4A5A-3B13-85C3-6DB0B61CBC00}" dt="2023-10-24T15:48:06.448" v="1467"/>
          <ac:spMkLst>
            <pc:docMk/>
            <pc:sldMk cId="1407824229" sldId="576"/>
            <ac:spMk id="11" creationId="{F406DC6F-8C94-AF9D-26F8-B81A3F9E5004}"/>
          </ac:spMkLst>
        </pc:spChg>
        <pc:spChg chg="del">
          <ac:chgData name="Isabel Rose Gippo" userId="S::irg9370@ads.northwestern.edu::b10bfe7e-55b9-46dd-9add-2eb52cb66d3b" providerId="AD" clId="Web-{6F4BA6F9-4A5A-3B13-85C3-6DB0B61CBC00}" dt="2023-10-24T15:48:04.542" v="1466"/>
          <ac:spMkLst>
            <pc:docMk/>
            <pc:sldMk cId="1407824229" sldId="576"/>
            <ac:spMk id="12" creationId="{913F4C80-BE39-2B7C-C4A4-98B839B10F3C}"/>
          </ac:spMkLst>
        </pc:spChg>
        <pc:spChg chg="del">
          <ac:chgData name="Isabel Rose Gippo" userId="S::irg9370@ads.northwestern.edu::b10bfe7e-55b9-46dd-9add-2eb52cb66d3b" providerId="AD" clId="Web-{6F4BA6F9-4A5A-3B13-85C3-6DB0B61CBC00}" dt="2023-10-24T15:48:02.495" v="1465"/>
          <ac:spMkLst>
            <pc:docMk/>
            <pc:sldMk cId="1407824229" sldId="576"/>
            <ac:spMk id="13" creationId="{CA29CC08-AC6C-D03F-4212-3671B5C0255E}"/>
          </ac:spMkLst>
        </pc:spChg>
        <pc:spChg chg="del">
          <ac:chgData name="Isabel Rose Gippo" userId="S::irg9370@ads.northwestern.edu::b10bfe7e-55b9-46dd-9add-2eb52cb66d3b" providerId="AD" clId="Web-{6F4BA6F9-4A5A-3B13-85C3-6DB0B61CBC00}" dt="2023-10-24T15:48:00.666" v="1464"/>
          <ac:spMkLst>
            <pc:docMk/>
            <pc:sldMk cId="1407824229" sldId="576"/>
            <ac:spMk id="14" creationId="{56D7802A-D9E3-5022-FEB1-A5E340BE8541}"/>
          </ac:spMkLst>
        </pc:spChg>
        <pc:spChg chg="del mod">
          <ac:chgData name="Isabel Rose Gippo" userId="S::irg9370@ads.northwestern.edu::b10bfe7e-55b9-46dd-9add-2eb52cb66d3b" providerId="AD" clId="Web-{6F4BA6F9-4A5A-3B13-85C3-6DB0B61CBC00}" dt="2023-10-24T15:47:58.760" v="1463"/>
          <ac:spMkLst>
            <pc:docMk/>
            <pc:sldMk cId="1407824229" sldId="576"/>
            <ac:spMk id="15" creationId="{33C1CB15-DF62-AAD5-40DF-C348B0B14C79}"/>
          </ac:spMkLst>
        </pc:spChg>
        <pc:spChg chg="del">
          <ac:chgData name="Isabel Rose Gippo" userId="S::irg9370@ads.northwestern.edu::b10bfe7e-55b9-46dd-9add-2eb52cb66d3b" providerId="AD" clId="Web-{6F4BA6F9-4A5A-3B13-85C3-6DB0B61CBC00}" dt="2023-10-24T15:45:15.912" v="1419"/>
          <ac:spMkLst>
            <pc:docMk/>
            <pc:sldMk cId="1407824229" sldId="576"/>
            <ac:spMk id="17" creationId="{F322531C-B747-9294-091C-9F40532B993A}"/>
          </ac:spMkLst>
        </pc:spChg>
        <pc:spChg chg="del mod">
          <ac:chgData name="Isabel Rose Gippo" userId="S::irg9370@ads.northwestern.edu::b10bfe7e-55b9-46dd-9add-2eb52cb66d3b" providerId="AD" clId="Web-{6F4BA6F9-4A5A-3B13-85C3-6DB0B61CBC00}" dt="2023-10-24T15:41:24.282" v="1336"/>
          <ac:spMkLst>
            <pc:docMk/>
            <pc:sldMk cId="1407824229" sldId="576"/>
            <ac:spMk id="19" creationId="{F49C1F1A-614A-5749-1A3F-78980B65ADBC}"/>
          </ac:spMkLst>
        </pc:spChg>
        <pc:spChg chg="del">
          <ac:chgData name="Isabel Rose Gippo" userId="S::irg9370@ads.northwestern.edu::b10bfe7e-55b9-46dd-9add-2eb52cb66d3b" providerId="AD" clId="Web-{6F4BA6F9-4A5A-3B13-85C3-6DB0B61CBC00}" dt="2023-10-24T15:47:55.823" v="1461"/>
          <ac:spMkLst>
            <pc:docMk/>
            <pc:sldMk cId="1407824229" sldId="576"/>
            <ac:spMk id="21" creationId="{16124592-48C8-CBB5-0C67-F7EC7BD3F818}"/>
          </ac:spMkLst>
        </pc:spChg>
        <pc:spChg chg="del">
          <ac:chgData name="Isabel Rose Gippo" userId="S::irg9370@ads.northwestern.edu::b10bfe7e-55b9-46dd-9add-2eb52cb66d3b" providerId="AD" clId="Web-{6F4BA6F9-4A5A-3B13-85C3-6DB0B61CBC00}" dt="2023-10-24T15:45:14.084" v="1418"/>
          <ac:spMkLst>
            <pc:docMk/>
            <pc:sldMk cId="1407824229" sldId="576"/>
            <ac:spMk id="23" creationId="{242E4660-E8A4-DB53-3AE0-E98317C0C8D3}"/>
          </ac:spMkLst>
        </pc:spChg>
        <pc:spChg chg="add mod">
          <ac:chgData name="Isabel Rose Gippo" userId="S::irg9370@ads.northwestern.edu::b10bfe7e-55b9-46dd-9add-2eb52cb66d3b" providerId="AD" clId="Web-{6F4BA6F9-4A5A-3B13-85C3-6DB0B61CBC00}" dt="2023-10-24T15:53:56.660" v="1669" actId="1076"/>
          <ac:spMkLst>
            <pc:docMk/>
            <pc:sldMk cId="1407824229" sldId="576"/>
            <ac:spMk id="26" creationId="{4E5DC01A-FD86-C088-08A9-75E4492040D0}"/>
          </ac:spMkLst>
        </pc:spChg>
        <pc:spChg chg="add del mod">
          <ac:chgData name="Isabel Rose Gippo" userId="S::irg9370@ads.northwestern.edu::b10bfe7e-55b9-46dd-9add-2eb52cb66d3b" providerId="AD" clId="Web-{6F4BA6F9-4A5A-3B13-85C3-6DB0B61CBC00}" dt="2023-10-24T15:51:55.454" v="1617"/>
          <ac:spMkLst>
            <pc:docMk/>
            <pc:sldMk cId="1407824229" sldId="576"/>
            <ac:spMk id="28" creationId="{0634AC62-B461-C579-C1E0-59D9F4B72983}"/>
          </ac:spMkLst>
        </pc:spChg>
        <pc:spChg chg="add mod">
          <ac:chgData name="Isabel Rose Gippo" userId="S::irg9370@ads.northwestern.edu::b10bfe7e-55b9-46dd-9add-2eb52cb66d3b" providerId="AD" clId="Web-{6F4BA6F9-4A5A-3B13-85C3-6DB0B61CBC00}" dt="2023-10-24T15:54:00.082" v="1670" actId="1076"/>
          <ac:spMkLst>
            <pc:docMk/>
            <pc:sldMk cId="1407824229" sldId="576"/>
            <ac:spMk id="29" creationId="{74107DB5-E209-4AEF-9800-3DE57E4F629D}"/>
          </ac:spMkLst>
        </pc:spChg>
        <pc:spChg chg="mod">
          <ac:chgData name="Isabel Rose Gippo" userId="S::irg9370@ads.northwestern.edu::b10bfe7e-55b9-46dd-9add-2eb52cb66d3b" providerId="AD" clId="Web-{6F4BA6F9-4A5A-3B13-85C3-6DB0B61CBC00}" dt="2023-10-24T15:44:47.005" v="1398" actId="20577"/>
          <ac:spMkLst>
            <pc:docMk/>
            <pc:sldMk cId="1407824229" sldId="576"/>
            <ac:spMk id="16386" creationId="{00000000-0000-0000-0000-000000000000}"/>
          </ac:spMkLst>
        </pc:spChg>
        <pc:picChg chg="add mod modCrop">
          <ac:chgData name="Isabel Rose Gippo" userId="S::irg9370@ads.northwestern.edu::b10bfe7e-55b9-46dd-9add-2eb52cb66d3b" providerId="AD" clId="Web-{6F4BA6F9-4A5A-3B13-85C3-6DB0B61CBC00}" dt="2023-10-24T15:44:22.270" v="1393" actId="1076"/>
          <ac:picMkLst>
            <pc:docMk/>
            <pc:sldMk cId="1407824229" sldId="576"/>
            <ac:picMk id="2" creationId="{B8AC14FF-4EC0-8575-EDE3-C0FA67908392}"/>
          </ac:picMkLst>
        </pc:picChg>
        <pc:picChg chg="del">
          <ac:chgData name="Isabel Rose Gippo" userId="S::irg9370@ads.northwestern.edu::b10bfe7e-55b9-46dd-9add-2eb52cb66d3b" providerId="AD" clId="Web-{6F4BA6F9-4A5A-3B13-85C3-6DB0B61CBC00}" dt="2023-10-24T15:35:08.131" v="1222"/>
          <ac:picMkLst>
            <pc:docMk/>
            <pc:sldMk cId="1407824229" sldId="576"/>
            <ac:picMk id="8" creationId="{C4A61916-BC63-F6E7-BBA0-F124F7732FEA}"/>
          </ac:picMkLst>
        </pc:picChg>
        <pc:picChg chg="add mod ord">
          <ac:chgData name="Isabel Rose Gippo" userId="S::irg9370@ads.northwestern.edu::b10bfe7e-55b9-46dd-9add-2eb52cb66d3b" providerId="AD" clId="Web-{6F4BA6F9-4A5A-3B13-85C3-6DB0B61CBC00}" dt="2023-10-24T15:44:15.411" v="1391" actId="1076"/>
          <ac:picMkLst>
            <pc:docMk/>
            <pc:sldMk cId="1407824229" sldId="576"/>
            <ac:picMk id="18" creationId="{7B1A0AA1-15B5-44AC-69EE-FA0C3636DDE8}"/>
          </ac:picMkLst>
        </pc:picChg>
        <pc:picChg chg="del">
          <ac:chgData name="Isabel Rose Gippo" userId="S::irg9370@ads.northwestern.edu::b10bfe7e-55b9-46dd-9add-2eb52cb66d3b" providerId="AD" clId="Web-{6F4BA6F9-4A5A-3B13-85C3-6DB0B61CBC00}" dt="2023-10-24T15:45:06.771" v="1415"/>
          <ac:picMkLst>
            <pc:docMk/>
            <pc:sldMk cId="1407824229" sldId="576"/>
            <ac:picMk id="20" creationId="{B6BEFD36-21D1-F003-8218-38BCE13A76CD}"/>
          </ac:picMkLst>
        </pc:picChg>
        <pc:picChg chg="add del mod">
          <ac:chgData name="Isabel Rose Gippo" userId="S::irg9370@ads.northwestern.edu::b10bfe7e-55b9-46dd-9add-2eb52cb66d3b" providerId="AD" clId="Web-{6F4BA6F9-4A5A-3B13-85C3-6DB0B61CBC00}" dt="2023-10-24T15:48:45.918" v="1475"/>
          <ac:picMkLst>
            <pc:docMk/>
            <pc:sldMk cId="1407824229" sldId="576"/>
            <ac:picMk id="22" creationId="{13DD8CE3-1FDC-102F-CBBB-FB401F1872A7}"/>
          </ac:picMkLst>
        </pc:picChg>
        <pc:picChg chg="add mod">
          <ac:chgData name="Isabel Rose Gippo" userId="S::irg9370@ads.northwestern.edu::b10bfe7e-55b9-46dd-9add-2eb52cb66d3b" providerId="AD" clId="Web-{6F4BA6F9-4A5A-3B13-85C3-6DB0B61CBC00}" dt="2023-10-24T15:53:51.160" v="1668" actId="1076"/>
          <ac:picMkLst>
            <pc:docMk/>
            <pc:sldMk cId="1407824229" sldId="576"/>
            <ac:picMk id="24" creationId="{2D6C607A-C2C1-8EE7-6156-28BA1CD6D4EB}"/>
          </ac:picMkLst>
        </pc:picChg>
      </pc:sldChg>
    </pc:docChg>
  </pc:docChgLst>
  <pc:docChgLst>
    <pc:chgData name="Eileen Fleming Suse" userId="S::efs3844@ads.northwestern.edu::725c94ef-d051-42d7-9d33-8572765d592b" providerId="AD" clId="Web-{85CD7F39-8F26-7081-E17F-9CFE5E103D63}"/>
    <pc:docChg chg="addSld delSld modSld sldOrd">
      <pc:chgData name="Eileen Fleming Suse" userId="S::efs3844@ads.northwestern.edu::725c94ef-d051-42d7-9d33-8572765d592b" providerId="AD" clId="Web-{85CD7F39-8F26-7081-E17F-9CFE5E103D63}" dt="2023-10-24T19:03:39.508" v="173" actId="20577"/>
      <pc:docMkLst>
        <pc:docMk/>
      </pc:docMkLst>
      <pc:sldChg chg="del">
        <pc:chgData name="Eileen Fleming Suse" userId="S::efs3844@ads.northwestern.edu::725c94ef-d051-42d7-9d33-8572765d592b" providerId="AD" clId="Web-{85CD7F39-8F26-7081-E17F-9CFE5E103D63}" dt="2023-10-24T18:21:45.536" v="0"/>
        <pc:sldMkLst>
          <pc:docMk/>
          <pc:sldMk cId="2338849283" sldId="290"/>
        </pc:sldMkLst>
      </pc:sldChg>
      <pc:sldChg chg="ord">
        <pc:chgData name="Eileen Fleming Suse" userId="S::efs3844@ads.northwestern.edu::725c94ef-d051-42d7-9d33-8572765d592b" providerId="AD" clId="Web-{85CD7F39-8F26-7081-E17F-9CFE5E103D63}" dt="2023-10-24T18:27:42.969" v="88"/>
        <pc:sldMkLst>
          <pc:docMk/>
          <pc:sldMk cId="2351229145" sldId="544"/>
        </pc:sldMkLst>
      </pc:sldChg>
      <pc:sldChg chg="modSp">
        <pc:chgData name="Eileen Fleming Suse" userId="S::efs3844@ads.northwestern.edu::725c94ef-d051-42d7-9d33-8572765d592b" providerId="AD" clId="Web-{85CD7F39-8F26-7081-E17F-9CFE5E103D63}" dt="2023-10-24T18:41:13.402" v="102" actId="20577"/>
        <pc:sldMkLst>
          <pc:docMk/>
          <pc:sldMk cId="3745706804" sldId="548"/>
        </pc:sldMkLst>
        <pc:spChg chg="mod">
          <ac:chgData name="Eileen Fleming Suse" userId="S::efs3844@ads.northwestern.edu::725c94ef-d051-42d7-9d33-8572765d592b" providerId="AD" clId="Web-{85CD7F39-8F26-7081-E17F-9CFE5E103D63}" dt="2023-10-24T18:41:13.402" v="102" actId="20577"/>
          <ac:spMkLst>
            <pc:docMk/>
            <pc:sldMk cId="3745706804" sldId="548"/>
            <ac:spMk id="3" creationId="{C0454086-94BF-0693-766D-F1659194519A}"/>
          </ac:spMkLst>
        </pc:spChg>
      </pc:sldChg>
      <pc:sldChg chg="modSp">
        <pc:chgData name="Eileen Fleming Suse" userId="S::efs3844@ads.northwestern.edu::725c94ef-d051-42d7-9d33-8572765d592b" providerId="AD" clId="Web-{85CD7F39-8F26-7081-E17F-9CFE5E103D63}" dt="2023-10-24T18:49:16.746" v="155" actId="20577"/>
        <pc:sldMkLst>
          <pc:docMk/>
          <pc:sldMk cId="3962270618" sldId="549"/>
        </pc:sldMkLst>
        <pc:spChg chg="mod">
          <ac:chgData name="Eileen Fleming Suse" userId="S::efs3844@ads.northwestern.edu::725c94ef-d051-42d7-9d33-8572765d592b" providerId="AD" clId="Web-{85CD7F39-8F26-7081-E17F-9CFE5E103D63}" dt="2023-10-24T18:49:16.746" v="155" actId="20577"/>
          <ac:spMkLst>
            <pc:docMk/>
            <pc:sldMk cId="3962270618" sldId="549"/>
            <ac:spMk id="2" creationId="{D2A51686-B2DC-CDBE-63AE-C97B6B0DBD66}"/>
          </ac:spMkLst>
        </pc:spChg>
      </pc:sldChg>
      <pc:sldChg chg="modNotes">
        <pc:chgData name="Eileen Fleming Suse" userId="S::efs3844@ads.northwestern.edu::725c94ef-d051-42d7-9d33-8572765d592b" providerId="AD" clId="Web-{85CD7F39-8F26-7081-E17F-9CFE5E103D63}" dt="2023-10-24T18:49:47.856" v="156"/>
        <pc:sldMkLst>
          <pc:docMk/>
          <pc:sldMk cId="2562283095" sldId="551"/>
        </pc:sldMkLst>
      </pc:sldChg>
      <pc:sldChg chg="modSp">
        <pc:chgData name="Eileen Fleming Suse" userId="S::efs3844@ads.northwestern.edu::725c94ef-d051-42d7-9d33-8572765d592b" providerId="AD" clId="Web-{85CD7F39-8F26-7081-E17F-9CFE5E103D63}" dt="2023-10-24T18:22:25.365" v="2" actId="20577"/>
        <pc:sldMkLst>
          <pc:docMk/>
          <pc:sldMk cId="1522616096" sldId="555"/>
        </pc:sldMkLst>
        <pc:spChg chg="mod">
          <ac:chgData name="Eileen Fleming Suse" userId="S::efs3844@ads.northwestern.edu::725c94ef-d051-42d7-9d33-8572765d592b" providerId="AD" clId="Web-{85CD7F39-8F26-7081-E17F-9CFE5E103D63}" dt="2023-10-24T18:22:25.365" v="2" actId="20577"/>
          <ac:spMkLst>
            <pc:docMk/>
            <pc:sldMk cId="1522616096" sldId="555"/>
            <ac:spMk id="13" creationId="{50A7250D-02AB-B054-06E1-32E9F8FC55C0}"/>
          </ac:spMkLst>
        </pc:spChg>
      </pc:sldChg>
      <pc:sldChg chg="modSp ord">
        <pc:chgData name="Eileen Fleming Suse" userId="S::efs3844@ads.northwestern.edu::725c94ef-d051-42d7-9d33-8572765d592b" providerId="AD" clId="Web-{85CD7F39-8F26-7081-E17F-9CFE5E103D63}" dt="2023-10-24T18:23:33.867" v="6" actId="20577"/>
        <pc:sldMkLst>
          <pc:docMk/>
          <pc:sldMk cId="773696652" sldId="558"/>
        </pc:sldMkLst>
        <pc:spChg chg="mod">
          <ac:chgData name="Eileen Fleming Suse" userId="S::efs3844@ads.northwestern.edu::725c94ef-d051-42d7-9d33-8572765d592b" providerId="AD" clId="Web-{85CD7F39-8F26-7081-E17F-9CFE5E103D63}" dt="2023-10-24T18:23:33.867" v="6" actId="20577"/>
          <ac:spMkLst>
            <pc:docMk/>
            <pc:sldMk cId="773696652" sldId="558"/>
            <ac:spMk id="13" creationId="{50A7250D-02AB-B054-06E1-32E9F8FC55C0}"/>
          </ac:spMkLst>
        </pc:spChg>
      </pc:sldChg>
      <pc:sldChg chg="modSp">
        <pc:chgData name="Eileen Fleming Suse" userId="S::efs3844@ads.northwestern.edu::725c94ef-d051-42d7-9d33-8572765d592b" providerId="AD" clId="Web-{85CD7F39-8F26-7081-E17F-9CFE5E103D63}" dt="2023-10-24T19:03:39.508" v="173" actId="20577"/>
        <pc:sldMkLst>
          <pc:docMk/>
          <pc:sldMk cId="3067427377" sldId="560"/>
        </pc:sldMkLst>
        <pc:spChg chg="mod">
          <ac:chgData name="Eileen Fleming Suse" userId="S::efs3844@ads.northwestern.edu::725c94ef-d051-42d7-9d33-8572765d592b" providerId="AD" clId="Web-{85CD7F39-8F26-7081-E17F-9CFE5E103D63}" dt="2023-10-24T19:03:39.508" v="173" actId="20577"/>
          <ac:spMkLst>
            <pc:docMk/>
            <pc:sldMk cId="3067427377" sldId="560"/>
            <ac:spMk id="2" creationId="{85302686-DF06-3304-66CB-1E21F4D086DC}"/>
          </ac:spMkLst>
        </pc:spChg>
      </pc:sldChg>
      <pc:sldChg chg="ord">
        <pc:chgData name="Eileen Fleming Suse" userId="S::efs3844@ads.northwestern.edu::725c94ef-d051-42d7-9d33-8572765d592b" providerId="AD" clId="Web-{85CD7F39-8F26-7081-E17F-9CFE5E103D63}" dt="2023-10-24T19:02:03.568" v="160"/>
        <pc:sldMkLst>
          <pc:docMk/>
          <pc:sldMk cId="1536434647" sldId="564"/>
        </pc:sldMkLst>
      </pc:sldChg>
      <pc:sldChg chg="del">
        <pc:chgData name="Eileen Fleming Suse" userId="S::efs3844@ads.northwestern.edu::725c94ef-d051-42d7-9d33-8572765d592b" providerId="AD" clId="Web-{85CD7F39-8F26-7081-E17F-9CFE5E103D63}" dt="2023-10-24T18:31:12.851" v="91"/>
        <pc:sldMkLst>
          <pc:docMk/>
          <pc:sldMk cId="1415571005" sldId="572"/>
        </pc:sldMkLst>
      </pc:sldChg>
      <pc:sldChg chg="del">
        <pc:chgData name="Eileen Fleming Suse" userId="S::efs3844@ads.northwestern.edu::725c94ef-d051-42d7-9d33-8572765d592b" providerId="AD" clId="Web-{85CD7F39-8F26-7081-E17F-9CFE5E103D63}" dt="2023-10-24T18:31:16.023" v="92"/>
        <pc:sldMkLst>
          <pc:docMk/>
          <pc:sldMk cId="2901982042" sldId="573"/>
        </pc:sldMkLst>
      </pc:sldChg>
      <pc:sldChg chg="modNotes">
        <pc:chgData name="Eileen Fleming Suse" userId="S::efs3844@ads.northwestern.edu::725c94ef-d051-42d7-9d33-8572765d592b" providerId="AD" clId="Web-{85CD7F39-8F26-7081-E17F-9CFE5E103D63}" dt="2023-10-24T18:28:21.080" v="90"/>
        <pc:sldMkLst>
          <pc:docMk/>
          <pc:sldMk cId="1407824229" sldId="576"/>
        </pc:sldMkLst>
      </pc:sldChg>
      <pc:sldChg chg="modSp new mod modClrScheme chgLayout modNotes">
        <pc:chgData name="Eileen Fleming Suse" userId="S::efs3844@ads.northwestern.edu::725c94ef-d051-42d7-9d33-8572765d592b" providerId="AD" clId="Web-{85CD7F39-8F26-7081-E17F-9CFE5E103D63}" dt="2023-10-24T19:00:23.346" v="159"/>
        <pc:sldMkLst>
          <pc:docMk/>
          <pc:sldMk cId="4290994232" sldId="578"/>
        </pc:sldMkLst>
        <pc:spChg chg="mod ord">
          <ac:chgData name="Eileen Fleming Suse" userId="S::efs3844@ads.northwestern.edu::725c94ef-d051-42d7-9d33-8572765d592b" providerId="AD" clId="Web-{85CD7F39-8F26-7081-E17F-9CFE5E103D63}" dt="2023-10-24T18:26:58.624" v="67"/>
          <ac:spMkLst>
            <pc:docMk/>
            <pc:sldMk cId="4290994232" sldId="578"/>
            <ac:spMk id="2" creationId="{3089D313-1FE9-8E3B-E1C1-8D63F9537E7C}"/>
          </ac:spMkLst>
        </pc:spChg>
        <pc:spChg chg="mod ord">
          <ac:chgData name="Eileen Fleming Suse" userId="S::efs3844@ads.northwestern.edu::725c94ef-d051-42d7-9d33-8572765d592b" providerId="AD" clId="Web-{85CD7F39-8F26-7081-E17F-9CFE5E103D63}" dt="2023-10-24T18:26:58.624" v="67"/>
          <ac:spMkLst>
            <pc:docMk/>
            <pc:sldMk cId="4290994232" sldId="578"/>
            <ac:spMk id="3" creationId="{CFAA9E52-251F-FEC4-DD99-459D2CFCC90C}"/>
          </ac:spMkLst>
        </pc:spChg>
      </pc:sldChg>
    </pc:docChg>
  </pc:docChgLst>
  <pc:docChgLst>
    <pc:chgData name="justin" userId="S::justin_josephsen.org#ext#@nuwildcat.onmicrosoft.com::59076b92-ce89-4586-91d8-5ddb5cd2b89a" providerId="AD" clId="Web-{6299E2EC-AA5F-793A-628C-EBCF8BF5D2B0}"/>
    <pc:docChg chg="modSld">
      <pc:chgData name="justin" userId="S::justin_josephsen.org#ext#@nuwildcat.onmicrosoft.com::59076b92-ce89-4586-91d8-5ddb5cd2b89a" providerId="AD" clId="Web-{6299E2EC-AA5F-793A-628C-EBCF8BF5D2B0}" dt="2023-11-20T14:40:33.879" v="1" actId="20577"/>
      <pc:docMkLst>
        <pc:docMk/>
      </pc:docMkLst>
      <pc:sldChg chg="modSp">
        <pc:chgData name="justin" userId="S::justin_josephsen.org#ext#@nuwildcat.onmicrosoft.com::59076b92-ce89-4586-91d8-5ddb5cd2b89a" providerId="AD" clId="Web-{6299E2EC-AA5F-793A-628C-EBCF8BF5D2B0}" dt="2023-11-20T14:40:33.879" v="1" actId="20577"/>
        <pc:sldMkLst>
          <pc:docMk/>
          <pc:sldMk cId="102026260" sldId="720"/>
        </pc:sldMkLst>
        <pc:spChg chg="mod">
          <ac:chgData name="justin" userId="S::justin_josephsen.org#ext#@nuwildcat.onmicrosoft.com::59076b92-ce89-4586-91d8-5ddb5cd2b89a" providerId="AD" clId="Web-{6299E2EC-AA5F-793A-628C-EBCF8BF5D2B0}" dt="2023-11-20T14:40:33.879" v="1" actId="20577"/>
          <ac:spMkLst>
            <pc:docMk/>
            <pc:sldMk cId="102026260" sldId="720"/>
            <ac:spMk id="9" creationId="{98150912-7A4D-8CF4-F429-183917B0EF9E}"/>
          </ac:spMkLst>
        </pc:spChg>
      </pc:sldChg>
    </pc:docChg>
  </pc:docChgLst>
  <pc:docChgLst>
    <pc:chgData name="LCaldarelli" userId="S::lcaldarelli_luriechildrens.org#ext#@nuwildcat.onmicrosoft.com::cd79b54d-c14e-4199-a04a-39c6f592e710" providerId="AD" clId="Web-{1D788AEF-8DA4-9FDC-F8F6-781996136A25}"/>
    <pc:docChg chg="delSld">
      <pc:chgData name="LCaldarelli" userId="S::lcaldarelli_luriechildrens.org#ext#@nuwildcat.onmicrosoft.com::cd79b54d-c14e-4199-a04a-39c6f592e710" providerId="AD" clId="Web-{1D788AEF-8DA4-9FDC-F8F6-781996136A25}" dt="2023-11-20T17:20:03.301" v="0"/>
      <pc:docMkLst>
        <pc:docMk/>
      </pc:docMkLst>
      <pc:sldChg chg="del">
        <pc:chgData name="LCaldarelli" userId="S::lcaldarelli_luriechildrens.org#ext#@nuwildcat.onmicrosoft.com::cd79b54d-c14e-4199-a04a-39c6f592e710" providerId="AD" clId="Web-{1D788AEF-8DA4-9FDC-F8F6-781996136A25}" dt="2023-11-20T17:20:03.301" v="0"/>
        <pc:sldMkLst>
          <pc:docMk/>
          <pc:sldMk cId="3124210322" sldId="714"/>
        </pc:sldMkLst>
      </pc:sldChg>
    </pc:docChg>
  </pc:docChgLst>
  <pc:docChgLst>
    <pc:chgData name="Eileen Fleming Suse" userId="S::efs3844@ads.northwestern.edu::725c94ef-d051-42d7-9d33-8572765d592b" providerId="AD" clId="Web-{D1FD5983-AA3B-9DE6-CECC-8854B06948B5}"/>
    <pc:docChg chg="addSld delSld modSld">
      <pc:chgData name="Eileen Fleming Suse" userId="S::efs3844@ads.northwestern.edu::725c94ef-d051-42d7-9d33-8572765d592b" providerId="AD" clId="Web-{D1FD5983-AA3B-9DE6-CECC-8854B06948B5}" dt="2023-11-15T18:35:58.840" v="31"/>
      <pc:docMkLst>
        <pc:docMk/>
      </pc:docMkLst>
      <pc:sldChg chg="modSp">
        <pc:chgData name="Eileen Fleming Suse" userId="S::efs3844@ads.northwestern.edu::725c94ef-d051-42d7-9d33-8572765d592b" providerId="AD" clId="Web-{D1FD5983-AA3B-9DE6-CECC-8854B06948B5}" dt="2023-11-15T18:34:56.120" v="14" actId="1076"/>
        <pc:sldMkLst>
          <pc:docMk/>
          <pc:sldMk cId="3127921386" sldId="280"/>
        </pc:sldMkLst>
        <pc:spChg chg="mod">
          <ac:chgData name="Eileen Fleming Suse" userId="S::efs3844@ads.northwestern.edu::725c94ef-d051-42d7-9d33-8572765d592b" providerId="AD" clId="Web-{D1FD5983-AA3B-9DE6-CECC-8854B06948B5}" dt="2023-11-15T18:34:32.916" v="12" actId="20577"/>
          <ac:spMkLst>
            <pc:docMk/>
            <pc:sldMk cId="3127921386" sldId="280"/>
            <ac:spMk id="3" creationId="{1D742501-F937-8041-84E5-748F96AE991B}"/>
          </ac:spMkLst>
        </pc:spChg>
        <pc:spChg chg="mod">
          <ac:chgData name="Eileen Fleming Suse" userId="S::efs3844@ads.northwestern.edu::725c94ef-d051-42d7-9d33-8572765d592b" providerId="AD" clId="Web-{D1FD5983-AA3B-9DE6-CECC-8854B06948B5}" dt="2023-11-15T18:34:56.120" v="14" actId="1076"/>
          <ac:spMkLst>
            <pc:docMk/>
            <pc:sldMk cId="3127921386" sldId="280"/>
            <ac:spMk id="9" creationId="{7F20A429-9947-F447-2DF2-A5C17B5C6EC1}"/>
          </ac:spMkLst>
        </pc:spChg>
      </pc:sldChg>
      <pc:sldChg chg="delSp modSp">
        <pc:chgData name="Eileen Fleming Suse" userId="S::efs3844@ads.northwestern.edu::725c94ef-d051-42d7-9d33-8572765d592b" providerId="AD" clId="Web-{D1FD5983-AA3B-9DE6-CECC-8854B06948B5}" dt="2023-11-15T18:35:19.902" v="25"/>
        <pc:sldMkLst>
          <pc:docMk/>
          <pc:sldMk cId="4044691067" sldId="283"/>
        </pc:sldMkLst>
        <pc:spChg chg="del">
          <ac:chgData name="Eileen Fleming Suse" userId="S::efs3844@ads.northwestern.edu::725c94ef-d051-42d7-9d33-8572765d592b" providerId="AD" clId="Web-{D1FD5983-AA3B-9DE6-CECC-8854B06948B5}" dt="2023-11-15T18:35:19.902" v="25"/>
          <ac:spMkLst>
            <pc:docMk/>
            <pc:sldMk cId="4044691067" sldId="283"/>
            <ac:spMk id="2" creationId="{00000000-0000-0000-0000-000000000000}"/>
          </ac:spMkLst>
        </pc:spChg>
        <pc:spChg chg="del">
          <ac:chgData name="Eileen Fleming Suse" userId="S::efs3844@ads.northwestern.edu::725c94ef-d051-42d7-9d33-8572765d592b" providerId="AD" clId="Web-{D1FD5983-AA3B-9DE6-CECC-8854B06948B5}" dt="2023-11-15T18:35:19.855" v="24"/>
          <ac:spMkLst>
            <pc:docMk/>
            <pc:sldMk cId="4044691067" sldId="283"/>
            <ac:spMk id="3" creationId="{00000000-0000-0000-0000-000000000000}"/>
          </ac:spMkLst>
        </pc:spChg>
        <pc:spChg chg="mod">
          <ac:chgData name="Eileen Fleming Suse" userId="S::efs3844@ads.northwestern.edu::725c94ef-d051-42d7-9d33-8572765d592b" providerId="AD" clId="Web-{D1FD5983-AA3B-9DE6-CECC-8854B06948B5}" dt="2023-11-15T18:35:19.730" v="23" actId="20577"/>
          <ac:spMkLst>
            <pc:docMk/>
            <pc:sldMk cId="4044691067" sldId="283"/>
            <ac:spMk id="16387" creationId="{00000000-0000-0000-0000-000000000000}"/>
          </ac:spMkLst>
        </pc:spChg>
      </pc:sldChg>
      <pc:sldChg chg="del">
        <pc:chgData name="Eileen Fleming Suse" userId="S::efs3844@ads.northwestern.edu::725c94ef-d051-42d7-9d33-8572765d592b" providerId="AD" clId="Web-{D1FD5983-AA3B-9DE6-CECC-8854B06948B5}" dt="2023-11-15T18:35:58.840" v="31"/>
        <pc:sldMkLst>
          <pc:docMk/>
          <pc:sldMk cId="3004937174" sldId="565"/>
        </pc:sldMkLst>
      </pc:sldChg>
      <pc:sldChg chg="del">
        <pc:chgData name="Eileen Fleming Suse" userId="S::efs3844@ads.northwestern.edu::725c94ef-d051-42d7-9d33-8572765d592b" providerId="AD" clId="Web-{D1FD5983-AA3B-9DE6-CECC-8854B06948B5}" dt="2023-11-15T18:35:19.964" v="27"/>
        <pc:sldMkLst>
          <pc:docMk/>
          <pc:sldMk cId="1271905251" sldId="637"/>
        </pc:sldMkLst>
      </pc:sldChg>
      <pc:sldChg chg="del">
        <pc:chgData name="Eileen Fleming Suse" userId="S::efs3844@ads.northwestern.edu::725c94ef-d051-42d7-9d33-8572765d592b" providerId="AD" clId="Web-{D1FD5983-AA3B-9DE6-CECC-8854B06948B5}" dt="2023-11-15T18:35:19.933" v="26"/>
        <pc:sldMkLst>
          <pc:docMk/>
          <pc:sldMk cId="2890705621" sldId="638"/>
        </pc:sldMkLst>
      </pc:sldChg>
      <pc:sldChg chg="del">
        <pc:chgData name="Eileen Fleming Suse" userId="S::efs3844@ads.northwestern.edu::725c94ef-d051-42d7-9d33-8572765d592b" providerId="AD" clId="Web-{D1FD5983-AA3B-9DE6-CECC-8854B06948B5}" dt="2023-11-15T18:35:58.137" v="30"/>
        <pc:sldMkLst>
          <pc:docMk/>
          <pc:sldMk cId="113281680" sldId="642"/>
        </pc:sldMkLst>
      </pc:sldChg>
      <pc:sldChg chg="add">
        <pc:chgData name="Eileen Fleming Suse" userId="S::efs3844@ads.northwestern.edu::725c94ef-d051-42d7-9d33-8572765d592b" providerId="AD" clId="Web-{D1FD5983-AA3B-9DE6-CECC-8854B06948B5}" dt="2023-11-15T18:35:33.855" v="28"/>
        <pc:sldMkLst>
          <pc:docMk/>
          <pc:sldMk cId="1390938179" sldId="650"/>
        </pc:sldMkLst>
      </pc:sldChg>
      <pc:sldChg chg="add">
        <pc:chgData name="Eileen Fleming Suse" userId="S::efs3844@ads.northwestern.edu::725c94ef-d051-42d7-9d33-8572765d592b" providerId="AD" clId="Web-{D1FD5983-AA3B-9DE6-CECC-8854B06948B5}" dt="2023-11-15T18:35:34.105" v="29"/>
        <pc:sldMkLst>
          <pc:docMk/>
          <pc:sldMk cId="2353676571" sldId="651"/>
        </pc:sldMkLst>
      </pc:sldChg>
    </pc:docChg>
  </pc:docChgLst>
  <pc:docChgLst>
    <pc:chgData name="Eileen Fleming Suse" userId="S::efs3844@ads.northwestern.edu::725c94ef-d051-42d7-9d33-8572765d592b" providerId="AD" clId="Web-{8544FFE2-8133-585B-66CC-2C8177C23087}"/>
    <pc:docChg chg="addSld delSld modSld sldOrd">
      <pc:chgData name="Eileen Fleming Suse" userId="S::efs3844@ads.northwestern.edu::725c94ef-d051-42d7-9d33-8572765d592b" providerId="AD" clId="Web-{8544FFE2-8133-585B-66CC-2C8177C23087}" dt="2023-11-18T01:37:30.204" v="360"/>
      <pc:docMkLst>
        <pc:docMk/>
      </pc:docMkLst>
      <pc:sldChg chg="modSp">
        <pc:chgData name="Eileen Fleming Suse" userId="S::efs3844@ads.northwestern.edu::725c94ef-d051-42d7-9d33-8572765d592b" providerId="AD" clId="Web-{8544FFE2-8133-585B-66CC-2C8177C23087}" dt="2023-11-17T18:36:52.933" v="30" actId="20577"/>
        <pc:sldMkLst>
          <pc:docMk/>
          <pc:sldMk cId="4044691067" sldId="283"/>
        </pc:sldMkLst>
        <pc:spChg chg="mod">
          <ac:chgData name="Eileen Fleming Suse" userId="S::efs3844@ads.northwestern.edu::725c94ef-d051-42d7-9d33-8572765d592b" providerId="AD" clId="Web-{8544FFE2-8133-585B-66CC-2C8177C23087}" dt="2023-11-17T18:36:52.933" v="30" actId="20577"/>
          <ac:spMkLst>
            <pc:docMk/>
            <pc:sldMk cId="4044691067" sldId="283"/>
            <ac:spMk id="16387" creationId="{00000000-0000-0000-0000-000000000000}"/>
          </ac:spMkLst>
        </pc:spChg>
      </pc:sldChg>
      <pc:sldChg chg="modSp">
        <pc:chgData name="Eileen Fleming Suse" userId="S::efs3844@ads.northwestern.edu::725c94ef-d051-42d7-9d33-8572765d592b" providerId="AD" clId="Web-{8544FFE2-8133-585B-66CC-2C8177C23087}" dt="2023-11-17T18:24:59.947" v="11" actId="20577"/>
        <pc:sldMkLst>
          <pc:docMk/>
          <pc:sldMk cId="1036043289" sldId="546"/>
        </pc:sldMkLst>
        <pc:spChg chg="mod">
          <ac:chgData name="Eileen Fleming Suse" userId="S::efs3844@ads.northwestern.edu::725c94ef-d051-42d7-9d33-8572765d592b" providerId="AD" clId="Web-{8544FFE2-8133-585B-66CC-2C8177C23087}" dt="2023-11-17T18:24:59.947" v="11" actId="20577"/>
          <ac:spMkLst>
            <pc:docMk/>
            <pc:sldMk cId="1036043289" sldId="546"/>
            <ac:spMk id="2" creationId="{67E16CF5-47C8-BEAD-25F8-81514DC0AF8B}"/>
          </ac:spMkLst>
        </pc:spChg>
      </pc:sldChg>
      <pc:sldChg chg="modSp">
        <pc:chgData name="Eileen Fleming Suse" userId="S::efs3844@ads.northwestern.edu::725c94ef-d051-42d7-9d33-8572765d592b" providerId="AD" clId="Web-{8544FFE2-8133-585B-66CC-2C8177C23087}" dt="2023-11-17T20:47:30.318" v="211" actId="20577"/>
        <pc:sldMkLst>
          <pc:docMk/>
          <pc:sldMk cId="714682852" sldId="552"/>
        </pc:sldMkLst>
        <pc:spChg chg="mod">
          <ac:chgData name="Eileen Fleming Suse" userId="S::efs3844@ads.northwestern.edu::725c94ef-d051-42d7-9d33-8572765d592b" providerId="AD" clId="Web-{8544FFE2-8133-585B-66CC-2C8177C23087}" dt="2023-11-17T20:47:04.161" v="210"/>
          <ac:spMkLst>
            <pc:docMk/>
            <pc:sldMk cId="714682852" sldId="552"/>
            <ac:spMk id="2" creationId="{966FAC69-62AA-D40E-C4BD-DAD5BF599C69}"/>
          </ac:spMkLst>
        </pc:spChg>
        <pc:spChg chg="mod">
          <ac:chgData name="Eileen Fleming Suse" userId="S::efs3844@ads.northwestern.edu::725c94ef-d051-42d7-9d33-8572765d592b" providerId="AD" clId="Web-{8544FFE2-8133-585B-66CC-2C8177C23087}" dt="2023-11-17T20:47:30.318" v="211" actId="20577"/>
          <ac:spMkLst>
            <pc:docMk/>
            <pc:sldMk cId="714682852" sldId="552"/>
            <ac:spMk id="35" creationId="{53BCC135-7316-5956-0C96-6C92A1A248BB}"/>
          </ac:spMkLst>
        </pc:spChg>
      </pc:sldChg>
      <pc:sldChg chg="del">
        <pc:chgData name="Eileen Fleming Suse" userId="S::efs3844@ads.northwestern.edu::725c94ef-d051-42d7-9d33-8572765d592b" providerId="AD" clId="Web-{8544FFE2-8133-585B-66CC-2C8177C23087}" dt="2023-11-17T18:20:18.784" v="4"/>
        <pc:sldMkLst>
          <pc:docMk/>
          <pc:sldMk cId="3536510335" sldId="553"/>
        </pc:sldMkLst>
      </pc:sldChg>
      <pc:sldChg chg="del">
        <pc:chgData name="Eileen Fleming Suse" userId="S::efs3844@ads.northwestern.edu::725c94ef-d051-42d7-9d33-8572765d592b" providerId="AD" clId="Web-{8544FFE2-8133-585B-66CC-2C8177C23087}" dt="2023-11-17T18:20:04.909" v="3"/>
        <pc:sldMkLst>
          <pc:docMk/>
          <pc:sldMk cId="1231844700" sldId="554"/>
        </pc:sldMkLst>
      </pc:sldChg>
      <pc:sldChg chg="del">
        <pc:chgData name="Eileen Fleming Suse" userId="S::efs3844@ads.northwestern.edu::725c94ef-d051-42d7-9d33-8572765d592b" providerId="AD" clId="Web-{8544FFE2-8133-585B-66CC-2C8177C23087}" dt="2023-11-17T18:28:09.764" v="14"/>
        <pc:sldMkLst>
          <pc:docMk/>
          <pc:sldMk cId="2564870475" sldId="566"/>
        </pc:sldMkLst>
      </pc:sldChg>
      <pc:sldChg chg="del">
        <pc:chgData name="Eileen Fleming Suse" userId="S::efs3844@ads.northwestern.edu::725c94ef-d051-42d7-9d33-8572765d592b" providerId="AD" clId="Web-{8544FFE2-8133-585B-66CC-2C8177C23087}" dt="2023-11-17T18:27:58.827" v="13"/>
        <pc:sldMkLst>
          <pc:docMk/>
          <pc:sldMk cId="3870927286" sldId="583"/>
        </pc:sldMkLst>
      </pc:sldChg>
      <pc:sldChg chg="del">
        <pc:chgData name="Eileen Fleming Suse" userId="S::efs3844@ads.northwestern.edu::725c94ef-d051-42d7-9d33-8572765d592b" providerId="AD" clId="Web-{8544FFE2-8133-585B-66CC-2C8177C23087}" dt="2023-11-17T18:28:24.202" v="15"/>
        <pc:sldMkLst>
          <pc:docMk/>
          <pc:sldMk cId="1210022179" sldId="617"/>
        </pc:sldMkLst>
      </pc:sldChg>
      <pc:sldChg chg="ord">
        <pc:chgData name="Eileen Fleming Suse" userId="S::efs3844@ads.northwestern.edu::725c94ef-d051-42d7-9d33-8572765d592b" providerId="AD" clId="Web-{8544FFE2-8133-585B-66CC-2C8177C23087}" dt="2023-11-17T18:27:48.029" v="12"/>
        <pc:sldMkLst>
          <pc:docMk/>
          <pc:sldMk cId="3850125703" sldId="622"/>
        </pc:sldMkLst>
      </pc:sldChg>
      <pc:sldChg chg="del">
        <pc:chgData name="Eileen Fleming Suse" userId="S::efs3844@ads.northwestern.edu::725c94ef-d051-42d7-9d33-8572765d592b" providerId="AD" clId="Web-{8544FFE2-8133-585B-66CC-2C8177C23087}" dt="2023-11-17T18:28:24.483" v="16"/>
        <pc:sldMkLst>
          <pc:docMk/>
          <pc:sldMk cId="2561278274" sldId="630"/>
        </pc:sldMkLst>
      </pc:sldChg>
      <pc:sldChg chg="del">
        <pc:chgData name="Eileen Fleming Suse" userId="S::efs3844@ads.northwestern.edu::725c94ef-d051-42d7-9d33-8572765d592b" providerId="AD" clId="Web-{8544FFE2-8133-585B-66CC-2C8177C23087}" dt="2023-11-17T18:28:24.499" v="17"/>
        <pc:sldMkLst>
          <pc:docMk/>
          <pc:sldMk cId="488873692" sldId="631"/>
        </pc:sldMkLst>
      </pc:sldChg>
      <pc:sldChg chg="del">
        <pc:chgData name="Eileen Fleming Suse" userId="S::efs3844@ads.northwestern.edu::725c94ef-d051-42d7-9d33-8572765d592b" providerId="AD" clId="Web-{8544FFE2-8133-585B-66CC-2C8177C23087}" dt="2023-11-17T18:28:45.562" v="18"/>
        <pc:sldMkLst>
          <pc:docMk/>
          <pc:sldMk cId="3115055849" sldId="632"/>
        </pc:sldMkLst>
      </pc:sldChg>
      <pc:sldChg chg="add del">
        <pc:chgData name="Eileen Fleming Suse" userId="S::efs3844@ads.northwestern.edu::725c94ef-d051-42d7-9d33-8572765d592b" providerId="AD" clId="Web-{8544FFE2-8133-585B-66CC-2C8177C23087}" dt="2023-11-17T18:31:41.160" v="22"/>
        <pc:sldMkLst>
          <pc:docMk/>
          <pc:sldMk cId="3999708931" sldId="633"/>
        </pc:sldMkLst>
      </pc:sldChg>
      <pc:sldChg chg="modSp del modNotes">
        <pc:chgData name="Eileen Fleming Suse" userId="S::efs3844@ads.northwestern.edu::725c94ef-d051-42d7-9d33-8572765d592b" providerId="AD" clId="Web-{8544FFE2-8133-585B-66CC-2C8177C23087}" dt="2023-11-17T20:56:58.976" v="246"/>
        <pc:sldMkLst>
          <pc:docMk/>
          <pc:sldMk cId="3123563290" sldId="656"/>
        </pc:sldMkLst>
        <pc:spChg chg="mod">
          <ac:chgData name="Eileen Fleming Suse" userId="S::efs3844@ads.northwestern.edu::725c94ef-d051-42d7-9d33-8572765d592b" providerId="AD" clId="Web-{8544FFE2-8133-585B-66CC-2C8177C23087}" dt="2023-11-17T20:56:22.301" v="227" actId="20577"/>
          <ac:spMkLst>
            <pc:docMk/>
            <pc:sldMk cId="3123563290" sldId="656"/>
            <ac:spMk id="3" creationId="{00000000-0000-0000-0000-000000000000}"/>
          </ac:spMkLst>
        </pc:spChg>
      </pc:sldChg>
      <pc:sldChg chg="del mod modShow">
        <pc:chgData name="Eileen Fleming Suse" userId="S::efs3844@ads.northwestern.edu::725c94ef-d051-42d7-9d33-8572765d592b" providerId="AD" clId="Web-{8544FFE2-8133-585B-66CC-2C8177C23087}" dt="2023-11-17T20:47:52.678" v="212"/>
        <pc:sldMkLst>
          <pc:docMk/>
          <pc:sldMk cId="2276722899" sldId="657"/>
        </pc:sldMkLst>
      </pc:sldChg>
      <pc:sldChg chg="del mod modShow">
        <pc:chgData name="Eileen Fleming Suse" userId="S::efs3844@ads.northwestern.edu::725c94ef-d051-42d7-9d33-8572765d592b" providerId="AD" clId="Web-{8544FFE2-8133-585B-66CC-2C8177C23087}" dt="2023-11-17T20:47:53.193" v="213"/>
        <pc:sldMkLst>
          <pc:docMk/>
          <pc:sldMk cId="198744726" sldId="658"/>
        </pc:sldMkLst>
      </pc:sldChg>
      <pc:sldChg chg="del modNotes">
        <pc:chgData name="Eileen Fleming Suse" userId="S::efs3844@ads.northwestern.edu::725c94ef-d051-42d7-9d33-8572765d592b" providerId="AD" clId="Web-{8544FFE2-8133-585B-66CC-2C8177C23087}" dt="2023-11-17T20:56:58.976" v="245"/>
        <pc:sldMkLst>
          <pc:docMk/>
          <pc:sldMk cId="3367933567" sldId="659"/>
        </pc:sldMkLst>
      </pc:sldChg>
      <pc:sldChg chg="modSp del modNotes">
        <pc:chgData name="Eileen Fleming Suse" userId="S::efs3844@ads.northwestern.edu::725c94ef-d051-42d7-9d33-8572765d592b" providerId="AD" clId="Web-{8544FFE2-8133-585B-66CC-2C8177C23087}" dt="2023-11-17T20:56:58.959" v="244"/>
        <pc:sldMkLst>
          <pc:docMk/>
          <pc:sldMk cId="1238318588" sldId="660"/>
        </pc:sldMkLst>
        <pc:spChg chg="mod">
          <ac:chgData name="Eileen Fleming Suse" userId="S::efs3844@ads.northwestern.edu::725c94ef-d051-42d7-9d33-8572765d592b" providerId="AD" clId="Web-{8544FFE2-8133-585B-66CC-2C8177C23087}" dt="2023-11-17T18:45:38.931" v="34" actId="1076"/>
          <ac:spMkLst>
            <pc:docMk/>
            <pc:sldMk cId="1238318588" sldId="660"/>
            <ac:spMk id="7" creationId="{EAD90045-A731-42F5-ED3E-D5AE61B97B24}"/>
          </ac:spMkLst>
        </pc:spChg>
        <pc:spChg chg="mod">
          <ac:chgData name="Eileen Fleming Suse" userId="S::efs3844@ads.northwestern.edu::725c94ef-d051-42d7-9d33-8572765d592b" providerId="AD" clId="Web-{8544FFE2-8133-585B-66CC-2C8177C23087}" dt="2023-11-17T18:46:17.994" v="38" actId="1076"/>
          <ac:spMkLst>
            <pc:docMk/>
            <pc:sldMk cId="1238318588" sldId="660"/>
            <ac:spMk id="16386" creationId="{00000000-0000-0000-0000-000000000000}"/>
          </ac:spMkLst>
        </pc:spChg>
      </pc:sldChg>
      <pc:sldChg chg="del mod modShow">
        <pc:chgData name="Eileen Fleming Suse" userId="S::efs3844@ads.northwestern.edu::725c94ef-d051-42d7-9d33-8572765d592b" providerId="AD" clId="Web-{8544FFE2-8133-585B-66CC-2C8177C23087}" dt="2023-11-17T20:48:21.757" v="219"/>
        <pc:sldMkLst>
          <pc:docMk/>
          <pc:sldMk cId="3968172727" sldId="661"/>
        </pc:sldMkLst>
      </pc:sldChg>
      <pc:sldChg chg="del">
        <pc:chgData name="Eileen Fleming Suse" userId="S::efs3844@ads.northwestern.edu::725c94ef-d051-42d7-9d33-8572765d592b" providerId="AD" clId="Web-{8544FFE2-8133-585B-66CC-2C8177C23087}" dt="2023-11-17T20:56:58.959" v="243"/>
        <pc:sldMkLst>
          <pc:docMk/>
          <pc:sldMk cId="1157288213" sldId="662"/>
        </pc:sldMkLst>
      </pc:sldChg>
      <pc:sldChg chg="del">
        <pc:chgData name="Eileen Fleming Suse" userId="S::efs3844@ads.northwestern.edu::725c94ef-d051-42d7-9d33-8572765d592b" providerId="AD" clId="Web-{8544FFE2-8133-585B-66CC-2C8177C23087}" dt="2023-11-17T20:56:58.959" v="242"/>
        <pc:sldMkLst>
          <pc:docMk/>
          <pc:sldMk cId="2333012131" sldId="663"/>
        </pc:sldMkLst>
      </pc:sldChg>
      <pc:sldChg chg="del">
        <pc:chgData name="Eileen Fleming Suse" userId="S::efs3844@ads.northwestern.edu::725c94ef-d051-42d7-9d33-8572765d592b" providerId="AD" clId="Web-{8544FFE2-8133-585B-66CC-2C8177C23087}" dt="2023-11-17T20:56:58.943" v="240"/>
        <pc:sldMkLst>
          <pc:docMk/>
          <pc:sldMk cId="2985803891" sldId="664"/>
        </pc:sldMkLst>
      </pc:sldChg>
      <pc:sldChg chg="del">
        <pc:chgData name="Eileen Fleming Suse" userId="S::efs3844@ads.northwestern.edu::725c94ef-d051-42d7-9d33-8572765d592b" providerId="AD" clId="Web-{8544FFE2-8133-585B-66CC-2C8177C23087}" dt="2023-11-17T20:56:58.943" v="239"/>
        <pc:sldMkLst>
          <pc:docMk/>
          <pc:sldMk cId="1562630454" sldId="665"/>
        </pc:sldMkLst>
      </pc:sldChg>
      <pc:sldChg chg="del">
        <pc:chgData name="Eileen Fleming Suse" userId="S::efs3844@ads.northwestern.edu::725c94ef-d051-42d7-9d33-8572765d592b" providerId="AD" clId="Web-{8544FFE2-8133-585B-66CC-2C8177C23087}" dt="2023-11-17T20:56:58.943" v="238"/>
        <pc:sldMkLst>
          <pc:docMk/>
          <pc:sldMk cId="1313773042" sldId="666"/>
        </pc:sldMkLst>
      </pc:sldChg>
      <pc:sldChg chg="del">
        <pc:chgData name="Eileen Fleming Suse" userId="S::efs3844@ads.northwestern.edu::725c94ef-d051-42d7-9d33-8572765d592b" providerId="AD" clId="Web-{8544FFE2-8133-585B-66CC-2C8177C23087}" dt="2023-11-17T20:56:58.927" v="237"/>
        <pc:sldMkLst>
          <pc:docMk/>
          <pc:sldMk cId="2764453072" sldId="667"/>
        </pc:sldMkLst>
      </pc:sldChg>
      <pc:sldChg chg="del">
        <pc:chgData name="Eileen Fleming Suse" userId="S::efs3844@ads.northwestern.edu::725c94ef-d051-42d7-9d33-8572765d592b" providerId="AD" clId="Web-{8544FFE2-8133-585B-66CC-2C8177C23087}" dt="2023-11-17T20:56:58.927" v="236"/>
        <pc:sldMkLst>
          <pc:docMk/>
          <pc:sldMk cId="2638397019" sldId="668"/>
        </pc:sldMkLst>
      </pc:sldChg>
      <pc:sldChg chg="del">
        <pc:chgData name="Eileen Fleming Suse" userId="S::efs3844@ads.northwestern.edu::725c94ef-d051-42d7-9d33-8572765d592b" providerId="AD" clId="Web-{8544FFE2-8133-585B-66CC-2C8177C23087}" dt="2023-11-17T20:56:58.927" v="235"/>
        <pc:sldMkLst>
          <pc:docMk/>
          <pc:sldMk cId="1640072512" sldId="669"/>
        </pc:sldMkLst>
      </pc:sldChg>
      <pc:sldChg chg="del">
        <pc:chgData name="Eileen Fleming Suse" userId="S::efs3844@ads.northwestern.edu::725c94ef-d051-42d7-9d33-8572765d592b" providerId="AD" clId="Web-{8544FFE2-8133-585B-66CC-2C8177C23087}" dt="2023-11-17T20:56:58.927" v="234"/>
        <pc:sldMkLst>
          <pc:docMk/>
          <pc:sldMk cId="3549628686" sldId="670"/>
        </pc:sldMkLst>
      </pc:sldChg>
      <pc:sldChg chg="del">
        <pc:chgData name="Eileen Fleming Suse" userId="S::efs3844@ads.northwestern.edu::725c94ef-d051-42d7-9d33-8572765d592b" providerId="AD" clId="Web-{8544FFE2-8133-585B-66CC-2C8177C23087}" dt="2023-11-17T20:56:58.927" v="233"/>
        <pc:sldMkLst>
          <pc:docMk/>
          <pc:sldMk cId="3419646886" sldId="671"/>
        </pc:sldMkLst>
      </pc:sldChg>
      <pc:sldChg chg="del">
        <pc:chgData name="Eileen Fleming Suse" userId="S::efs3844@ads.northwestern.edu::725c94ef-d051-42d7-9d33-8572765d592b" providerId="AD" clId="Web-{8544FFE2-8133-585B-66CC-2C8177C23087}" dt="2023-11-17T20:56:58.912" v="232"/>
        <pc:sldMkLst>
          <pc:docMk/>
          <pc:sldMk cId="121376505" sldId="672"/>
        </pc:sldMkLst>
      </pc:sldChg>
      <pc:sldChg chg="del">
        <pc:chgData name="Eileen Fleming Suse" userId="S::efs3844@ads.northwestern.edu::725c94ef-d051-42d7-9d33-8572765d592b" providerId="AD" clId="Web-{8544FFE2-8133-585B-66CC-2C8177C23087}" dt="2023-11-17T20:56:58.912" v="231"/>
        <pc:sldMkLst>
          <pc:docMk/>
          <pc:sldMk cId="4246233696" sldId="673"/>
        </pc:sldMkLst>
      </pc:sldChg>
      <pc:sldChg chg="del ord">
        <pc:chgData name="Eileen Fleming Suse" userId="S::efs3844@ads.northwestern.edu::725c94ef-d051-42d7-9d33-8572765d592b" providerId="AD" clId="Web-{8544FFE2-8133-585B-66CC-2C8177C23087}" dt="2023-11-17T20:56:58.943" v="241"/>
        <pc:sldMkLst>
          <pc:docMk/>
          <pc:sldMk cId="3562395065" sldId="674"/>
        </pc:sldMkLst>
      </pc:sldChg>
      <pc:sldChg chg="del">
        <pc:chgData name="Eileen Fleming Suse" userId="S::efs3844@ads.northwestern.edu::725c94ef-d051-42d7-9d33-8572765d592b" providerId="AD" clId="Web-{8544FFE2-8133-585B-66CC-2C8177C23087}" dt="2023-11-17T20:56:58.912" v="230"/>
        <pc:sldMkLst>
          <pc:docMk/>
          <pc:sldMk cId="3537511129" sldId="675"/>
        </pc:sldMkLst>
      </pc:sldChg>
      <pc:sldChg chg="del">
        <pc:chgData name="Eileen Fleming Suse" userId="S::efs3844@ads.northwestern.edu::725c94ef-d051-42d7-9d33-8572765d592b" providerId="AD" clId="Web-{8544FFE2-8133-585B-66CC-2C8177C23087}" dt="2023-11-17T20:56:58.912" v="229"/>
        <pc:sldMkLst>
          <pc:docMk/>
          <pc:sldMk cId="928134893" sldId="676"/>
        </pc:sldMkLst>
      </pc:sldChg>
      <pc:sldChg chg="del">
        <pc:chgData name="Eileen Fleming Suse" userId="S::efs3844@ads.northwestern.edu::725c94ef-d051-42d7-9d33-8572765d592b" providerId="AD" clId="Web-{8544FFE2-8133-585B-66CC-2C8177C23087}" dt="2023-11-17T20:56:58.896" v="228"/>
        <pc:sldMkLst>
          <pc:docMk/>
          <pc:sldMk cId="1611570233" sldId="677"/>
        </pc:sldMkLst>
      </pc:sldChg>
      <pc:sldChg chg="modSp">
        <pc:chgData name="Eileen Fleming Suse" userId="S::efs3844@ads.northwestern.edu::725c94ef-d051-42d7-9d33-8572765d592b" providerId="AD" clId="Web-{8544FFE2-8133-585B-66CC-2C8177C23087}" dt="2023-11-17T18:35:02.603" v="25" actId="20577"/>
        <pc:sldMkLst>
          <pc:docMk/>
          <pc:sldMk cId="3336998141" sldId="681"/>
        </pc:sldMkLst>
        <pc:spChg chg="mod">
          <ac:chgData name="Eileen Fleming Suse" userId="S::efs3844@ads.northwestern.edu::725c94ef-d051-42d7-9d33-8572765d592b" providerId="AD" clId="Web-{8544FFE2-8133-585B-66CC-2C8177C23087}" dt="2023-11-17T18:35:02.603" v="25" actId="20577"/>
          <ac:spMkLst>
            <pc:docMk/>
            <pc:sldMk cId="3336998141" sldId="681"/>
            <ac:spMk id="3" creationId="{00000000-0000-0000-0000-000000000000}"/>
          </ac:spMkLst>
        </pc:spChg>
      </pc:sldChg>
      <pc:sldChg chg="addSp delSp modSp new mod ord setBg">
        <pc:chgData name="Eileen Fleming Suse" userId="S::efs3844@ads.northwestern.edu::725c94ef-d051-42d7-9d33-8572765d592b" providerId="AD" clId="Web-{8544FFE2-8133-585B-66CC-2C8177C23087}" dt="2023-11-17T20:46:53.442" v="209"/>
        <pc:sldMkLst>
          <pc:docMk/>
          <pc:sldMk cId="3080095507" sldId="703"/>
        </pc:sldMkLst>
        <pc:spChg chg="del mod">
          <ac:chgData name="Eileen Fleming Suse" userId="S::efs3844@ads.northwestern.edu::725c94ef-d051-42d7-9d33-8572765d592b" providerId="AD" clId="Web-{8544FFE2-8133-585B-66CC-2C8177C23087}" dt="2023-11-17T20:38:23.552" v="165"/>
          <ac:spMkLst>
            <pc:docMk/>
            <pc:sldMk cId="3080095507" sldId="703"/>
            <ac:spMk id="2" creationId="{6BD83CA6-57D1-222F-83DA-E2A766AEDE89}"/>
          </ac:spMkLst>
        </pc:spChg>
        <pc:spChg chg="del">
          <ac:chgData name="Eileen Fleming Suse" userId="S::efs3844@ads.northwestern.edu::725c94ef-d051-42d7-9d33-8572765d592b" providerId="AD" clId="Web-{8544FFE2-8133-585B-66CC-2C8177C23087}" dt="2023-11-17T20:38:12.130" v="163"/>
          <ac:spMkLst>
            <pc:docMk/>
            <pc:sldMk cId="3080095507" sldId="703"/>
            <ac:spMk id="3" creationId="{9EA76214-B4BA-0A87-AD4C-D257DCE85CE3}"/>
          </ac:spMkLst>
        </pc:spChg>
        <pc:spChg chg="mod ord">
          <ac:chgData name="Eileen Fleming Suse" userId="S::efs3844@ads.northwestern.edu::725c94ef-d051-42d7-9d33-8572765d592b" providerId="AD" clId="Web-{8544FFE2-8133-585B-66CC-2C8177C23087}" dt="2023-11-17T20:41:43.183" v="176"/>
          <ac:spMkLst>
            <pc:docMk/>
            <pc:sldMk cId="3080095507" sldId="703"/>
            <ac:spMk id="4" creationId="{7C6CB985-0431-BE7A-0A14-7D8A51C03E22}"/>
          </ac:spMkLst>
        </pc:spChg>
        <pc:spChg chg="mod">
          <ac:chgData name="Eileen Fleming Suse" userId="S::efs3844@ads.northwestern.edu::725c94ef-d051-42d7-9d33-8572765d592b" providerId="AD" clId="Web-{8544FFE2-8133-585B-66CC-2C8177C23087}" dt="2023-11-17T20:41:43.183" v="176"/>
          <ac:spMkLst>
            <pc:docMk/>
            <pc:sldMk cId="3080095507" sldId="703"/>
            <ac:spMk id="5" creationId="{FD357973-69DB-04A9-A2C1-6BBC79CB3784}"/>
          </ac:spMkLst>
        </pc:spChg>
        <pc:spChg chg="add del mod">
          <ac:chgData name="Eileen Fleming Suse" userId="S::efs3844@ads.northwestern.edu::725c94ef-d051-42d7-9d33-8572765d592b" providerId="AD" clId="Web-{8544FFE2-8133-585B-66CC-2C8177C23087}" dt="2023-11-17T20:41:30.151" v="174"/>
          <ac:spMkLst>
            <pc:docMk/>
            <pc:sldMk cId="3080095507" sldId="703"/>
            <ac:spMk id="8" creationId="{A494F2CF-F558-DF73-AE8A-B3A0553BF3BB}"/>
          </ac:spMkLst>
        </pc:spChg>
        <pc:spChg chg="add mod">
          <ac:chgData name="Eileen Fleming Suse" userId="S::efs3844@ads.northwestern.edu::725c94ef-d051-42d7-9d33-8572765d592b" providerId="AD" clId="Web-{8544FFE2-8133-585B-66CC-2C8177C23087}" dt="2023-11-17T20:46:53.442" v="209"/>
          <ac:spMkLst>
            <pc:docMk/>
            <pc:sldMk cId="3080095507" sldId="703"/>
            <ac:spMk id="14" creationId="{DA90BC2C-8D4E-A05C-243D-BCA657477692}"/>
          </ac:spMkLst>
        </pc:spChg>
        <pc:spChg chg="add">
          <ac:chgData name="Eileen Fleming Suse" userId="S::efs3844@ads.northwestern.edu::725c94ef-d051-42d7-9d33-8572765d592b" providerId="AD" clId="Web-{8544FFE2-8133-585B-66CC-2C8177C23087}" dt="2023-11-17T20:41:43.183" v="176"/>
          <ac:spMkLst>
            <pc:docMk/>
            <pc:sldMk cId="3080095507" sldId="703"/>
            <ac:spMk id="16" creationId="{AA3CC463-F933-4AC4-86E1-5AC14B0C3163}"/>
          </ac:spMkLst>
        </pc:spChg>
        <pc:spChg chg="add">
          <ac:chgData name="Eileen Fleming Suse" userId="S::efs3844@ads.northwestern.edu::725c94ef-d051-42d7-9d33-8572765d592b" providerId="AD" clId="Web-{8544FFE2-8133-585B-66CC-2C8177C23087}" dt="2023-11-17T20:41:43.183" v="176"/>
          <ac:spMkLst>
            <pc:docMk/>
            <pc:sldMk cId="3080095507" sldId="703"/>
            <ac:spMk id="18" creationId="{6025D2DB-A12A-44DB-B00E-F4D622329EDD}"/>
          </ac:spMkLst>
        </pc:spChg>
        <pc:spChg chg="add ord">
          <ac:chgData name="Eileen Fleming Suse" userId="S::efs3844@ads.northwestern.edu::725c94ef-d051-42d7-9d33-8572765d592b" providerId="AD" clId="Web-{8544FFE2-8133-585B-66CC-2C8177C23087}" dt="2023-11-17T20:42:09.293" v="180"/>
          <ac:spMkLst>
            <pc:docMk/>
            <pc:sldMk cId="3080095507" sldId="703"/>
            <ac:spMk id="20" creationId="{CE7E7877-F64E-4EEA-B778-138031EFF874}"/>
          </ac:spMkLst>
        </pc:spChg>
        <pc:spChg chg="add">
          <ac:chgData name="Eileen Fleming Suse" userId="S::efs3844@ads.northwestern.edu::725c94ef-d051-42d7-9d33-8572765d592b" providerId="AD" clId="Web-{8544FFE2-8133-585B-66CC-2C8177C23087}" dt="2023-11-17T20:41:43.183" v="176"/>
          <ac:spMkLst>
            <pc:docMk/>
            <pc:sldMk cId="3080095507" sldId="703"/>
            <ac:spMk id="22" creationId="{7DD6C4F3-70FD-4F13-919C-702EE4886499}"/>
          </ac:spMkLst>
        </pc:spChg>
        <pc:picChg chg="add mod ord modCrop">
          <ac:chgData name="Eileen Fleming Suse" userId="S::efs3844@ads.northwestern.edu::725c94ef-d051-42d7-9d33-8572765d592b" providerId="AD" clId="Web-{8544FFE2-8133-585B-66CC-2C8177C23087}" dt="2023-11-17T20:45:10.439" v="205" actId="1076"/>
          <ac:picMkLst>
            <pc:docMk/>
            <pc:sldMk cId="3080095507" sldId="703"/>
            <ac:picMk id="6" creationId="{EF676F65-F32E-BCC1-B4AB-2FC96638BE9E}"/>
          </ac:picMkLst>
        </pc:picChg>
        <pc:picChg chg="add del mod">
          <ac:chgData name="Eileen Fleming Suse" userId="S::efs3844@ads.northwestern.edu::725c94ef-d051-42d7-9d33-8572765d592b" providerId="AD" clId="Web-{8544FFE2-8133-585B-66CC-2C8177C23087}" dt="2023-11-17T20:41:04.697" v="170"/>
          <ac:picMkLst>
            <pc:docMk/>
            <pc:sldMk cId="3080095507" sldId="703"/>
            <ac:picMk id="9" creationId="{7DEAA94B-259D-A0EF-A946-A0B85BC22F4E}"/>
          </ac:picMkLst>
        </pc:picChg>
        <pc:picChg chg="add mod ord">
          <ac:chgData name="Eileen Fleming Suse" userId="S::efs3844@ads.northwestern.edu::725c94ef-d051-42d7-9d33-8572765d592b" providerId="AD" clId="Web-{8544FFE2-8133-585B-66CC-2C8177C23087}" dt="2023-11-17T20:42:33.294" v="183" actId="1076"/>
          <ac:picMkLst>
            <pc:docMk/>
            <pc:sldMk cId="3080095507" sldId="703"/>
            <ac:picMk id="10" creationId="{1B456DB8-BA21-BAEA-F66C-46C6DD431168}"/>
          </ac:picMkLst>
        </pc:picChg>
        <pc:picChg chg="add mod">
          <ac:chgData name="Eileen Fleming Suse" userId="S::efs3844@ads.northwestern.edu::725c94ef-d051-42d7-9d33-8572765d592b" providerId="AD" clId="Web-{8544FFE2-8133-585B-66CC-2C8177C23087}" dt="2023-11-17T20:41:43.183" v="176"/>
          <ac:picMkLst>
            <pc:docMk/>
            <pc:sldMk cId="3080095507" sldId="703"/>
            <ac:picMk id="11" creationId="{E09D5B73-1671-B84D-6132-06E4A8E9E2DC}"/>
          </ac:picMkLst>
        </pc:picChg>
        <pc:picChg chg="add mod modCrop">
          <ac:chgData name="Eileen Fleming Suse" userId="S::efs3844@ads.northwestern.edu::725c94ef-d051-42d7-9d33-8572765d592b" providerId="AD" clId="Web-{8544FFE2-8133-585B-66CC-2C8177C23087}" dt="2023-11-17T20:45:10.392" v="204" actId="1076"/>
          <ac:picMkLst>
            <pc:docMk/>
            <pc:sldMk cId="3080095507" sldId="703"/>
            <ac:picMk id="13" creationId="{97F41871-076F-3542-7DCC-5CF58E271492}"/>
          </ac:picMkLst>
        </pc:picChg>
      </pc:sldChg>
      <pc:sldChg chg="new del">
        <pc:chgData name="Eileen Fleming Suse" userId="S::efs3844@ads.northwestern.edu::725c94ef-d051-42d7-9d33-8572765d592b" providerId="AD" clId="Web-{8544FFE2-8133-585B-66CC-2C8177C23087}" dt="2023-11-18T01:37:12.063" v="359"/>
        <pc:sldMkLst>
          <pc:docMk/>
          <pc:sldMk cId="506161772" sldId="704"/>
        </pc:sldMkLst>
      </pc:sldChg>
      <pc:sldChg chg="modSp new">
        <pc:chgData name="Eileen Fleming Suse" userId="S::efs3844@ads.northwestern.edu::725c94ef-d051-42d7-9d33-8572765d592b" providerId="AD" clId="Web-{8544FFE2-8133-585B-66CC-2C8177C23087}" dt="2023-11-17T20:36:20.330" v="162" actId="20577"/>
        <pc:sldMkLst>
          <pc:docMk/>
          <pc:sldMk cId="1949613945" sldId="705"/>
        </pc:sldMkLst>
        <pc:spChg chg="mod">
          <ac:chgData name="Eileen Fleming Suse" userId="S::efs3844@ads.northwestern.edu::725c94ef-d051-42d7-9d33-8572765d592b" providerId="AD" clId="Web-{8544FFE2-8133-585B-66CC-2C8177C23087}" dt="2023-11-17T20:36:20.330" v="162" actId="20577"/>
          <ac:spMkLst>
            <pc:docMk/>
            <pc:sldMk cId="1949613945" sldId="705"/>
            <ac:spMk id="2" creationId="{2DE9407A-4283-B111-345C-31D89DFF03A2}"/>
          </ac:spMkLst>
        </pc:spChg>
      </pc:sldChg>
      <pc:sldChg chg="add">
        <pc:chgData name="Eileen Fleming Suse" userId="S::efs3844@ads.northwestern.edu::725c94ef-d051-42d7-9d33-8572765d592b" providerId="AD" clId="Web-{8544FFE2-8133-585B-66CC-2C8177C23087}" dt="2023-11-17T20:16:14.374" v="52"/>
        <pc:sldMkLst>
          <pc:docMk/>
          <pc:sldMk cId="790635443" sldId="706"/>
        </pc:sldMkLst>
      </pc:sldChg>
      <pc:sldChg chg="add">
        <pc:chgData name="Eileen Fleming Suse" userId="S::efs3844@ads.northwestern.edu::725c94ef-d051-42d7-9d33-8572765d592b" providerId="AD" clId="Web-{8544FFE2-8133-585B-66CC-2C8177C23087}" dt="2023-11-17T20:16:42.468" v="53"/>
        <pc:sldMkLst>
          <pc:docMk/>
          <pc:sldMk cId="1643539557" sldId="707"/>
        </pc:sldMkLst>
      </pc:sldChg>
      <pc:sldChg chg="add">
        <pc:chgData name="Eileen Fleming Suse" userId="S::efs3844@ads.northwestern.edu::725c94ef-d051-42d7-9d33-8572765d592b" providerId="AD" clId="Web-{8544FFE2-8133-585B-66CC-2C8177C23087}" dt="2023-11-17T20:16:42.877" v="54"/>
        <pc:sldMkLst>
          <pc:docMk/>
          <pc:sldMk cId="1789754515" sldId="708"/>
        </pc:sldMkLst>
      </pc:sldChg>
      <pc:sldChg chg="add modNotes">
        <pc:chgData name="Eileen Fleming Suse" userId="S::efs3844@ads.northwestern.edu::725c94ef-d051-42d7-9d33-8572765d592b" providerId="AD" clId="Web-{8544FFE2-8133-585B-66CC-2C8177C23087}" dt="2023-11-17T20:24:06.200" v="93"/>
        <pc:sldMkLst>
          <pc:docMk/>
          <pc:sldMk cId="768417776" sldId="709"/>
        </pc:sldMkLst>
      </pc:sldChg>
      <pc:sldChg chg="add modNotes">
        <pc:chgData name="Eileen Fleming Suse" userId="S::efs3844@ads.northwestern.edu::725c94ef-d051-42d7-9d33-8572765d592b" providerId="AD" clId="Web-{8544FFE2-8133-585B-66CC-2C8177C23087}" dt="2023-11-17T20:24:05.934" v="91"/>
        <pc:sldMkLst>
          <pc:docMk/>
          <pc:sldMk cId="3734042619" sldId="710"/>
        </pc:sldMkLst>
      </pc:sldChg>
      <pc:sldChg chg="add modNotes">
        <pc:chgData name="Eileen Fleming Suse" userId="S::efs3844@ads.northwestern.edu::725c94ef-d051-42d7-9d33-8572765d592b" providerId="AD" clId="Web-{8544FFE2-8133-585B-66CC-2C8177C23087}" dt="2023-11-17T20:24:04.872" v="89"/>
        <pc:sldMkLst>
          <pc:docMk/>
          <pc:sldMk cId="3859034132" sldId="711"/>
        </pc:sldMkLst>
      </pc:sldChg>
      <pc:sldChg chg="add">
        <pc:chgData name="Eileen Fleming Suse" userId="S::efs3844@ads.northwestern.edu::725c94ef-d051-42d7-9d33-8572765d592b" providerId="AD" clId="Web-{8544FFE2-8133-585B-66CC-2C8177C23087}" dt="2023-11-17T20:17:06.391" v="58"/>
        <pc:sldMkLst>
          <pc:docMk/>
          <pc:sldMk cId="3139874353" sldId="712"/>
        </pc:sldMkLst>
      </pc:sldChg>
      <pc:sldChg chg="add">
        <pc:chgData name="Eileen Fleming Suse" userId="S::efs3844@ads.northwestern.edu::725c94ef-d051-42d7-9d33-8572765d592b" providerId="AD" clId="Web-{8544FFE2-8133-585B-66CC-2C8177C23087}" dt="2023-11-17T20:18:29.471" v="59"/>
        <pc:sldMkLst>
          <pc:docMk/>
          <pc:sldMk cId="4179369718" sldId="713"/>
        </pc:sldMkLst>
      </pc:sldChg>
      <pc:sldChg chg="addSp modSp new ord">
        <pc:chgData name="Eileen Fleming Suse" userId="S::efs3844@ads.northwestern.edu::725c94ef-d051-42d7-9d33-8572765d592b" providerId="AD" clId="Web-{8544FFE2-8133-585B-66CC-2C8177C23087}" dt="2023-11-17T20:22:07.009" v="73"/>
        <pc:sldMkLst>
          <pc:docMk/>
          <pc:sldMk cId="3124210322" sldId="714"/>
        </pc:sldMkLst>
        <pc:picChg chg="add mod">
          <ac:chgData name="Eileen Fleming Suse" userId="S::efs3844@ads.northwestern.edu::725c94ef-d051-42d7-9d33-8572765d592b" providerId="AD" clId="Web-{8544FFE2-8133-585B-66CC-2C8177C23087}" dt="2023-11-17T20:22:06.962" v="72" actId="1076"/>
          <ac:picMkLst>
            <pc:docMk/>
            <pc:sldMk cId="3124210322" sldId="714"/>
            <ac:picMk id="6" creationId="{9EE6AC8F-4DC4-191C-AA4C-B047F4935B19}"/>
          </ac:picMkLst>
        </pc:picChg>
      </pc:sldChg>
      <pc:sldChg chg="addSp modSp new ord">
        <pc:chgData name="Eileen Fleming Suse" userId="S::efs3844@ads.northwestern.edu::725c94ef-d051-42d7-9d33-8572765d592b" providerId="AD" clId="Web-{8544FFE2-8133-585B-66CC-2C8177C23087}" dt="2023-11-17T20:23:36.386" v="86" actId="20577"/>
        <pc:sldMkLst>
          <pc:docMk/>
          <pc:sldMk cId="4091814342" sldId="715"/>
        </pc:sldMkLst>
        <pc:spChg chg="mod">
          <ac:chgData name="Eileen Fleming Suse" userId="S::efs3844@ads.northwestern.edu::725c94ef-d051-42d7-9d33-8572765d592b" providerId="AD" clId="Web-{8544FFE2-8133-585B-66CC-2C8177C23087}" dt="2023-11-17T20:23:36.386" v="86" actId="20577"/>
          <ac:spMkLst>
            <pc:docMk/>
            <pc:sldMk cId="4091814342" sldId="715"/>
            <ac:spMk id="2" creationId="{8802BA79-C4E2-3A24-1316-4AC6D3F66837}"/>
          </ac:spMkLst>
        </pc:spChg>
        <pc:picChg chg="add mod">
          <ac:chgData name="Eileen Fleming Suse" userId="S::efs3844@ads.northwestern.edu::725c94ef-d051-42d7-9d33-8572765d592b" providerId="AD" clId="Web-{8544FFE2-8133-585B-66CC-2C8177C23087}" dt="2023-11-17T20:23:10.589" v="78" actId="1076"/>
          <ac:picMkLst>
            <pc:docMk/>
            <pc:sldMk cId="4091814342" sldId="715"/>
            <ac:picMk id="6" creationId="{302BBFF9-D69A-D1E9-E01C-7C15E1F6D1A6}"/>
          </ac:picMkLst>
        </pc:picChg>
      </pc:sldChg>
      <pc:sldChg chg="addSp delSp modSp new mod setBg modClrScheme chgLayout">
        <pc:chgData name="Eileen Fleming Suse" userId="S::efs3844@ads.northwestern.edu::725c94ef-d051-42d7-9d33-8572765d592b" providerId="AD" clId="Web-{8544FFE2-8133-585B-66CC-2C8177C23087}" dt="2023-11-17T20:35:43.141" v="150"/>
        <pc:sldMkLst>
          <pc:docMk/>
          <pc:sldMk cId="1219261171" sldId="716"/>
        </pc:sldMkLst>
        <pc:spChg chg="mod ord">
          <ac:chgData name="Eileen Fleming Suse" userId="S::efs3844@ads.northwestern.edu::725c94ef-d051-42d7-9d33-8572765d592b" providerId="AD" clId="Web-{8544FFE2-8133-585B-66CC-2C8177C23087}" dt="2023-11-17T20:35:43.141" v="150"/>
          <ac:spMkLst>
            <pc:docMk/>
            <pc:sldMk cId="1219261171" sldId="716"/>
            <ac:spMk id="2" creationId="{9CE5A4B0-542F-2C9E-8991-42C03138835F}"/>
          </ac:spMkLst>
        </pc:spChg>
        <pc:spChg chg="mod ord">
          <ac:chgData name="Eileen Fleming Suse" userId="S::efs3844@ads.northwestern.edu::725c94ef-d051-42d7-9d33-8572765d592b" providerId="AD" clId="Web-{8544FFE2-8133-585B-66CC-2C8177C23087}" dt="2023-11-17T20:35:43.141" v="150"/>
          <ac:spMkLst>
            <pc:docMk/>
            <pc:sldMk cId="1219261171" sldId="716"/>
            <ac:spMk id="3" creationId="{CEE04D07-E754-407A-AF01-3E961E5F8299}"/>
          </ac:spMkLst>
        </pc:spChg>
        <pc:spChg chg="add mod ord">
          <ac:chgData name="Eileen Fleming Suse" userId="S::efs3844@ads.northwestern.edu::725c94ef-d051-42d7-9d33-8572765d592b" providerId="AD" clId="Web-{8544FFE2-8133-585B-66CC-2C8177C23087}" dt="2023-11-17T20:35:43.141" v="150"/>
          <ac:spMkLst>
            <pc:docMk/>
            <pc:sldMk cId="1219261171" sldId="716"/>
            <ac:spMk id="4" creationId="{F75BEC83-D159-8B0F-F620-96A35FA5C767}"/>
          </ac:spMkLst>
        </pc:spChg>
        <pc:spChg chg="add del mod ord">
          <ac:chgData name="Eileen Fleming Suse" userId="S::efs3844@ads.northwestern.edu::725c94ef-d051-42d7-9d33-8572765d592b" providerId="AD" clId="Web-{8544FFE2-8133-585B-66CC-2C8177C23087}" dt="2023-11-17T20:35:43.141" v="150"/>
          <ac:spMkLst>
            <pc:docMk/>
            <pc:sldMk cId="1219261171" sldId="716"/>
            <ac:spMk id="5" creationId="{D88D8D55-7C2F-7D65-3250-A967B39A9B4A}"/>
          </ac:spMkLst>
        </pc:spChg>
        <pc:spChg chg="add">
          <ac:chgData name="Eileen Fleming Suse" userId="S::efs3844@ads.northwestern.edu::725c94ef-d051-42d7-9d33-8572765d592b" providerId="AD" clId="Web-{8544FFE2-8133-585B-66CC-2C8177C23087}" dt="2023-11-17T20:35:43.141" v="150"/>
          <ac:spMkLst>
            <pc:docMk/>
            <pc:sldMk cId="1219261171" sldId="716"/>
            <ac:spMk id="11" creationId="{BACC6370-2D7E-4714-9D71-7542949D7D5D}"/>
          </ac:spMkLst>
        </pc:spChg>
        <pc:spChg chg="add">
          <ac:chgData name="Eileen Fleming Suse" userId="S::efs3844@ads.northwestern.edu::725c94ef-d051-42d7-9d33-8572765d592b" providerId="AD" clId="Web-{8544FFE2-8133-585B-66CC-2C8177C23087}" dt="2023-11-17T20:35:43.141" v="150"/>
          <ac:spMkLst>
            <pc:docMk/>
            <pc:sldMk cId="1219261171" sldId="716"/>
            <ac:spMk id="13" creationId="{F68B3F68-107C-434F-AA38-110D5EA91B85}"/>
          </ac:spMkLst>
        </pc:spChg>
        <pc:spChg chg="add">
          <ac:chgData name="Eileen Fleming Suse" userId="S::efs3844@ads.northwestern.edu::725c94ef-d051-42d7-9d33-8572765d592b" providerId="AD" clId="Web-{8544FFE2-8133-585B-66CC-2C8177C23087}" dt="2023-11-17T20:35:43.141" v="150"/>
          <ac:spMkLst>
            <pc:docMk/>
            <pc:sldMk cId="1219261171" sldId="716"/>
            <ac:spMk id="15" creationId="{AAD0DBB9-1A4B-4391-81D4-CB19F9AB918A}"/>
          </ac:spMkLst>
        </pc:spChg>
        <pc:spChg chg="add">
          <ac:chgData name="Eileen Fleming Suse" userId="S::efs3844@ads.northwestern.edu::725c94ef-d051-42d7-9d33-8572765d592b" providerId="AD" clId="Web-{8544FFE2-8133-585B-66CC-2C8177C23087}" dt="2023-11-17T20:35:43.141" v="150"/>
          <ac:spMkLst>
            <pc:docMk/>
            <pc:sldMk cId="1219261171" sldId="716"/>
            <ac:spMk id="17" creationId="{063BBA22-50EA-4C4D-BE05-F1CE4E63AA56}"/>
          </ac:spMkLst>
        </pc:spChg>
        <pc:graphicFrameChg chg="add">
          <ac:chgData name="Eileen Fleming Suse" userId="S::efs3844@ads.northwestern.edu::725c94ef-d051-42d7-9d33-8572765d592b" providerId="AD" clId="Web-{8544FFE2-8133-585B-66CC-2C8177C23087}" dt="2023-11-17T20:35:43.141" v="150"/>
          <ac:graphicFrameMkLst>
            <pc:docMk/>
            <pc:sldMk cId="1219261171" sldId="716"/>
            <ac:graphicFrameMk id="7" creationId="{12C8E58B-812A-DA46-B1A6-90A0997A352B}"/>
          </ac:graphicFrameMkLst>
        </pc:graphicFrameChg>
      </pc:sldChg>
      <pc:sldChg chg="add del">
        <pc:chgData name="Eileen Fleming Suse" userId="S::efs3844@ads.northwestern.edu::725c94ef-d051-42d7-9d33-8572765d592b" providerId="AD" clId="Web-{8544FFE2-8133-585B-66CC-2C8177C23087}" dt="2023-11-17T20:58:42.665" v="284"/>
        <pc:sldMkLst>
          <pc:docMk/>
          <pc:sldMk cId="1437602570" sldId="717"/>
        </pc:sldMkLst>
      </pc:sldChg>
      <pc:sldChg chg="add">
        <pc:chgData name="Eileen Fleming Suse" userId="S::efs3844@ads.northwestern.edu::725c94ef-d051-42d7-9d33-8572765d592b" providerId="AD" clId="Web-{8544FFE2-8133-585B-66CC-2C8177C23087}" dt="2023-11-17T20:58:43.649" v="285"/>
        <pc:sldMkLst>
          <pc:docMk/>
          <pc:sldMk cId="4191050799" sldId="717"/>
        </pc:sldMkLst>
      </pc:sldChg>
      <pc:sldChg chg="add">
        <pc:chgData name="Eileen Fleming Suse" userId="S::efs3844@ads.northwestern.edu::725c94ef-d051-42d7-9d33-8572765d592b" providerId="AD" clId="Web-{8544FFE2-8133-585B-66CC-2C8177C23087}" dt="2023-11-17T20:58:44.571" v="286"/>
        <pc:sldMkLst>
          <pc:docMk/>
          <pc:sldMk cId="920926381" sldId="718"/>
        </pc:sldMkLst>
      </pc:sldChg>
      <pc:sldChg chg="add del">
        <pc:chgData name="Eileen Fleming Suse" userId="S::efs3844@ads.northwestern.edu::725c94ef-d051-42d7-9d33-8572765d592b" providerId="AD" clId="Web-{8544FFE2-8133-585B-66CC-2C8177C23087}" dt="2023-11-17T20:58:42.665" v="283"/>
        <pc:sldMkLst>
          <pc:docMk/>
          <pc:sldMk cId="3021507893" sldId="718"/>
        </pc:sldMkLst>
      </pc:sldChg>
      <pc:sldChg chg="add">
        <pc:chgData name="Eileen Fleming Suse" userId="S::efs3844@ads.northwestern.edu::725c94ef-d051-42d7-9d33-8572765d592b" providerId="AD" clId="Web-{8544FFE2-8133-585B-66CC-2C8177C23087}" dt="2023-11-17T20:58:45.696" v="287"/>
        <pc:sldMkLst>
          <pc:docMk/>
          <pc:sldMk cId="1181451199" sldId="719"/>
        </pc:sldMkLst>
      </pc:sldChg>
      <pc:sldChg chg="add del">
        <pc:chgData name="Eileen Fleming Suse" userId="S::efs3844@ads.northwestern.edu::725c94ef-d051-42d7-9d33-8572765d592b" providerId="AD" clId="Web-{8544FFE2-8133-585B-66CC-2C8177C23087}" dt="2023-11-17T20:58:42.665" v="282"/>
        <pc:sldMkLst>
          <pc:docMk/>
          <pc:sldMk cId="2458930477" sldId="719"/>
        </pc:sldMkLst>
      </pc:sldChg>
      <pc:sldChg chg="add">
        <pc:chgData name="Eileen Fleming Suse" userId="S::efs3844@ads.northwestern.edu::725c94ef-d051-42d7-9d33-8572765d592b" providerId="AD" clId="Web-{8544FFE2-8133-585B-66CC-2C8177C23087}" dt="2023-11-17T20:58:46.649" v="288"/>
        <pc:sldMkLst>
          <pc:docMk/>
          <pc:sldMk cId="102026260" sldId="720"/>
        </pc:sldMkLst>
      </pc:sldChg>
      <pc:sldChg chg="add del">
        <pc:chgData name="Eileen Fleming Suse" userId="S::efs3844@ads.northwestern.edu::725c94ef-d051-42d7-9d33-8572765d592b" providerId="AD" clId="Web-{8544FFE2-8133-585B-66CC-2C8177C23087}" dt="2023-11-17T20:58:42.665" v="281"/>
        <pc:sldMkLst>
          <pc:docMk/>
          <pc:sldMk cId="2619040630" sldId="720"/>
        </pc:sldMkLst>
      </pc:sldChg>
      <pc:sldChg chg="add del">
        <pc:chgData name="Eileen Fleming Suse" userId="S::efs3844@ads.northwestern.edu::725c94ef-d051-42d7-9d33-8572765d592b" providerId="AD" clId="Web-{8544FFE2-8133-585B-66CC-2C8177C23087}" dt="2023-11-17T20:58:42.665" v="280"/>
        <pc:sldMkLst>
          <pc:docMk/>
          <pc:sldMk cId="2098086206" sldId="721"/>
        </pc:sldMkLst>
      </pc:sldChg>
      <pc:sldChg chg="add">
        <pc:chgData name="Eileen Fleming Suse" userId="S::efs3844@ads.northwestern.edu::725c94ef-d051-42d7-9d33-8572765d592b" providerId="AD" clId="Web-{8544FFE2-8133-585B-66CC-2C8177C23087}" dt="2023-11-17T20:58:47.665" v="289"/>
        <pc:sldMkLst>
          <pc:docMk/>
          <pc:sldMk cId="4038851827" sldId="721"/>
        </pc:sldMkLst>
      </pc:sldChg>
      <pc:sldChg chg="add">
        <pc:chgData name="Eileen Fleming Suse" userId="S::efs3844@ads.northwestern.edu::725c94ef-d051-42d7-9d33-8572765d592b" providerId="AD" clId="Web-{8544FFE2-8133-585B-66CC-2C8177C23087}" dt="2023-11-17T20:58:48.712" v="290"/>
        <pc:sldMkLst>
          <pc:docMk/>
          <pc:sldMk cId="166818738" sldId="722"/>
        </pc:sldMkLst>
      </pc:sldChg>
      <pc:sldChg chg="add del">
        <pc:chgData name="Eileen Fleming Suse" userId="S::efs3844@ads.northwestern.edu::725c94ef-d051-42d7-9d33-8572765d592b" providerId="AD" clId="Web-{8544FFE2-8133-585B-66CC-2C8177C23087}" dt="2023-11-17T20:58:42.665" v="279"/>
        <pc:sldMkLst>
          <pc:docMk/>
          <pc:sldMk cId="3492088479" sldId="722"/>
        </pc:sldMkLst>
      </pc:sldChg>
      <pc:sldChg chg="add">
        <pc:chgData name="Eileen Fleming Suse" userId="S::efs3844@ads.northwestern.edu::725c94ef-d051-42d7-9d33-8572765d592b" providerId="AD" clId="Web-{8544FFE2-8133-585B-66CC-2C8177C23087}" dt="2023-11-17T20:58:49.743" v="291"/>
        <pc:sldMkLst>
          <pc:docMk/>
          <pc:sldMk cId="97208790" sldId="723"/>
        </pc:sldMkLst>
      </pc:sldChg>
      <pc:sldChg chg="add del">
        <pc:chgData name="Eileen Fleming Suse" userId="S::efs3844@ads.northwestern.edu::725c94ef-d051-42d7-9d33-8572765d592b" providerId="AD" clId="Web-{8544FFE2-8133-585B-66CC-2C8177C23087}" dt="2023-11-17T20:58:42.665" v="278"/>
        <pc:sldMkLst>
          <pc:docMk/>
          <pc:sldMk cId="2945055310" sldId="723"/>
        </pc:sldMkLst>
      </pc:sldChg>
      <pc:sldChg chg="add del">
        <pc:chgData name="Eileen Fleming Suse" userId="S::efs3844@ads.northwestern.edu::725c94ef-d051-42d7-9d33-8572765d592b" providerId="AD" clId="Web-{8544FFE2-8133-585B-66CC-2C8177C23087}" dt="2023-11-17T20:58:42.649" v="277"/>
        <pc:sldMkLst>
          <pc:docMk/>
          <pc:sldMk cId="725483926" sldId="724"/>
        </pc:sldMkLst>
      </pc:sldChg>
      <pc:sldChg chg="add">
        <pc:chgData name="Eileen Fleming Suse" userId="S::efs3844@ads.northwestern.edu::725c94ef-d051-42d7-9d33-8572765d592b" providerId="AD" clId="Web-{8544FFE2-8133-585B-66CC-2C8177C23087}" dt="2023-11-17T20:58:50.852" v="292"/>
        <pc:sldMkLst>
          <pc:docMk/>
          <pc:sldMk cId="2422191514" sldId="724"/>
        </pc:sldMkLst>
      </pc:sldChg>
      <pc:sldChg chg="add del">
        <pc:chgData name="Eileen Fleming Suse" userId="S::efs3844@ads.northwestern.edu::725c94ef-d051-42d7-9d33-8572765d592b" providerId="AD" clId="Web-{8544FFE2-8133-585B-66CC-2C8177C23087}" dt="2023-11-17T20:58:42.649" v="276"/>
        <pc:sldMkLst>
          <pc:docMk/>
          <pc:sldMk cId="2066878188" sldId="725"/>
        </pc:sldMkLst>
      </pc:sldChg>
      <pc:sldChg chg="add">
        <pc:chgData name="Eileen Fleming Suse" userId="S::efs3844@ads.northwestern.edu::725c94ef-d051-42d7-9d33-8572765d592b" providerId="AD" clId="Web-{8544FFE2-8133-585B-66CC-2C8177C23087}" dt="2023-11-17T20:58:51.868" v="293"/>
        <pc:sldMkLst>
          <pc:docMk/>
          <pc:sldMk cId="3458386910" sldId="725"/>
        </pc:sldMkLst>
      </pc:sldChg>
      <pc:sldChg chg="add del">
        <pc:chgData name="Eileen Fleming Suse" userId="S::efs3844@ads.northwestern.edu::725c94ef-d051-42d7-9d33-8572765d592b" providerId="AD" clId="Web-{8544FFE2-8133-585B-66CC-2C8177C23087}" dt="2023-11-17T20:58:42.649" v="275"/>
        <pc:sldMkLst>
          <pc:docMk/>
          <pc:sldMk cId="880761382" sldId="726"/>
        </pc:sldMkLst>
      </pc:sldChg>
      <pc:sldChg chg="add">
        <pc:chgData name="Eileen Fleming Suse" userId="S::efs3844@ads.northwestern.edu::725c94ef-d051-42d7-9d33-8572765d592b" providerId="AD" clId="Web-{8544FFE2-8133-585B-66CC-2C8177C23087}" dt="2023-11-17T20:58:53.087" v="294"/>
        <pc:sldMkLst>
          <pc:docMk/>
          <pc:sldMk cId="1390059426" sldId="726"/>
        </pc:sldMkLst>
      </pc:sldChg>
      <pc:sldChg chg="add del">
        <pc:chgData name="Eileen Fleming Suse" userId="S::efs3844@ads.northwestern.edu::725c94ef-d051-42d7-9d33-8572765d592b" providerId="AD" clId="Web-{8544FFE2-8133-585B-66CC-2C8177C23087}" dt="2023-11-17T20:58:42.649" v="274"/>
        <pc:sldMkLst>
          <pc:docMk/>
          <pc:sldMk cId="2780552259" sldId="727"/>
        </pc:sldMkLst>
      </pc:sldChg>
      <pc:sldChg chg="add">
        <pc:chgData name="Eileen Fleming Suse" userId="S::efs3844@ads.northwestern.edu::725c94ef-d051-42d7-9d33-8572765d592b" providerId="AD" clId="Web-{8544FFE2-8133-585B-66CC-2C8177C23087}" dt="2023-11-17T20:58:54.384" v="295"/>
        <pc:sldMkLst>
          <pc:docMk/>
          <pc:sldMk cId="3339906105" sldId="727"/>
        </pc:sldMkLst>
      </pc:sldChg>
      <pc:sldChg chg="add del">
        <pc:chgData name="Eileen Fleming Suse" userId="S::efs3844@ads.northwestern.edu::725c94ef-d051-42d7-9d33-8572765d592b" providerId="AD" clId="Web-{8544FFE2-8133-585B-66CC-2C8177C23087}" dt="2023-11-17T20:58:42.649" v="273"/>
        <pc:sldMkLst>
          <pc:docMk/>
          <pc:sldMk cId="183225558" sldId="728"/>
        </pc:sldMkLst>
      </pc:sldChg>
      <pc:sldChg chg="add">
        <pc:chgData name="Eileen Fleming Suse" userId="S::efs3844@ads.northwestern.edu::725c94ef-d051-42d7-9d33-8572765d592b" providerId="AD" clId="Web-{8544FFE2-8133-585B-66CC-2C8177C23087}" dt="2023-11-17T20:58:55.509" v="296"/>
        <pc:sldMkLst>
          <pc:docMk/>
          <pc:sldMk cId="2917591221" sldId="728"/>
        </pc:sldMkLst>
      </pc:sldChg>
      <pc:sldChg chg="add">
        <pc:chgData name="Eileen Fleming Suse" userId="S::efs3844@ads.northwestern.edu::725c94ef-d051-42d7-9d33-8572765d592b" providerId="AD" clId="Web-{8544FFE2-8133-585B-66CC-2C8177C23087}" dt="2023-11-17T20:58:56.759" v="297"/>
        <pc:sldMkLst>
          <pc:docMk/>
          <pc:sldMk cId="3429336150" sldId="729"/>
        </pc:sldMkLst>
      </pc:sldChg>
      <pc:sldChg chg="add del">
        <pc:chgData name="Eileen Fleming Suse" userId="S::efs3844@ads.northwestern.edu::725c94ef-d051-42d7-9d33-8572765d592b" providerId="AD" clId="Web-{8544FFE2-8133-585B-66CC-2C8177C23087}" dt="2023-11-17T20:58:42.649" v="272"/>
        <pc:sldMkLst>
          <pc:docMk/>
          <pc:sldMk cId="4172633609" sldId="729"/>
        </pc:sldMkLst>
      </pc:sldChg>
      <pc:sldChg chg="add">
        <pc:chgData name="Eileen Fleming Suse" userId="S::efs3844@ads.northwestern.edu::725c94ef-d051-42d7-9d33-8572765d592b" providerId="AD" clId="Web-{8544FFE2-8133-585B-66CC-2C8177C23087}" dt="2023-11-17T20:58:57.915" v="298"/>
        <pc:sldMkLst>
          <pc:docMk/>
          <pc:sldMk cId="1617559145" sldId="730"/>
        </pc:sldMkLst>
      </pc:sldChg>
      <pc:sldChg chg="add del">
        <pc:chgData name="Eileen Fleming Suse" userId="S::efs3844@ads.northwestern.edu::725c94ef-d051-42d7-9d33-8572765d592b" providerId="AD" clId="Web-{8544FFE2-8133-585B-66CC-2C8177C23087}" dt="2023-11-17T20:58:42.649" v="271"/>
        <pc:sldMkLst>
          <pc:docMk/>
          <pc:sldMk cId="3976055548" sldId="730"/>
        </pc:sldMkLst>
      </pc:sldChg>
      <pc:sldChg chg="add del">
        <pc:chgData name="Eileen Fleming Suse" userId="S::efs3844@ads.northwestern.edu::725c94ef-d051-42d7-9d33-8572765d592b" providerId="AD" clId="Web-{8544FFE2-8133-585B-66CC-2C8177C23087}" dt="2023-11-17T20:58:42.649" v="270"/>
        <pc:sldMkLst>
          <pc:docMk/>
          <pc:sldMk cId="2494894513" sldId="731"/>
        </pc:sldMkLst>
      </pc:sldChg>
      <pc:sldChg chg="add">
        <pc:chgData name="Eileen Fleming Suse" userId="S::efs3844@ads.northwestern.edu::725c94ef-d051-42d7-9d33-8572765d592b" providerId="AD" clId="Web-{8544FFE2-8133-585B-66CC-2C8177C23087}" dt="2023-11-17T20:58:58.978" v="299"/>
        <pc:sldMkLst>
          <pc:docMk/>
          <pc:sldMk cId="2888392633" sldId="731"/>
        </pc:sldMkLst>
      </pc:sldChg>
      <pc:sldChg chg="add">
        <pc:chgData name="Eileen Fleming Suse" userId="S::efs3844@ads.northwestern.edu::725c94ef-d051-42d7-9d33-8572765d592b" providerId="AD" clId="Web-{8544FFE2-8133-585B-66CC-2C8177C23087}" dt="2023-11-17T20:58:59.993" v="300"/>
        <pc:sldMkLst>
          <pc:docMk/>
          <pc:sldMk cId="1046854343" sldId="732"/>
        </pc:sldMkLst>
      </pc:sldChg>
      <pc:sldChg chg="add del">
        <pc:chgData name="Eileen Fleming Suse" userId="S::efs3844@ads.northwestern.edu::725c94ef-d051-42d7-9d33-8572765d592b" providerId="AD" clId="Web-{8544FFE2-8133-585B-66CC-2C8177C23087}" dt="2023-11-17T20:58:42.649" v="269"/>
        <pc:sldMkLst>
          <pc:docMk/>
          <pc:sldMk cId="1408081084" sldId="732"/>
        </pc:sldMkLst>
      </pc:sldChg>
      <pc:sldChg chg="add">
        <pc:chgData name="Eileen Fleming Suse" userId="S::efs3844@ads.northwestern.edu::725c94ef-d051-42d7-9d33-8572765d592b" providerId="AD" clId="Web-{8544FFE2-8133-585B-66CC-2C8177C23087}" dt="2023-11-17T20:59:01.025" v="301"/>
        <pc:sldMkLst>
          <pc:docMk/>
          <pc:sldMk cId="1800188643" sldId="733"/>
        </pc:sldMkLst>
      </pc:sldChg>
      <pc:sldChg chg="add del">
        <pc:chgData name="Eileen Fleming Suse" userId="S::efs3844@ads.northwestern.edu::725c94ef-d051-42d7-9d33-8572765d592b" providerId="AD" clId="Web-{8544FFE2-8133-585B-66CC-2C8177C23087}" dt="2023-11-17T20:58:42.633" v="268"/>
        <pc:sldMkLst>
          <pc:docMk/>
          <pc:sldMk cId="3415454204" sldId="733"/>
        </pc:sldMkLst>
      </pc:sldChg>
      <pc:sldChg chg="add del">
        <pc:chgData name="Eileen Fleming Suse" userId="S::efs3844@ads.northwestern.edu::725c94ef-d051-42d7-9d33-8572765d592b" providerId="AD" clId="Web-{8544FFE2-8133-585B-66CC-2C8177C23087}" dt="2023-11-17T20:58:42.633" v="267"/>
        <pc:sldMkLst>
          <pc:docMk/>
          <pc:sldMk cId="2901813020" sldId="734"/>
        </pc:sldMkLst>
      </pc:sldChg>
      <pc:sldChg chg="add">
        <pc:chgData name="Eileen Fleming Suse" userId="S::efs3844@ads.northwestern.edu::725c94ef-d051-42d7-9d33-8572765d592b" providerId="AD" clId="Web-{8544FFE2-8133-585B-66CC-2C8177C23087}" dt="2023-11-17T20:59:02.118" v="302"/>
        <pc:sldMkLst>
          <pc:docMk/>
          <pc:sldMk cId="2965389356" sldId="734"/>
        </pc:sldMkLst>
      </pc:sldChg>
      <pc:sldChg chg="add">
        <pc:chgData name="Eileen Fleming Suse" userId="S::efs3844@ads.northwestern.edu::725c94ef-d051-42d7-9d33-8572765d592b" providerId="AD" clId="Web-{8544FFE2-8133-585B-66CC-2C8177C23087}" dt="2023-11-17T20:59:03.040" v="303"/>
        <pc:sldMkLst>
          <pc:docMk/>
          <pc:sldMk cId="2012107243" sldId="735"/>
        </pc:sldMkLst>
      </pc:sldChg>
      <pc:sldChg chg="add del">
        <pc:chgData name="Eileen Fleming Suse" userId="S::efs3844@ads.northwestern.edu::725c94ef-d051-42d7-9d33-8572765d592b" providerId="AD" clId="Web-{8544FFE2-8133-585B-66CC-2C8177C23087}" dt="2023-11-17T20:58:42.633" v="266"/>
        <pc:sldMkLst>
          <pc:docMk/>
          <pc:sldMk cId="3503736368" sldId="735"/>
        </pc:sldMkLst>
      </pc:sldChg>
      <pc:sldChg chg="addSp delSp modSp new mod setBg">
        <pc:chgData name="Eileen Fleming Suse" userId="S::efs3844@ads.northwestern.edu::725c94ef-d051-42d7-9d33-8572765d592b" providerId="AD" clId="Web-{8544FFE2-8133-585B-66CC-2C8177C23087}" dt="2023-11-18T01:35:19.154" v="358"/>
        <pc:sldMkLst>
          <pc:docMk/>
          <pc:sldMk cId="1811019117" sldId="736"/>
        </pc:sldMkLst>
        <pc:spChg chg="mod">
          <ac:chgData name="Eileen Fleming Suse" userId="S::efs3844@ads.northwestern.edu::725c94ef-d051-42d7-9d33-8572765d592b" providerId="AD" clId="Web-{8544FFE2-8133-585B-66CC-2C8177C23087}" dt="2023-11-18T01:34:24.309" v="357"/>
          <ac:spMkLst>
            <pc:docMk/>
            <pc:sldMk cId="1811019117" sldId="736"/>
            <ac:spMk id="2" creationId="{EBCC4529-5171-41EF-E242-F4836E180A4C}"/>
          </ac:spMkLst>
        </pc:spChg>
        <pc:spChg chg="del mod">
          <ac:chgData name="Eileen Fleming Suse" userId="S::efs3844@ads.northwestern.edu::725c94ef-d051-42d7-9d33-8572765d592b" providerId="AD" clId="Web-{8544FFE2-8133-585B-66CC-2C8177C23087}" dt="2023-11-18T01:34:24.309" v="357"/>
          <ac:spMkLst>
            <pc:docMk/>
            <pc:sldMk cId="1811019117" sldId="736"/>
            <ac:spMk id="3" creationId="{A78DE4B8-B128-70E9-2028-E8A6182E7358}"/>
          </ac:spMkLst>
        </pc:spChg>
        <pc:spChg chg="mod">
          <ac:chgData name="Eileen Fleming Suse" userId="S::efs3844@ads.northwestern.edu::725c94ef-d051-42d7-9d33-8572765d592b" providerId="AD" clId="Web-{8544FFE2-8133-585B-66CC-2C8177C23087}" dt="2023-11-18T01:34:24.309" v="357"/>
          <ac:spMkLst>
            <pc:docMk/>
            <pc:sldMk cId="1811019117" sldId="736"/>
            <ac:spMk id="4" creationId="{B7FB3513-4113-97AC-358F-AD6038A13085}"/>
          </ac:spMkLst>
        </pc:spChg>
        <pc:spChg chg="mod">
          <ac:chgData name="Eileen Fleming Suse" userId="S::efs3844@ads.northwestern.edu::725c94ef-d051-42d7-9d33-8572765d592b" providerId="AD" clId="Web-{8544FFE2-8133-585B-66CC-2C8177C23087}" dt="2023-11-18T01:34:24.309" v="357"/>
          <ac:spMkLst>
            <pc:docMk/>
            <pc:sldMk cId="1811019117" sldId="736"/>
            <ac:spMk id="5" creationId="{100B16C8-06BE-BEDF-FCE3-9542B0274043}"/>
          </ac:spMkLst>
        </pc:spChg>
        <pc:spChg chg="add">
          <ac:chgData name="Eileen Fleming Suse" userId="S::efs3844@ads.northwestern.edu::725c94ef-d051-42d7-9d33-8572765d592b" providerId="AD" clId="Web-{8544FFE2-8133-585B-66CC-2C8177C23087}" dt="2023-11-18T01:34:24.309" v="357"/>
          <ac:spMkLst>
            <pc:docMk/>
            <pc:sldMk cId="1811019117" sldId="736"/>
            <ac:spMk id="11" creationId="{C5278130-DFE0-457B-8698-88DF69019DDE}"/>
          </ac:spMkLst>
        </pc:spChg>
        <pc:spChg chg="add">
          <ac:chgData name="Eileen Fleming Suse" userId="S::efs3844@ads.northwestern.edu::725c94ef-d051-42d7-9d33-8572765d592b" providerId="AD" clId="Web-{8544FFE2-8133-585B-66CC-2C8177C23087}" dt="2023-11-18T01:34:24.309" v="357"/>
          <ac:spMkLst>
            <pc:docMk/>
            <pc:sldMk cId="1811019117" sldId="736"/>
            <ac:spMk id="13" creationId="{2F99531B-1681-4D6E-BECB-18325B33A618}"/>
          </ac:spMkLst>
        </pc:spChg>
        <pc:spChg chg="add">
          <ac:chgData name="Eileen Fleming Suse" userId="S::efs3844@ads.northwestern.edu::725c94ef-d051-42d7-9d33-8572765d592b" providerId="AD" clId="Web-{8544FFE2-8133-585B-66CC-2C8177C23087}" dt="2023-11-18T01:34:24.309" v="357"/>
          <ac:spMkLst>
            <pc:docMk/>
            <pc:sldMk cId="1811019117" sldId="736"/>
            <ac:spMk id="15" creationId="{20344094-430A-400B-804B-910E696A1A90}"/>
          </ac:spMkLst>
        </pc:spChg>
        <pc:spChg chg="add">
          <ac:chgData name="Eileen Fleming Suse" userId="S::efs3844@ads.northwestern.edu::725c94ef-d051-42d7-9d33-8572765d592b" providerId="AD" clId="Web-{8544FFE2-8133-585B-66CC-2C8177C23087}" dt="2023-11-18T01:34:24.309" v="357"/>
          <ac:spMkLst>
            <pc:docMk/>
            <pc:sldMk cId="1811019117" sldId="736"/>
            <ac:spMk id="17" creationId="{453C67DF-7782-4E57-AB9B-F1B4811AD8FE}"/>
          </ac:spMkLst>
        </pc:spChg>
        <pc:graphicFrameChg chg="add modGraphic">
          <ac:chgData name="Eileen Fleming Suse" userId="S::efs3844@ads.northwestern.edu::725c94ef-d051-42d7-9d33-8572765d592b" providerId="AD" clId="Web-{8544FFE2-8133-585B-66CC-2C8177C23087}" dt="2023-11-18T01:35:19.154" v="358"/>
          <ac:graphicFrameMkLst>
            <pc:docMk/>
            <pc:sldMk cId="1811019117" sldId="736"/>
            <ac:graphicFrameMk id="7" creationId="{7A2359A2-13A0-13F8-9703-E546D92B0B98}"/>
          </ac:graphicFrameMkLst>
        </pc:graphicFrameChg>
        <pc:cxnChg chg="add">
          <ac:chgData name="Eileen Fleming Suse" userId="S::efs3844@ads.northwestern.edu::725c94ef-d051-42d7-9d33-8572765d592b" providerId="AD" clId="Web-{8544FFE2-8133-585B-66CC-2C8177C23087}" dt="2023-11-18T01:34:24.309" v="357"/>
          <ac:cxnSpMkLst>
            <pc:docMk/>
            <pc:sldMk cId="1811019117" sldId="736"/>
            <ac:cxnSpMk id="19" creationId="{B03A5AE3-BD30-455C-842B-7626C8BEF097}"/>
          </ac:cxnSpMkLst>
        </pc:cxnChg>
        <pc:cxnChg chg="add">
          <ac:chgData name="Eileen Fleming Suse" userId="S::efs3844@ads.northwestern.edu::725c94ef-d051-42d7-9d33-8572765d592b" providerId="AD" clId="Web-{8544FFE2-8133-585B-66CC-2C8177C23087}" dt="2023-11-18T01:34:24.309" v="357"/>
          <ac:cxnSpMkLst>
            <pc:docMk/>
            <pc:sldMk cId="1811019117" sldId="736"/>
            <ac:cxnSpMk id="21" creationId="{2DBECAA5-1F2D-470D-875C-8F2C2CA3E54B}"/>
          </ac:cxnSpMkLst>
        </pc:cxnChg>
      </pc:sldChg>
      <pc:sldChg chg="add">
        <pc:chgData name="Eileen Fleming Suse" userId="S::efs3844@ads.northwestern.edu::725c94ef-d051-42d7-9d33-8572765d592b" providerId="AD" clId="Web-{8544FFE2-8133-585B-66CC-2C8177C23087}" dt="2023-11-18T01:37:30.204" v="360"/>
        <pc:sldMkLst>
          <pc:docMk/>
          <pc:sldMk cId="1141813547" sldId="737"/>
        </pc:sldMkLst>
      </pc:sldChg>
      <pc:sldMasterChg chg="addSldLayout delSldLayout">
        <pc:chgData name="Eileen Fleming Suse" userId="S::efs3844@ads.northwestern.edu::725c94ef-d051-42d7-9d33-8572765d592b" providerId="AD" clId="Web-{8544FFE2-8133-585B-66CC-2C8177C23087}" dt="2023-11-17T20:58:42.633" v="266"/>
        <pc:sldMasterMkLst>
          <pc:docMk/>
          <pc:sldMasterMk cId="0" sldId="2147483648"/>
        </pc:sldMasterMkLst>
        <pc:sldLayoutChg chg="add del replId">
          <pc:chgData name="Eileen Fleming Suse" userId="S::efs3844@ads.northwestern.edu::725c94ef-d051-42d7-9d33-8572765d592b" providerId="AD" clId="Web-{8544FFE2-8133-585B-66CC-2C8177C23087}" dt="2023-11-17T20:58:42.633" v="266"/>
          <pc:sldLayoutMkLst>
            <pc:docMk/>
            <pc:sldMasterMk cId="0" sldId="2147483648"/>
            <pc:sldLayoutMk cId="2292398128" sldId="2147488080"/>
          </pc:sldLayoutMkLst>
        </pc:sldLayoutChg>
      </pc:sldMasterChg>
      <pc:sldMasterChg chg="addSldLayout">
        <pc:chgData name="Eileen Fleming Suse" userId="S::efs3844@ads.northwestern.edu::725c94ef-d051-42d7-9d33-8572765d592b" providerId="AD" clId="Web-{8544FFE2-8133-585B-66CC-2C8177C23087}" dt="2023-11-17T20:16:43.125" v="55"/>
        <pc:sldMasterMkLst>
          <pc:docMk/>
          <pc:sldMasterMk cId="3378073280" sldId="2147483756"/>
        </pc:sldMasterMkLst>
        <pc:sldLayoutChg chg="add replId">
          <pc:chgData name="Eileen Fleming Suse" userId="S::efs3844@ads.northwestern.edu::725c94ef-d051-42d7-9d33-8572765d592b" providerId="AD" clId="Web-{8544FFE2-8133-585B-66CC-2C8177C23087}" dt="2023-11-17T20:16:43.125" v="55"/>
          <pc:sldLayoutMkLst>
            <pc:docMk/>
            <pc:sldMasterMk cId="3378073280" sldId="2147483756"/>
            <pc:sldLayoutMk cId="3016851664" sldId="2147488079"/>
          </pc:sldLayoutMkLst>
        </pc:sldLayoutChg>
      </pc:sldMasterChg>
    </pc:docChg>
  </pc:docChgLst>
  <pc:docChgLst>
    <pc:chgData name="Isabel Rose Gippo" userId="S::irg9370@ads.northwestern.edu::b10bfe7e-55b9-46dd-9add-2eb52cb66d3b" providerId="AD" clId="Web-{DC570ED0-804E-A0E2-5D93-D510896DFB64}"/>
    <pc:docChg chg="addSld modSld">
      <pc:chgData name="Isabel Rose Gippo" userId="S::irg9370@ads.northwestern.edu::b10bfe7e-55b9-46dd-9add-2eb52cb66d3b" providerId="AD" clId="Web-{DC570ED0-804E-A0E2-5D93-D510896DFB64}" dt="2023-10-24T14:25:12.957" v="624"/>
      <pc:docMkLst>
        <pc:docMk/>
      </pc:docMkLst>
      <pc:sldChg chg="addSp delSp modSp add replId">
        <pc:chgData name="Isabel Rose Gippo" userId="S::irg9370@ads.northwestern.edu::b10bfe7e-55b9-46dd-9add-2eb52cb66d3b" providerId="AD" clId="Web-{DC570ED0-804E-A0E2-5D93-D510896DFB64}" dt="2023-10-24T13:50:42.643" v="314" actId="20577"/>
        <pc:sldMkLst>
          <pc:docMk/>
          <pc:sldMk cId="3090389772" sldId="568"/>
        </pc:sldMkLst>
        <pc:spChg chg="del">
          <ac:chgData name="Isabel Rose Gippo" userId="S::irg9370@ads.northwestern.edu::b10bfe7e-55b9-46dd-9add-2eb52cb66d3b" providerId="AD" clId="Web-{DC570ED0-804E-A0E2-5D93-D510896DFB64}" dt="2023-10-24T13:23:11.220" v="1"/>
          <ac:spMkLst>
            <pc:docMk/>
            <pc:sldMk cId="3090389772" sldId="568"/>
            <ac:spMk id="2" creationId="{00000000-0000-0000-0000-000000000000}"/>
          </ac:spMkLst>
        </pc:spChg>
        <pc:spChg chg="del">
          <ac:chgData name="Isabel Rose Gippo" userId="S::irg9370@ads.northwestern.edu::b10bfe7e-55b9-46dd-9add-2eb52cb66d3b" providerId="AD" clId="Web-{DC570ED0-804E-A0E2-5D93-D510896DFB64}" dt="2023-10-24T13:23:17.877" v="2"/>
          <ac:spMkLst>
            <pc:docMk/>
            <pc:sldMk cId="3090389772" sldId="568"/>
            <ac:spMk id="3" creationId="{00000000-0000-0000-0000-000000000000}"/>
          </ac:spMkLst>
        </pc:spChg>
        <pc:spChg chg="add del mod">
          <ac:chgData name="Isabel Rose Gippo" userId="S::irg9370@ads.northwestern.edu::b10bfe7e-55b9-46dd-9add-2eb52cb66d3b" providerId="AD" clId="Web-{DC570ED0-804E-A0E2-5D93-D510896DFB64}" dt="2023-10-24T13:29:49.501" v="23"/>
          <ac:spMkLst>
            <pc:docMk/>
            <pc:sldMk cId="3090389772" sldId="568"/>
            <ac:spMk id="6" creationId="{595990F9-94FA-9087-B8D0-01F767817104}"/>
          </ac:spMkLst>
        </pc:spChg>
        <pc:spChg chg="add del mod">
          <ac:chgData name="Isabel Rose Gippo" userId="S::irg9370@ads.northwestern.edu::b10bfe7e-55b9-46dd-9add-2eb52cb66d3b" providerId="AD" clId="Web-{DC570ED0-804E-A0E2-5D93-D510896DFB64}" dt="2023-10-24T13:32:00.913" v="82"/>
          <ac:spMkLst>
            <pc:docMk/>
            <pc:sldMk cId="3090389772" sldId="568"/>
            <ac:spMk id="8" creationId="{4B95CBD6-6501-8155-A01B-E05B42CCEA51}"/>
          </ac:spMkLst>
        </pc:spChg>
        <pc:spChg chg="add del mod">
          <ac:chgData name="Isabel Rose Gippo" userId="S::irg9370@ads.northwestern.edu::b10bfe7e-55b9-46dd-9add-2eb52cb66d3b" providerId="AD" clId="Web-{DC570ED0-804E-A0E2-5D93-D510896DFB64}" dt="2023-10-24T13:32:07.725" v="84"/>
          <ac:spMkLst>
            <pc:docMk/>
            <pc:sldMk cId="3090389772" sldId="568"/>
            <ac:spMk id="10" creationId="{F8479F00-3CC7-E2BA-FDD4-47B34220F1E9}"/>
          </ac:spMkLst>
        </pc:spChg>
        <pc:spChg chg="add mod">
          <ac:chgData name="Isabel Rose Gippo" userId="S::irg9370@ads.northwestern.edu::b10bfe7e-55b9-46dd-9add-2eb52cb66d3b" providerId="AD" clId="Web-{DC570ED0-804E-A0E2-5D93-D510896DFB64}" dt="2023-10-24T13:41:13.449" v="218" actId="1076"/>
          <ac:spMkLst>
            <pc:docMk/>
            <pc:sldMk cId="3090389772" sldId="568"/>
            <ac:spMk id="11" creationId="{13896302-555C-1A80-C459-6D1ACE663F72}"/>
          </ac:spMkLst>
        </pc:spChg>
        <pc:spChg chg="add mod">
          <ac:chgData name="Isabel Rose Gippo" userId="S::irg9370@ads.northwestern.edu::b10bfe7e-55b9-46dd-9add-2eb52cb66d3b" providerId="AD" clId="Web-{DC570ED0-804E-A0E2-5D93-D510896DFB64}" dt="2023-10-24T13:50:14.611" v="310"/>
          <ac:spMkLst>
            <pc:docMk/>
            <pc:sldMk cId="3090389772" sldId="568"/>
            <ac:spMk id="15" creationId="{CA00A902-9377-5B4A-9651-129D059BB685}"/>
          </ac:spMkLst>
        </pc:spChg>
        <pc:spChg chg="add mod">
          <ac:chgData name="Isabel Rose Gippo" userId="S::irg9370@ads.northwestern.edu::b10bfe7e-55b9-46dd-9add-2eb52cb66d3b" providerId="AD" clId="Web-{DC570ED0-804E-A0E2-5D93-D510896DFB64}" dt="2023-10-24T13:50:23.752" v="311" actId="1076"/>
          <ac:spMkLst>
            <pc:docMk/>
            <pc:sldMk cId="3090389772" sldId="568"/>
            <ac:spMk id="17" creationId="{C4FB321D-7C09-3587-1451-1763097B5C30}"/>
          </ac:spMkLst>
        </pc:spChg>
        <pc:spChg chg="add mod">
          <ac:chgData name="Isabel Rose Gippo" userId="S::irg9370@ads.northwestern.edu::b10bfe7e-55b9-46dd-9add-2eb52cb66d3b" providerId="AD" clId="Web-{DC570ED0-804E-A0E2-5D93-D510896DFB64}" dt="2023-10-24T13:50:42.643" v="314" actId="20577"/>
          <ac:spMkLst>
            <pc:docMk/>
            <pc:sldMk cId="3090389772" sldId="568"/>
            <ac:spMk id="19" creationId="{F49C1F1A-614A-5749-1A3F-78980B65ADBC}"/>
          </ac:spMkLst>
        </pc:spChg>
        <pc:spChg chg="mod">
          <ac:chgData name="Isabel Rose Gippo" userId="S::irg9370@ads.northwestern.edu::b10bfe7e-55b9-46dd-9add-2eb52cb66d3b" providerId="AD" clId="Web-{DC570ED0-804E-A0E2-5D93-D510896DFB64}" dt="2023-10-24T13:43:41.971" v="242" actId="20577"/>
          <ac:spMkLst>
            <pc:docMk/>
            <pc:sldMk cId="3090389772" sldId="568"/>
            <ac:spMk id="16386" creationId="{00000000-0000-0000-0000-000000000000}"/>
          </ac:spMkLst>
        </pc:spChg>
        <pc:spChg chg="del mod">
          <ac:chgData name="Isabel Rose Gippo" userId="S::irg9370@ads.northwestern.edu::b10bfe7e-55b9-46dd-9add-2eb52cb66d3b" providerId="AD" clId="Web-{DC570ED0-804E-A0E2-5D93-D510896DFB64}" dt="2023-10-24T13:29:24.219" v="18"/>
          <ac:spMkLst>
            <pc:docMk/>
            <pc:sldMk cId="3090389772" sldId="568"/>
            <ac:spMk id="16387" creationId="{00000000-0000-0000-0000-000000000000}"/>
          </ac:spMkLst>
        </pc:spChg>
        <pc:picChg chg="add del mod modCrop">
          <ac:chgData name="Isabel Rose Gippo" userId="S::irg9370@ads.northwestern.edu::b10bfe7e-55b9-46dd-9add-2eb52cb66d3b" providerId="AD" clId="Web-{DC570ED0-804E-A0E2-5D93-D510896DFB64}" dt="2023-10-24T13:36:48.470" v="138"/>
          <ac:picMkLst>
            <pc:docMk/>
            <pc:sldMk cId="3090389772" sldId="568"/>
            <ac:picMk id="4" creationId="{7C4A6C95-34AE-C8E6-1DCF-F6079B87A6AC}"/>
          </ac:picMkLst>
        </pc:picChg>
        <pc:picChg chg="add del mod ord">
          <ac:chgData name="Isabel Rose Gippo" userId="S::irg9370@ads.northwestern.edu::b10bfe7e-55b9-46dd-9add-2eb52cb66d3b" providerId="AD" clId="Web-{DC570ED0-804E-A0E2-5D93-D510896DFB64}" dt="2023-10-24T13:37:31.425" v="146"/>
          <ac:picMkLst>
            <pc:docMk/>
            <pc:sldMk cId="3090389772" sldId="568"/>
            <ac:picMk id="12" creationId="{1157BB9A-851C-C255-0310-D42AC336B66F}"/>
          </ac:picMkLst>
        </pc:picChg>
        <pc:picChg chg="add del mod">
          <ac:chgData name="Isabel Rose Gippo" userId="S::irg9370@ads.northwestern.edu::b10bfe7e-55b9-46dd-9add-2eb52cb66d3b" providerId="AD" clId="Web-{DC570ED0-804E-A0E2-5D93-D510896DFB64}" dt="2023-10-24T13:40:56.449" v="211"/>
          <ac:picMkLst>
            <pc:docMk/>
            <pc:sldMk cId="3090389772" sldId="568"/>
            <ac:picMk id="13" creationId="{80A9386E-A3C6-98A2-026F-0D769C360E01}"/>
          </ac:picMkLst>
        </pc:picChg>
        <pc:picChg chg="add mod ord">
          <ac:chgData name="Isabel Rose Gippo" userId="S::irg9370@ads.northwestern.edu::b10bfe7e-55b9-46dd-9add-2eb52cb66d3b" providerId="AD" clId="Web-{DC570ED0-804E-A0E2-5D93-D510896DFB64}" dt="2023-10-24T13:49:48.203" v="305" actId="1076"/>
          <ac:picMkLst>
            <pc:docMk/>
            <pc:sldMk cId="3090389772" sldId="568"/>
            <ac:picMk id="14" creationId="{557B5DD0-CAF3-34F4-E916-20658CE8833E}"/>
          </ac:picMkLst>
        </pc:picChg>
        <pc:picChg chg="add mod">
          <ac:chgData name="Isabel Rose Gippo" userId="S::irg9370@ads.northwestern.edu::b10bfe7e-55b9-46dd-9add-2eb52cb66d3b" providerId="AD" clId="Web-{DC570ED0-804E-A0E2-5D93-D510896DFB64}" dt="2023-10-24T13:41:06.387" v="215" actId="14100"/>
          <ac:picMkLst>
            <pc:docMk/>
            <pc:sldMk cId="3090389772" sldId="568"/>
            <ac:picMk id="16" creationId="{EFDCBE94-658B-EA5C-C848-56FA88C493AB}"/>
          </ac:picMkLst>
        </pc:picChg>
        <pc:picChg chg="add del mod">
          <ac:chgData name="Isabel Rose Gippo" userId="S::irg9370@ads.northwestern.edu::b10bfe7e-55b9-46dd-9add-2eb52cb66d3b" providerId="AD" clId="Web-{DC570ED0-804E-A0E2-5D93-D510896DFB64}" dt="2023-10-24T13:46:05.070" v="270"/>
          <ac:picMkLst>
            <pc:docMk/>
            <pc:sldMk cId="3090389772" sldId="568"/>
            <ac:picMk id="18" creationId="{45BD3714-27F2-FE16-2BFB-D745A0BC2166}"/>
          </ac:picMkLst>
        </pc:picChg>
        <pc:picChg chg="add del mod">
          <ac:chgData name="Isabel Rose Gippo" userId="S::irg9370@ads.northwestern.edu::b10bfe7e-55b9-46dd-9add-2eb52cb66d3b" providerId="AD" clId="Web-{DC570ED0-804E-A0E2-5D93-D510896DFB64}" dt="2023-10-24T13:48:36.576" v="287"/>
          <ac:picMkLst>
            <pc:docMk/>
            <pc:sldMk cId="3090389772" sldId="568"/>
            <ac:picMk id="20" creationId="{323A1FF1-1E09-F17F-231B-8C8A872B941D}"/>
          </ac:picMkLst>
        </pc:picChg>
        <pc:picChg chg="add mod">
          <ac:chgData name="Isabel Rose Gippo" userId="S::irg9370@ads.northwestern.edu::b10bfe7e-55b9-46dd-9add-2eb52cb66d3b" providerId="AD" clId="Web-{DC570ED0-804E-A0E2-5D93-D510896DFB64}" dt="2023-10-24T13:49:32.953" v="303" actId="1076"/>
          <ac:picMkLst>
            <pc:docMk/>
            <pc:sldMk cId="3090389772" sldId="568"/>
            <ac:picMk id="21" creationId="{B3F7D84D-D47C-2EE1-3151-7E4DB552539E}"/>
          </ac:picMkLst>
        </pc:picChg>
      </pc:sldChg>
      <pc:sldChg chg="addSp delSp modSp add replId">
        <pc:chgData name="Isabel Rose Gippo" userId="S::irg9370@ads.northwestern.edu::b10bfe7e-55b9-46dd-9add-2eb52cb66d3b" providerId="AD" clId="Web-{DC570ED0-804E-A0E2-5D93-D510896DFB64}" dt="2023-10-24T13:56:07.781" v="380"/>
        <pc:sldMkLst>
          <pc:docMk/>
          <pc:sldMk cId="1088329954" sldId="569"/>
        </pc:sldMkLst>
        <pc:spChg chg="del mod">
          <ac:chgData name="Isabel Rose Gippo" userId="S::irg9370@ads.northwestern.edu::b10bfe7e-55b9-46dd-9add-2eb52cb66d3b" providerId="AD" clId="Web-{DC570ED0-804E-A0E2-5D93-D510896DFB64}" dt="2023-10-24T13:51:45.942" v="335"/>
          <ac:spMkLst>
            <pc:docMk/>
            <pc:sldMk cId="1088329954" sldId="569"/>
            <ac:spMk id="11" creationId="{13896302-555C-1A80-C459-6D1ACE663F72}"/>
          </ac:spMkLst>
        </pc:spChg>
        <pc:spChg chg="del">
          <ac:chgData name="Isabel Rose Gippo" userId="S::irg9370@ads.northwestern.edu::b10bfe7e-55b9-46dd-9add-2eb52cb66d3b" providerId="AD" clId="Web-{DC570ED0-804E-A0E2-5D93-D510896DFB64}" dt="2023-10-24T13:51:39.333" v="332"/>
          <ac:spMkLst>
            <pc:docMk/>
            <pc:sldMk cId="1088329954" sldId="569"/>
            <ac:spMk id="15" creationId="{CA00A902-9377-5B4A-9651-129D059BB685}"/>
          </ac:spMkLst>
        </pc:spChg>
        <pc:spChg chg="del">
          <ac:chgData name="Isabel Rose Gippo" userId="S::irg9370@ads.northwestern.edu::b10bfe7e-55b9-46dd-9add-2eb52cb66d3b" providerId="AD" clId="Web-{DC570ED0-804E-A0E2-5D93-D510896DFB64}" dt="2023-10-24T13:51:29.442" v="329"/>
          <ac:spMkLst>
            <pc:docMk/>
            <pc:sldMk cId="1088329954" sldId="569"/>
            <ac:spMk id="17" creationId="{C4FB321D-7C09-3587-1451-1763097B5C30}"/>
          </ac:spMkLst>
        </pc:spChg>
        <pc:spChg chg="add del mod">
          <ac:chgData name="Isabel Rose Gippo" userId="S::irg9370@ads.northwestern.edu::b10bfe7e-55b9-46dd-9add-2eb52cb66d3b" providerId="AD" clId="Web-{DC570ED0-804E-A0E2-5D93-D510896DFB64}" dt="2023-10-24T13:55:21.716" v="376" actId="1076"/>
          <ac:spMkLst>
            <pc:docMk/>
            <pc:sldMk cId="1088329954" sldId="569"/>
            <ac:spMk id="19" creationId="{F49C1F1A-614A-5749-1A3F-78980B65ADBC}"/>
          </ac:spMkLst>
        </pc:spChg>
        <pc:spChg chg="mod">
          <ac:chgData name="Isabel Rose Gippo" userId="S::irg9370@ads.northwestern.edu::b10bfe7e-55b9-46dd-9add-2eb52cb66d3b" providerId="AD" clId="Web-{DC570ED0-804E-A0E2-5D93-D510896DFB64}" dt="2023-10-24T13:53:46.478" v="349" actId="20577"/>
          <ac:spMkLst>
            <pc:docMk/>
            <pc:sldMk cId="1088329954" sldId="569"/>
            <ac:spMk id="16386" creationId="{00000000-0000-0000-0000-000000000000}"/>
          </ac:spMkLst>
        </pc:spChg>
        <pc:picChg chg="add mod">
          <ac:chgData name="Isabel Rose Gippo" userId="S::irg9370@ads.northwestern.edu::b10bfe7e-55b9-46dd-9add-2eb52cb66d3b" providerId="AD" clId="Web-{DC570ED0-804E-A0E2-5D93-D510896DFB64}" dt="2023-10-24T13:56:07.781" v="380"/>
          <ac:picMkLst>
            <pc:docMk/>
            <pc:sldMk cId="1088329954" sldId="569"/>
            <ac:picMk id="2" creationId="{7088B35E-417D-2903-C144-75276D9E0FF3}"/>
          </ac:picMkLst>
        </pc:picChg>
        <pc:picChg chg="del">
          <ac:chgData name="Isabel Rose Gippo" userId="S::irg9370@ads.northwestern.edu::b10bfe7e-55b9-46dd-9add-2eb52cb66d3b" providerId="AD" clId="Web-{DC570ED0-804E-A0E2-5D93-D510896DFB64}" dt="2023-10-24T13:51:40.223" v="333"/>
          <ac:picMkLst>
            <pc:docMk/>
            <pc:sldMk cId="1088329954" sldId="569"/>
            <ac:picMk id="14" creationId="{557B5DD0-CAF3-34F4-E916-20658CE8833E}"/>
          </ac:picMkLst>
        </pc:picChg>
        <pc:picChg chg="del">
          <ac:chgData name="Isabel Rose Gippo" userId="S::irg9370@ads.northwestern.edu::b10bfe7e-55b9-46dd-9add-2eb52cb66d3b" providerId="AD" clId="Web-{DC570ED0-804E-A0E2-5D93-D510896DFB64}" dt="2023-10-24T13:51:37.551" v="331"/>
          <ac:picMkLst>
            <pc:docMk/>
            <pc:sldMk cId="1088329954" sldId="569"/>
            <ac:picMk id="16" creationId="{EFDCBE94-658B-EA5C-C848-56FA88C493AB}"/>
          </ac:picMkLst>
        </pc:picChg>
        <pc:picChg chg="del">
          <ac:chgData name="Isabel Rose Gippo" userId="S::irg9370@ads.northwestern.edu::b10bfe7e-55b9-46dd-9add-2eb52cb66d3b" providerId="AD" clId="Web-{DC570ED0-804E-A0E2-5D93-D510896DFB64}" dt="2023-10-24T13:51:27.457" v="328"/>
          <ac:picMkLst>
            <pc:docMk/>
            <pc:sldMk cId="1088329954" sldId="569"/>
            <ac:picMk id="21" creationId="{B3F7D84D-D47C-2EE1-3151-7E4DB552539E}"/>
          </ac:picMkLst>
        </pc:picChg>
      </pc:sldChg>
      <pc:sldChg chg="addSp delSp modSp add replId">
        <pc:chgData name="Isabel Rose Gippo" userId="S::irg9370@ads.northwestern.edu::b10bfe7e-55b9-46dd-9add-2eb52cb66d3b" providerId="AD" clId="Web-{DC570ED0-804E-A0E2-5D93-D510896DFB64}" dt="2023-10-24T14:25:12.957" v="624"/>
        <pc:sldMkLst>
          <pc:docMk/>
          <pc:sldMk cId="2849312483" sldId="570"/>
        </pc:sldMkLst>
        <pc:spChg chg="add mod">
          <ac:chgData name="Isabel Rose Gippo" userId="S::irg9370@ads.northwestern.edu::b10bfe7e-55b9-46dd-9add-2eb52cb66d3b" providerId="AD" clId="Web-{DC570ED0-804E-A0E2-5D93-D510896DFB64}" dt="2023-10-24T14:23:31.594" v="621" actId="1076"/>
          <ac:spMkLst>
            <pc:docMk/>
            <pc:sldMk cId="2849312483" sldId="570"/>
            <ac:spMk id="4" creationId="{EA09FBC4-EFF6-9AB4-25A1-D6ED252CED0D}"/>
          </ac:spMkLst>
        </pc:spChg>
        <pc:spChg chg="add mod">
          <ac:chgData name="Isabel Rose Gippo" userId="S::irg9370@ads.northwestern.edu::b10bfe7e-55b9-46dd-9add-2eb52cb66d3b" providerId="AD" clId="Web-{DC570ED0-804E-A0E2-5D93-D510896DFB64}" dt="2023-10-24T14:08:31.356" v="552" actId="1076"/>
          <ac:spMkLst>
            <pc:docMk/>
            <pc:sldMk cId="2849312483" sldId="570"/>
            <ac:spMk id="5" creationId="{E069BE35-38BF-B866-0B62-A243ACB6F110}"/>
          </ac:spMkLst>
        </pc:spChg>
        <pc:spChg chg="add mod">
          <ac:chgData name="Isabel Rose Gippo" userId="S::irg9370@ads.northwestern.edu::b10bfe7e-55b9-46dd-9add-2eb52cb66d3b" providerId="AD" clId="Web-{DC570ED0-804E-A0E2-5D93-D510896DFB64}" dt="2023-10-24T14:08:28.387" v="551" actId="1076"/>
          <ac:spMkLst>
            <pc:docMk/>
            <pc:sldMk cId="2849312483" sldId="570"/>
            <ac:spMk id="6" creationId="{137890F0-FB58-2F7F-C68D-9B504512854C}"/>
          </ac:spMkLst>
        </pc:spChg>
        <pc:spChg chg="add mod">
          <ac:chgData name="Isabel Rose Gippo" userId="S::irg9370@ads.northwestern.edu::b10bfe7e-55b9-46dd-9add-2eb52cb66d3b" providerId="AD" clId="Web-{DC570ED0-804E-A0E2-5D93-D510896DFB64}" dt="2023-10-24T14:08:47.263" v="558" actId="1076"/>
          <ac:spMkLst>
            <pc:docMk/>
            <pc:sldMk cId="2849312483" sldId="570"/>
            <ac:spMk id="7" creationId="{1F35585C-3549-CE9C-A34A-3452229F6833}"/>
          </ac:spMkLst>
        </pc:spChg>
        <pc:spChg chg="add mod">
          <ac:chgData name="Isabel Rose Gippo" userId="S::irg9370@ads.northwestern.edu::b10bfe7e-55b9-46dd-9add-2eb52cb66d3b" providerId="AD" clId="Web-{DC570ED0-804E-A0E2-5D93-D510896DFB64}" dt="2023-10-24T14:08:53.263" v="560" actId="1076"/>
          <ac:spMkLst>
            <pc:docMk/>
            <pc:sldMk cId="2849312483" sldId="570"/>
            <ac:spMk id="9" creationId="{9BD0DB87-BFB9-248F-9187-16322CEC9C89}"/>
          </ac:spMkLst>
        </pc:spChg>
        <pc:spChg chg="add mod">
          <ac:chgData name="Isabel Rose Gippo" userId="S::irg9370@ads.northwestern.edu::b10bfe7e-55b9-46dd-9add-2eb52cb66d3b" providerId="AD" clId="Web-{DC570ED0-804E-A0E2-5D93-D510896DFB64}" dt="2023-10-24T14:09:06.264" v="565" actId="1076"/>
          <ac:spMkLst>
            <pc:docMk/>
            <pc:sldMk cId="2849312483" sldId="570"/>
            <ac:spMk id="10" creationId="{C8307CA0-040F-CDB1-5F4D-16A04C6E74DF}"/>
          </ac:spMkLst>
        </pc:spChg>
        <pc:spChg chg="del mod">
          <ac:chgData name="Isabel Rose Gippo" userId="S::irg9370@ads.northwestern.edu::b10bfe7e-55b9-46dd-9add-2eb52cb66d3b" providerId="AD" clId="Web-{DC570ED0-804E-A0E2-5D93-D510896DFB64}" dt="2023-10-24T13:58:55.912" v="410"/>
          <ac:spMkLst>
            <pc:docMk/>
            <pc:sldMk cId="2849312483" sldId="570"/>
            <ac:spMk id="19" creationId="{F49C1F1A-614A-5749-1A3F-78980B65ADBC}"/>
          </ac:spMkLst>
        </pc:spChg>
        <pc:spChg chg="mod">
          <ac:chgData name="Isabel Rose Gippo" userId="S::irg9370@ads.northwestern.edu::b10bfe7e-55b9-46dd-9add-2eb52cb66d3b" providerId="AD" clId="Web-{DC570ED0-804E-A0E2-5D93-D510896DFB64}" dt="2023-10-24T13:59:10.163" v="416" actId="14100"/>
          <ac:spMkLst>
            <pc:docMk/>
            <pc:sldMk cId="2849312483" sldId="570"/>
            <ac:spMk id="16386" creationId="{00000000-0000-0000-0000-000000000000}"/>
          </ac:spMkLst>
        </pc:spChg>
        <pc:picChg chg="del">
          <ac:chgData name="Isabel Rose Gippo" userId="S::irg9370@ads.northwestern.edu::b10bfe7e-55b9-46dd-9add-2eb52cb66d3b" providerId="AD" clId="Web-{DC570ED0-804E-A0E2-5D93-D510896DFB64}" dt="2023-10-24T13:56:26.938" v="382"/>
          <ac:picMkLst>
            <pc:docMk/>
            <pc:sldMk cId="2849312483" sldId="570"/>
            <ac:picMk id="2" creationId="{7088B35E-417D-2903-C144-75276D9E0FF3}"/>
          </ac:picMkLst>
        </pc:picChg>
        <pc:picChg chg="add del mod">
          <ac:chgData name="Isabel Rose Gippo" userId="S::irg9370@ads.northwestern.edu::b10bfe7e-55b9-46dd-9add-2eb52cb66d3b" providerId="AD" clId="Web-{DC570ED0-804E-A0E2-5D93-D510896DFB64}" dt="2023-10-24T14:01:02.948" v="468"/>
          <ac:picMkLst>
            <pc:docMk/>
            <pc:sldMk cId="2849312483" sldId="570"/>
            <ac:picMk id="3" creationId="{60CCB867-B87F-D599-0728-D3845AEE0902}"/>
          </ac:picMkLst>
        </pc:picChg>
        <pc:picChg chg="add mod">
          <ac:chgData name="Isabel Rose Gippo" userId="S::irg9370@ads.northwestern.edu::b10bfe7e-55b9-46dd-9add-2eb52cb66d3b" providerId="AD" clId="Web-{DC570ED0-804E-A0E2-5D93-D510896DFB64}" dt="2023-10-24T14:08:44.372" v="557" actId="1076"/>
          <ac:picMkLst>
            <pc:docMk/>
            <pc:sldMk cId="2849312483" sldId="570"/>
            <ac:picMk id="8" creationId="{59E0F2EE-E480-541D-E8E7-5C865B35C88F}"/>
          </ac:picMkLst>
        </pc:picChg>
        <pc:picChg chg="add del mod">
          <ac:chgData name="Isabel Rose Gippo" userId="S::irg9370@ads.northwestern.edu::b10bfe7e-55b9-46dd-9add-2eb52cb66d3b" providerId="AD" clId="Web-{DC570ED0-804E-A0E2-5D93-D510896DFB64}" dt="2023-10-24T14:22:57.108" v="581"/>
          <ac:picMkLst>
            <pc:docMk/>
            <pc:sldMk cId="2849312483" sldId="570"/>
            <ac:picMk id="11" creationId="{3B324708-4939-E4F4-BA17-AB8F89FD8F8A}"/>
          </ac:picMkLst>
        </pc:picChg>
        <pc:picChg chg="add del mod">
          <ac:chgData name="Isabel Rose Gippo" userId="S::irg9370@ads.northwestern.edu::b10bfe7e-55b9-46dd-9add-2eb52cb66d3b" providerId="AD" clId="Web-{DC570ED0-804E-A0E2-5D93-D510896DFB64}" dt="2023-10-24T14:24:02.657" v="623"/>
          <ac:picMkLst>
            <pc:docMk/>
            <pc:sldMk cId="2849312483" sldId="570"/>
            <ac:picMk id="12" creationId="{9F0EA567-DB06-4C7E-2FD2-D021E131A108}"/>
          </ac:picMkLst>
        </pc:picChg>
        <pc:picChg chg="add mod">
          <ac:chgData name="Isabel Rose Gippo" userId="S::irg9370@ads.northwestern.edu::b10bfe7e-55b9-46dd-9add-2eb52cb66d3b" providerId="AD" clId="Web-{DC570ED0-804E-A0E2-5D93-D510896DFB64}" dt="2023-10-24T14:25:12.957" v="624"/>
          <ac:picMkLst>
            <pc:docMk/>
            <pc:sldMk cId="2849312483" sldId="570"/>
            <ac:picMk id="13" creationId="{03BF52CD-31EC-FC46-9A7F-3B257CCAC6A4}"/>
          </ac:picMkLst>
        </pc:picChg>
      </pc:sldChg>
    </pc:docChg>
  </pc:docChgLst>
  <pc:docChgLst>
    <pc:chgData name="Alana Rivera" userId="S::arg3669@ads.northwestern.edu::fc8b707a-b7e9-4f2a-8d71-2d76819b7881" providerId="AD" clId="Web-{316D5976-A92B-4DA1-B7A8-34F7AEF9B15D}"/>
    <pc:docChg chg="modSld">
      <pc:chgData name="Alana Rivera" userId="S::arg3669@ads.northwestern.edu::fc8b707a-b7e9-4f2a-8d71-2d76819b7881" providerId="AD" clId="Web-{316D5976-A92B-4DA1-B7A8-34F7AEF9B15D}" dt="2023-10-25T16:12:34.060" v="3"/>
      <pc:docMkLst>
        <pc:docMk/>
      </pc:docMkLst>
      <pc:sldChg chg="modSp">
        <pc:chgData name="Alana Rivera" userId="S::arg3669@ads.northwestern.edu::fc8b707a-b7e9-4f2a-8d71-2d76819b7881" providerId="AD" clId="Web-{316D5976-A92B-4DA1-B7A8-34F7AEF9B15D}" dt="2023-10-25T16:12:34.060" v="3"/>
        <pc:sldMkLst>
          <pc:docMk/>
          <pc:sldMk cId="4044691067" sldId="283"/>
        </pc:sldMkLst>
        <pc:spChg chg="mod">
          <ac:chgData name="Alana Rivera" userId="S::arg3669@ads.northwestern.edu::fc8b707a-b7e9-4f2a-8d71-2d76819b7881" providerId="AD" clId="Web-{316D5976-A92B-4DA1-B7A8-34F7AEF9B15D}" dt="2023-10-25T16:12:34.060" v="3"/>
          <ac:spMkLst>
            <pc:docMk/>
            <pc:sldMk cId="4044691067" sldId="283"/>
            <ac:spMk id="3" creationId="{00000000-0000-0000-0000-000000000000}"/>
          </ac:spMkLst>
        </pc:spChg>
      </pc:sldChg>
    </pc:docChg>
  </pc:docChgLst>
  <pc:docChgLst>
    <pc:chgData name="LCaldarelli" userId="S::lcaldarelli_luriechildrens.org#ext#@nuwildcat.onmicrosoft.com::cd79b54d-c14e-4199-a04a-39c6f592e710" providerId="AD" clId="Web-{F448B036-0349-8976-DAC4-88BE6A4E488E}"/>
    <pc:docChg chg="addSld delSld modSld sldOrd">
      <pc:chgData name="LCaldarelli" userId="S::lcaldarelli_luriechildrens.org#ext#@nuwildcat.onmicrosoft.com::cd79b54d-c14e-4199-a04a-39c6f592e710" providerId="AD" clId="Web-{F448B036-0349-8976-DAC4-88BE6A4E488E}" dt="2023-11-20T05:01:58.052" v="316" actId="20577"/>
      <pc:docMkLst>
        <pc:docMk/>
      </pc:docMkLst>
      <pc:sldChg chg="modSp">
        <pc:chgData name="LCaldarelli" userId="S::lcaldarelli_luriechildrens.org#ext#@nuwildcat.onmicrosoft.com::cd79b54d-c14e-4199-a04a-39c6f592e710" providerId="AD" clId="Web-{F448B036-0349-8976-DAC4-88BE6A4E488E}" dt="2023-11-20T04:10:09.055" v="120" actId="1076"/>
        <pc:sldMkLst>
          <pc:docMk/>
          <pc:sldMk cId="3635595752" sldId="545"/>
        </pc:sldMkLst>
        <pc:spChg chg="mod">
          <ac:chgData name="LCaldarelli" userId="S::lcaldarelli_luriechildrens.org#ext#@nuwildcat.onmicrosoft.com::cd79b54d-c14e-4199-a04a-39c6f592e710" providerId="AD" clId="Web-{F448B036-0349-8976-DAC4-88BE6A4E488E}" dt="2023-11-20T04:10:09.055" v="120" actId="1076"/>
          <ac:spMkLst>
            <pc:docMk/>
            <pc:sldMk cId="3635595752" sldId="545"/>
            <ac:spMk id="2" creationId="{39AAB3FF-760A-B654-5F1B-78AD5BEB6B57}"/>
          </ac:spMkLst>
        </pc:spChg>
        <pc:spChg chg="mod">
          <ac:chgData name="LCaldarelli" userId="S::lcaldarelli_luriechildrens.org#ext#@nuwildcat.onmicrosoft.com::cd79b54d-c14e-4199-a04a-39c6f592e710" providerId="AD" clId="Web-{F448B036-0349-8976-DAC4-88BE6A4E488E}" dt="2023-11-20T04:09:59.961" v="119" actId="20577"/>
          <ac:spMkLst>
            <pc:docMk/>
            <pc:sldMk cId="3635595752" sldId="545"/>
            <ac:spMk id="3" creationId="{BFE56240-A306-0E11-425A-7323821A42F2}"/>
          </ac:spMkLst>
        </pc:spChg>
      </pc:sldChg>
      <pc:sldChg chg="modSp">
        <pc:chgData name="LCaldarelli" userId="S::lcaldarelli_luriechildrens.org#ext#@nuwildcat.onmicrosoft.com::cd79b54d-c14e-4199-a04a-39c6f592e710" providerId="AD" clId="Web-{F448B036-0349-8976-DAC4-88BE6A4E488E}" dt="2023-11-20T04:16:18.798" v="149" actId="20577"/>
        <pc:sldMkLst>
          <pc:docMk/>
          <pc:sldMk cId="1036043289" sldId="546"/>
        </pc:sldMkLst>
        <pc:spChg chg="mod">
          <ac:chgData name="LCaldarelli" userId="S::lcaldarelli_luriechildrens.org#ext#@nuwildcat.onmicrosoft.com::cd79b54d-c14e-4199-a04a-39c6f592e710" providerId="AD" clId="Web-{F448B036-0349-8976-DAC4-88BE6A4E488E}" dt="2023-11-20T04:16:18.798" v="149" actId="20577"/>
          <ac:spMkLst>
            <pc:docMk/>
            <pc:sldMk cId="1036043289" sldId="546"/>
            <ac:spMk id="3" creationId="{BACE41BD-1CAE-1299-918F-5B1678DE12B4}"/>
          </ac:spMkLst>
        </pc:spChg>
      </pc:sldChg>
      <pc:sldChg chg="modSp">
        <pc:chgData name="LCaldarelli" userId="S::lcaldarelli_luriechildrens.org#ext#@nuwildcat.onmicrosoft.com::cd79b54d-c14e-4199-a04a-39c6f592e710" providerId="AD" clId="Web-{F448B036-0349-8976-DAC4-88BE6A4E488E}" dt="2023-11-20T04:43:29.776" v="269" actId="20577"/>
        <pc:sldMkLst>
          <pc:docMk/>
          <pc:sldMk cId="3745706804" sldId="548"/>
        </pc:sldMkLst>
        <pc:spChg chg="mod">
          <ac:chgData name="LCaldarelli" userId="S::lcaldarelli_luriechildrens.org#ext#@nuwildcat.onmicrosoft.com::cd79b54d-c14e-4199-a04a-39c6f592e710" providerId="AD" clId="Web-{F448B036-0349-8976-DAC4-88BE6A4E488E}" dt="2023-11-20T04:43:29.776" v="269" actId="20577"/>
          <ac:spMkLst>
            <pc:docMk/>
            <pc:sldMk cId="3745706804" sldId="548"/>
            <ac:spMk id="3" creationId="{C0454086-94BF-0693-766D-F1659194519A}"/>
          </ac:spMkLst>
        </pc:spChg>
      </pc:sldChg>
      <pc:sldChg chg="modSp">
        <pc:chgData name="LCaldarelli" userId="S::lcaldarelli_luriechildrens.org#ext#@nuwildcat.onmicrosoft.com::cd79b54d-c14e-4199-a04a-39c6f592e710" providerId="AD" clId="Web-{F448B036-0349-8976-DAC4-88BE6A4E488E}" dt="2023-11-20T04:15:55.344" v="148" actId="20577"/>
        <pc:sldMkLst>
          <pc:docMk/>
          <pc:sldMk cId="714682852" sldId="552"/>
        </pc:sldMkLst>
        <pc:spChg chg="mod">
          <ac:chgData name="LCaldarelli" userId="S::lcaldarelli_luriechildrens.org#ext#@nuwildcat.onmicrosoft.com::cd79b54d-c14e-4199-a04a-39c6f592e710" providerId="AD" clId="Web-{F448B036-0349-8976-DAC4-88BE6A4E488E}" dt="2023-11-20T04:15:55.344" v="148" actId="20577"/>
          <ac:spMkLst>
            <pc:docMk/>
            <pc:sldMk cId="714682852" sldId="552"/>
            <ac:spMk id="39" creationId="{E29ABAB9-1C54-B808-EDD4-5D83CC77687C}"/>
          </ac:spMkLst>
        </pc:spChg>
        <pc:grpChg chg="mod">
          <ac:chgData name="LCaldarelli" userId="S::lcaldarelli_luriechildrens.org#ext#@nuwildcat.onmicrosoft.com::cd79b54d-c14e-4199-a04a-39c6f592e710" providerId="AD" clId="Web-{F448B036-0349-8976-DAC4-88BE6A4E488E}" dt="2023-11-20T04:15:42.594" v="147" actId="14100"/>
          <ac:grpSpMkLst>
            <pc:docMk/>
            <pc:sldMk cId="714682852" sldId="552"/>
            <ac:grpSpMk id="41" creationId="{61ED38C4-194D-089B-AEF0-A50E211B69E8}"/>
          </ac:grpSpMkLst>
        </pc:grpChg>
      </pc:sldChg>
      <pc:sldChg chg="modSp">
        <pc:chgData name="LCaldarelli" userId="S::lcaldarelli_luriechildrens.org#ext#@nuwildcat.onmicrosoft.com::cd79b54d-c14e-4199-a04a-39c6f592e710" providerId="AD" clId="Web-{F448B036-0349-8976-DAC4-88BE6A4E488E}" dt="2023-11-20T04:58:51.891" v="306" actId="20577"/>
        <pc:sldMkLst>
          <pc:docMk/>
          <pc:sldMk cId="1141815353" sldId="562"/>
        </pc:sldMkLst>
        <pc:spChg chg="mod">
          <ac:chgData name="LCaldarelli" userId="S::lcaldarelli_luriechildrens.org#ext#@nuwildcat.onmicrosoft.com::cd79b54d-c14e-4199-a04a-39c6f592e710" providerId="AD" clId="Web-{F448B036-0349-8976-DAC4-88BE6A4E488E}" dt="2023-11-20T04:58:51.891" v="306" actId="20577"/>
          <ac:spMkLst>
            <pc:docMk/>
            <pc:sldMk cId="1141815353" sldId="562"/>
            <ac:spMk id="360" creationId="{FE59A3A2-BFF2-9772-51D6-9CCB620AEB53}"/>
          </ac:spMkLst>
        </pc:spChg>
      </pc:sldChg>
      <pc:sldChg chg="modSp">
        <pc:chgData name="LCaldarelli" userId="S::lcaldarelli_luriechildrens.org#ext#@nuwildcat.onmicrosoft.com::cd79b54d-c14e-4199-a04a-39c6f592e710" providerId="AD" clId="Web-{F448B036-0349-8976-DAC4-88BE6A4E488E}" dt="2023-11-20T04:20:07.178" v="155" actId="20577"/>
        <pc:sldMkLst>
          <pc:docMk/>
          <pc:sldMk cId="785115983" sldId="578"/>
        </pc:sldMkLst>
        <pc:spChg chg="mod">
          <ac:chgData name="LCaldarelli" userId="S::lcaldarelli_luriechildrens.org#ext#@nuwildcat.onmicrosoft.com::cd79b54d-c14e-4199-a04a-39c6f592e710" providerId="AD" clId="Web-{F448B036-0349-8976-DAC4-88BE6A4E488E}" dt="2023-11-20T04:18:26.192" v="151" actId="20577"/>
          <ac:spMkLst>
            <pc:docMk/>
            <pc:sldMk cId="785115983" sldId="578"/>
            <ac:spMk id="44" creationId="{00000000-0000-0000-0000-000000000000}"/>
          </ac:spMkLst>
        </pc:spChg>
        <pc:spChg chg="mod">
          <ac:chgData name="LCaldarelli" userId="S::lcaldarelli_luriechildrens.org#ext#@nuwildcat.onmicrosoft.com::cd79b54d-c14e-4199-a04a-39c6f592e710" providerId="AD" clId="Web-{F448B036-0349-8976-DAC4-88BE6A4E488E}" dt="2023-11-20T04:20:07.178" v="155" actId="20577"/>
          <ac:spMkLst>
            <pc:docMk/>
            <pc:sldMk cId="785115983" sldId="578"/>
            <ac:spMk id="48" creationId="{00000000-0000-0000-0000-000000000000}"/>
          </ac:spMkLst>
        </pc:spChg>
      </pc:sldChg>
      <pc:sldChg chg="modSp">
        <pc:chgData name="LCaldarelli" userId="S::lcaldarelli_luriechildrens.org#ext#@nuwildcat.onmicrosoft.com::cd79b54d-c14e-4199-a04a-39c6f592e710" providerId="AD" clId="Web-{F448B036-0349-8976-DAC4-88BE6A4E488E}" dt="2023-11-20T04:17:49.409" v="150" actId="20577"/>
        <pc:sldMkLst>
          <pc:docMk/>
          <pc:sldMk cId="4283907660" sldId="580"/>
        </pc:sldMkLst>
        <pc:spChg chg="mod">
          <ac:chgData name="LCaldarelli" userId="S::lcaldarelli_luriechildrens.org#ext#@nuwildcat.onmicrosoft.com::cd79b54d-c14e-4199-a04a-39c6f592e710" providerId="AD" clId="Web-{F448B036-0349-8976-DAC4-88BE6A4E488E}" dt="2023-11-20T04:17:49.409" v="150" actId="20577"/>
          <ac:spMkLst>
            <pc:docMk/>
            <pc:sldMk cId="4283907660" sldId="580"/>
            <ac:spMk id="59" creationId="{00000000-0000-0000-0000-000000000000}"/>
          </ac:spMkLst>
        </pc:spChg>
      </pc:sldChg>
      <pc:sldChg chg="modSp">
        <pc:chgData name="LCaldarelli" userId="S::lcaldarelli_luriechildrens.org#ext#@nuwildcat.onmicrosoft.com::cd79b54d-c14e-4199-a04a-39c6f592e710" providerId="AD" clId="Web-{F448B036-0349-8976-DAC4-88BE6A4E488E}" dt="2023-11-20T04:15:21.797" v="142" actId="20577"/>
        <pc:sldMkLst>
          <pc:docMk/>
          <pc:sldMk cId="3726638559" sldId="616"/>
        </pc:sldMkLst>
        <pc:spChg chg="mod">
          <ac:chgData name="LCaldarelli" userId="S::lcaldarelli_luriechildrens.org#ext#@nuwildcat.onmicrosoft.com::cd79b54d-c14e-4199-a04a-39c6f592e710" providerId="AD" clId="Web-{F448B036-0349-8976-DAC4-88BE6A4E488E}" dt="2023-11-20T04:15:21.797" v="142" actId="20577"/>
          <ac:spMkLst>
            <pc:docMk/>
            <pc:sldMk cId="3726638559" sldId="616"/>
            <ac:spMk id="2175" creationId="{00000000-0000-0000-0000-000000000000}"/>
          </ac:spMkLst>
        </pc:spChg>
      </pc:sldChg>
      <pc:sldChg chg="modSp">
        <pc:chgData name="LCaldarelli" userId="S::lcaldarelli_luriechildrens.org#ext#@nuwildcat.onmicrosoft.com::cd79b54d-c14e-4199-a04a-39c6f592e710" providerId="AD" clId="Web-{F448B036-0349-8976-DAC4-88BE6A4E488E}" dt="2023-11-20T04:01:36.480" v="94" actId="1076"/>
        <pc:sldMkLst>
          <pc:docMk/>
          <pc:sldMk cId="3572565421" sldId="652"/>
        </pc:sldMkLst>
        <pc:spChg chg="mod">
          <ac:chgData name="LCaldarelli" userId="S::lcaldarelli_luriechildrens.org#ext#@nuwildcat.onmicrosoft.com::cd79b54d-c14e-4199-a04a-39c6f592e710" providerId="AD" clId="Web-{F448B036-0349-8976-DAC4-88BE6A4E488E}" dt="2023-11-20T04:01:36.480" v="94" actId="1076"/>
          <ac:spMkLst>
            <pc:docMk/>
            <pc:sldMk cId="3572565421" sldId="652"/>
            <ac:spMk id="2" creationId="{254DF95E-4E67-BAF0-2898-584D247DD41D}"/>
          </ac:spMkLst>
        </pc:spChg>
      </pc:sldChg>
      <pc:sldChg chg="modSp">
        <pc:chgData name="LCaldarelli" userId="S::lcaldarelli_luriechildrens.org#ext#@nuwildcat.onmicrosoft.com::cd79b54d-c14e-4199-a04a-39c6f592e710" providerId="AD" clId="Web-{F448B036-0349-8976-DAC4-88BE6A4E488E}" dt="2023-11-20T04:02:36.763" v="98" actId="1076"/>
        <pc:sldMkLst>
          <pc:docMk/>
          <pc:sldMk cId="4023770579" sldId="654"/>
        </pc:sldMkLst>
        <pc:spChg chg="mod">
          <ac:chgData name="LCaldarelli" userId="S::lcaldarelli_luriechildrens.org#ext#@nuwildcat.onmicrosoft.com::cd79b54d-c14e-4199-a04a-39c6f592e710" providerId="AD" clId="Web-{F448B036-0349-8976-DAC4-88BE6A4E488E}" dt="2023-11-20T04:02:36.763" v="98" actId="1076"/>
          <ac:spMkLst>
            <pc:docMk/>
            <pc:sldMk cId="4023770579" sldId="654"/>
            <ac:spMk id="2" creationId="{2D358DD0-2AA0-AB8F-45B1-8C96C2105FD9}"/>
          </ac:spMkLst>
        </pc:spChg>
      </pc:sldChg>
      <pc:sldChg chg="ord">
        <pc:chgData name="LCaldarelli" userId="S::lcaldarelli_luriechildrens.org#ext#@nuwildcat.onmicrosoft.com::cd79b54d-c14e-4199-a04a-39c6f592e710" providerId="AD" clId="Web-{F448B036-0349-8976-DAC4-88BE6A4E488E}" dt="2023-11-20T04:14:54.139" v="140"/>
        <pc:sldMkLst>
          <pc:docMk/>
          <pc:sldMk cId="3550543422" sldId="655"/>
        </pc:sldMkLst>
      </pc:sldChg>
      <pc:sldChg chg="modSp">
        <pc:chgData name="LCaldarelli" userId="S::lcaldarelli_luriechildrens.org#ext#@nuwildcat.onmicrosoft.com::cd79b54d-c14e-4199-a04a-39c6f592e710" providerId="AD" clId="Web-{F448B036-0349-8976-DAC4-88BE6A4E488E}" dt="2023-11-20T04:59:24.454" v="311" actId="20577"/>
        <pc:sldMkLst>
          <pc:docMk/>
          <pc:sldMk cId="3336998141" sldId="681"/>
        </pc:sldMkLst>
        <pc:spChg chg="mod">
          <ac:chgData name="LCaldarelli" userId="S::lcaldarelli_luriechildrens.org#ext#@nuwildcat.onmicrosoft.com::cd79b54d-c14e-4199-a04a-39c6f592e710" providerId="AD" clId="Web-{F448B036-0349-8976-DAC4-88BE6A4E488E}" dt="2023-11-20T04:59:24.454" v="311" actId="20577"/>
          <ac:spMkLst>
            <pc:docMk/>
            <pc:sldMk cId="3336998141" sldId="681"/>
            <ac:spMk id="3" creationId="{00000000-0000-0000-0000-000000000000}"/>
          </ac:spMkLst>
        </pc:spChg>
      </pc:sldChg>
      <pc:sldChg chg="ord">
        <pc:chgData name="LCaldarelli" userId="S::lcaldarelli_luriechildrens.org#ext#@nuwildcat.onmicrosoft.com::cd79b54d-c14e-4199-a04a-39c6f592e710" providerId="AD" clId="Web-{F448B036-0349-8976-DAC4-88BE6A4E488E}" dt="2023-11-20T04:56:59.014" v="304"/>
        <pc:sldMkLst>
          <pc:docMk/>
          <pc:sldMk cId="1641636598" sldId="687"/>
        </pc:sldMkLst>
      </pc:sldChg>
      <pc:sldChg chg="ord">
        <pc:chgData name="LCaldarelli" userId="S::lcaldarelli_luriechildrens.org#ext#@nuwildcat.onmicrosoft.com::cd79b54d-c14e-4199-a04a-39c6f592e710" providerId="AD" clId="Web-{F448B036-0349-8976-DAC4-88BE6A4E488E}" dt="2023-11-20T04:53:22.540" v="300"/>
        <pc:sldMkLst>
          <pc:docMk/>
          <pc:sldMk cId="661046635" sldId="694"/>
        </pc:sldMkLst>
      </pc:sldChg>
      <pc:sldChg chg="ord">
        <pc:chgData name="LCaldarelli" userId="S::lcaldarelli_luriechildrens.org#ext#@nuwildcat.onmicrosoft.com::cd79b54d-c14e-4199-a04a-39c6f592e710" providerId="AD" clId="Web-{F448B036-0349-8976-DAC4-88BE6A4E488E}" dt="2023-11-20T04:53:35.634" v="301"/>
        <pc:sldMkLst>
          <pc:docMk/>
          <pc:sldMk cId="3174384986" sldId="695"/>
        </pc:sldMkLst>
      </pc:sldChg>
      <pc:sldChg chg="ord">
        <pc:chgData name="LCaldarelli" userId="S::lcaldarelli_luriechildrens.org#ext#@nuwildcat.onmicrosoft.com::cd79b54d-c14e-4199-a04a-39c6f592e710" providerId="AD" clId="Web-{F448B036-0349-8976-DAC4-88BE6A4E488E}" dt="2023-11-20T04:53:50.572" v="302"/>
        <pc:sldMkLst>
          <pc:docMk/>
          <pc:sldMk cId="4074859317" sldId="696"/>
        </pc:sldMkLst>
      </pc:sldChg>
      <pc:sldChg chg="ord">
        <pc:chgData name="LCaldarelli" userId="S::lcaldarelli_luriechildrens.org#ext#@nuwildcat.onmicrosoft.com::cd79b54d-c14e-4199-a04a-39c6f592e710" providerId="AD" clId="Web-{F448B036-0349-8976-DAC4-88BE6A4E488E}" dt="2023-11-20T04:55:59.122" v="303"/>
        <pc:sldMkLst>
          <pc:docMk/>
          <pc:sldMk cId="1549218491" sldId="697"/>
        </pc:sldMkLst>
      </pc:sldChg>
      <pc:sldChg chg="modSp">
        <pc:chgData name="LCaldarelli" userId="S::lcaldarelli_luriechildrens.org#ext#@nuwildcat.onmicrosoft.com::cd79b54d-c14e-4199-a04a-39c6f592e710" providerId="AD" clId="Web-{F448B036-0349-8976-DAC4-88BE6A4E488E}" dt="2023-11-20T04:50:06.207" v="295" actId="20577"/>
        <pc:sldMkLst>
          <pc:docMk/>
          <pc:sldMk cId="2547146411" sldId="699"/>
        </pc:sldMkLst>
        <pc:spChg chg="mod">
          <ac:chgData name="LCaldarelli" userId="S::lcaldarelli_luriechildrens.org#ext#@nuwildcat.onmicrosoft.com::cd79b54d-c14e-4199-a04a-39c6f592e710" providerId="AD" clId="Web-{F448B036-0349-8976-DAC4-88BE6A4E488E}" dt="2023-11-20T04:48:46.080" v="294" actId="1076"/>
          <ac:spMkLst>
            <pc:docMk/>
            <pc:sldMk cId="2547146411" sldId="699"/>
            <ac:spMk id="3" creationId="{00000000-0000-0000-0000-000000000000}"/>
          </ac:spMkLst>
        </pc:spChg>
        <pc:spChg chg="mod">
          <ac:chgData name="LCaldarelli" userId="S::lcaldarelli_luriechildrens.org#ext#@nuwildcat.onmicrosoft.com::cd79b54d-c14e-4199-a04a-39c6f592e710" providerId="AD" clId="Web-{F448B036-0349-8976-DAC4-88BE6A4E488E}" dt="2023-11-20T04:50:06.207" v="295" actId="20577"/>
          <ac:spMkLst>
            <pc:docMk/>
            <pc:sldMk cId="2547146411" sldId="699"/>
            <ac:spMk id="36" creationId="{6DDD1FA6-DDF8-552B-4E86-7E808427ADE7}"/>
          </ac:spMkLst>
        </pc:spChg>
      </pc:sldChg>
      <pc:sldChg chg="modSp">
        <pc:chgData name="LCaldarelli" userId="S::lcaldarelli_luriechildrens.org#ext#@nuwildcat.onmicrosoft.com::cd79b54d-c14e-4199-a04a-39c6f592e710" providerId="AD" clId="Web-{F448B036-0349-8976-DAC4-88BE6A4E488E}" dt="2023-11-20T04:51:01.193" v="299" actId="20577"/>
        <pc:sldMkLst>
          <pc:docMk/>
          <pc:sldMk cId="2361021200" sldId="700"/>
        </pc:sldMkLst>
        <pc:graphicFrameChg chg="modGraphic">
          <ac:chgData name="LCaldarelli" userId="S::lcaldarelli_luriechildrens.org#ext#@nuwildcat.onmicrosoft.com::cd79b54d-c14e-4199-a04a-39c6f592e710" providerId="AD" clId="Web-{F448B036-0349-8976-DAC4-88BE6A4E488E}" dt="2023-11-20T04:51:01.193" v="299" actId="20577"/>
          <ac:graphicFrameMkLst>
            <pc:docMk/>
            <pc:sldMk cId="2361021200" sldId="700"/>
            <ac:graphicFrameMk id="7" creationId="{F06CF2E9-18E9-F336-FAF0-9ACB11E023F2}"/>
          </ac:graphicFrameMkLst>
        </pc:graphicFrameChg>
      </pc:sldChg>
      <pc:sldChg chg="ord">
        <pc:chgData name="LCaldarelli" userId="S::lcaldarelli_luriechildrens.org#ext#@nuwildcat.onmicrosoft.com::cd79b54d-c14e-4199-a04a-39c6f592e710" providerId="AD" clId="Web-{F448B036-0349-8976-DAC4-88BE6A4E488E}" dt="2023-11-20T04:14:40.108" v="139"/>
        <pc:sldMkLst>
          <pc:docMk/>
          <pc:sldMk cId="3080095507" sldId="703"/>
        </pc:sldMkLst>
      </pc:sldChg>
      <pc:sldChg chg="modSp">
        <pc:chgData name="LCaldarelli" userId="S::lcaldarelli_luriechildrens.org#ext#@nuwildcat.onmicrosoft.com::cd79b54d-c14e-4199-a04a-39c6f592e710" providerId="AD" clId="Web-{F448B036-0349-8976-DAC4-88BE6A4E488E}" dt="2023-11-20T04:01:16.589" v="92" actId="20577"/>
        <pc:sldMkLst>
          <pc:docMk/>
          <pc:sldMk cId="1949613945" sldId="705"/>
        </pc:sldMkLst>
        <pc:spChg chg="mod">
          <ac:chgData name="LCaldarelli" userId="S::lcaldarelli_luriechildrens.org#ext#@nuwildcat.onmicrosoft.com::cd79b54d-c14e-4199-a04a-39c6f592e710" providerId="AD" clId="Web-{F448B036-0349-8976-DAC4-88BE6A4E488E}" dt="2023-11-20T04:01:16.589" v="92" actId="20577"/>
          <ac:spMkLst>
            <pc:docMk/>
            <pc:sldMk cId="1949613945" sldId="705"/>
            <ac:spMk id="2" creationId="{2DE9407A-4283-B111-345C-31D89DFF03A2}"/>
          </ac:spMkLst>
        </pc:spChg>
      </pc:sldChg>
      <pc:sldChg chg="modSp ord">
        <pc:chgData name="LCaldarelli" userId="S::lcaldarelli_luriechildrens.org#ext#@nuwildcat.onmicrosoft.com::cd79b54d-c14e-4199-a04a-39c6f592e710" providerId="AD" clId="Web-{F448B036-0349-8976-DAC4-88BE6A4E488E}" dt="2023-11-20T04:14:01.310" v="134" actId="20577"/>
        <pc:sldMkLst>
          <pc:docMk/>
          <pc:sldMk cId="790635443" sldId="706"/>
        </pc:sldMkLst>
        <pc:spChg chg="mod">
          <ac:chgData name="LCaldarelli" userId="S::lcaldarelli_luriechildrens.org#ext#@nuwildcat.onmicrosoft.com::cd79b54d-c14e-4199-a04a-39c6f592e710" providerId="AD" clId="Web-{F448B036-0349-8976-DAC4-88BE6A4E488E}" dt="2023-11-20T04:09:02.991" v="115" actId="1076"/>
          <ac:spMkLst>
            <pc:docMk/>
            <pc:sldMk cId="790635443" sldId="706"/>
            <ac:spMk id="2" creationId="{00000000-0000-0000-0000-000000000000}"/>
          </ac:spMkLst>
        </pc:spChg>
        <pc:spChg chg="mod">
          <ac:chgData name="LCaldarelli" userId="S::lcaldarelli_luriechildrens.org#ext#@nuwildcat.onmicrosoft.com::cd79b54d-c14e-4199-a04a-39c6f592e710" providerId="AD" clId="Web-{F448B036-0349-8976-DAC4-88BE6A4E488E}" dt="2023-11-20T04:14:01.310" v="134" actId="20577"/>
          <ac:spMkLst>
            <pc:docMk/>
            <pc:sldMk cId="790635443" sldId="706"/>
            <ac:spMk id="3" creationId="{00000000-0000-0000-0000-000000000000}"/>
          </ac:spMkLst>
        </pc:spChg>
      </pc:sldChg>
      <pc:sldChg chg="modSp">
        <pc:chgData name="LCaldarelli" userId="S::lcaldarelli_luriechildrens.org#ext#@nuwildcat.onmicrosoft.com::cd79b54d-c14e-4199-a04a-39c6f592e710" providerId="AD" clId="Web-{F448B036-0349-8976-DAC4-88BE6A4E488E}" dt="2023-11-20T03:57:16.459" v="72" actId="20577"/>
        <pc:sldMkLst>
          <pc:docMk/>
          <pc:sldMk cId="3859034132" sldId="711"/>
        </pc:sldMkLst>
        <pc:spChg chg="mod">
          <ac:chgData name="LCaldarelli" userId="S::lcaldarelli_luriechildrens.org#ext#@nuwildcat.onmicrosoft.com::cd79b54d-c14e-4199-a04a-39c6f592e710" providerId="AD" clId="Web-{F448B036-0349-8976-DAC4-88BE6A4E488E}" dt="2023-11-20T03:57:16.459" v="72" actId="20577"/>
          <ac:spMkLst>
            <pc:docMk/>
            <pc:sldMk cId="3859034132" sldId="711"/>
            <ac:spMk id="3780" creationId="{00000000-0000-0000-0000-000000000000}"/>
          </ac:spMkLst>
        </pc:spChg>
      </pc:sldChg>
      <pc:sldChg chg="modSp">
        <pc:chgData name="LCaldarelli" userId="S::lcaldarelli_luriechildrens.org#ext#@nuwildcat.onmicrosoft.com::cd79b54d-c14e-4199-a04a-39c6f592e710" providerId="AD" clId="Web-{F448B036-0349-8976-DAC4-88BE6A4E488E}" dt="2023-11-20T04:00:05.650" v="86" actId="1076"/>
        <pc:sldMkLst>
          <pc:docMk/>
          <pc:sldMk cId="4179369718" sldId="713"/>
        </pc:sldMkLst>
        <pc:spChg chg="mod">
          <ac:chgData name="LCaldarelli" userId="S::lcaldarelli_luriechildrens.org#ext#@nuwildcat.onmicrosoft.com::cd79b54d-c14e-4199-a04a-39c6f592e710" providerId="AD" clId="Web-{F448B036-0349-8976-DAC4-88BE6A4E488E}" dt="2023-11-20T04:00:05.650" v="86" actId="1076"/>
          <ac:spMkLst>
            <pc:docMk/>
            <pc:sldMk cId="4179369718" sldId="713"/>
            <ac:spMk id="2" creationId="{00000000-0000-0000-0000-000000000000}"/>
          </ac:spMkLst>
        </pc:spChg>
      </pc:sldChg>
      <pc:sldChg chg="modSp">
        <pc:chgData name="LCaldarelli" userId="S::lcaldarelli_luriechildrens.org#ext#@nuwildcat.onmicrosoft.com::cd79b54d-c14e-4199-a04a-39c6f592e710" providerId="AD" clId="Web-{F448B036-0349-8976-DAC4-88BE6A4E488E}" dt="2023-11-20T03:46:52.350" v="0" actId="1076"/>
        <pc:sldMkLst>
          <pc:docMk/>
          <pc:sldMk cId="3124210322" sldId="714"/>
        </pc:sldMkLst>
        <pc:picChg chg="mod">
          <ac:chgData name="LCaldarelli" userId="S::lcaldarelli_luriechildrens.org#ext#@nuwildcat.onmicrosoft.com::cd79b54d-c14e-4199-a04a-39c6f592e710" providerId="AD" clId="Web-{F448B036-0349-8976-DAC4-88BE6A4E488E}" dt="2023-11-20T03:46:52.350" v="0" actId="1076"/>
          <ac:picMkLst>
            <pc:docMk/>
            <pc:sldMk cId="3124210322" sldId="714"/>
            <ac:picMk id="6" creationId="{9EE6AC8F-4DC4-191C-AA4C-B047F4935B19}"/>
          </ac:picMkLst>
        </pc:picChg>
      </pc:sldChg>
      <pc:sldChg chg="modSp">
        <pc:chgData name="LCaldarelli" userId="S::lcaldarelli_luriechildrens.org#ext#@nuwildcat.onmicrosoft.com::cd79b54d-c14e-4199-a04a-39c6f592e710" providerId="AD" clId="Web-{F448B036-0349-8976-DAC4-88BE6A4E488E}" dt="2023-11-20T03:57:02.989" v="71" actId="1076"/>
        <pc:sldMkLst>
          <pc:docMk/>
          <pc:sldMk cId="4091814342" sldId="715"/>
        </pc:sldMkLst>
        <pc:spChg chg="mod">
          <ac:chgData name="LCaldarelli" userId="S::lcaldarelli_luriechildrens.org#ext#@nuwildcat.onmicrosoft.com::cd79b54d-c14e-4199-a04a-39c6f592e710" providerId="AD" clId="Web-{F448B036-0349-8976-DAC4-88BE6A4E488E}" dt="2023-11-20T03:56:53.520" v="70" actId="20577"/>
          <ac:spMkLst>
            <pc:docMk/>
            <pc:sldMk cId="4091814342" sldId="715"/>
            <ac:spMk id="2" creationId="{8802BA79-C4E2-3A24-1316-4AC6D3F66837}"/>
          </ac:spMkLst>
        </pc:spChg>
        <pc:spChg chg="mod">
          <ac:chgData name="LCaldarelli" userId="S::lcaldarelli_luriechildrens.org#ext#@nuwildcat.onmicrosoft.com::cd79b54d-c14e-4199-a04a-39c6f592e710" providerId="AD" clId="Web-{F448B036-0349-8976-DAC4-88BE6A4E488E}" dt="2023-11-20T03:56:34.801" v="69" actId="20577"/>
          <ac:spMkLst>
            <pc:docMk/>
            <pc:sldMk cId="4091814342" sldId="715"/>
            <ac:spMk id="3" creationId="{0608F2C2-83F0-41C5-A0E1-33DE05A98582}"/>
          </ac:spMkLst>
        </pc:spChg>
        <pc:picChg chg="mod">
          <ac:chgData name="LCaldarelli" userId="S::lcaldarelli_luriechildrens.org#ext#@nuwildcat.onmicrosoft.com::cd79b54d-c14e-4199-a04a-39c6f592e710" providerId="AD" clId="Web-{F448B036-0349-8976-DAC4-88BE6A4E488E}" dt="2023-11-20T03:57:02.989" v="71" actId="1076"/>
          <ac:picMkLst>
            <pc:docMk/>
            <pc:sldMk cId="4091814342" sldId="715"/>
            <ac:picMk id="6" creationId="{302BBFF9-D69A-D1E9-E01C-7C15E1F6D1A6}"/>
          </ac:picMkLst>
        </pc:picChg>
      </pc:sldChg>
      <pc:sldChg chg="modSp">
        <pc:chgData name="LCaldarelli" userId="S::lcaldarelli_luriechildrens.org#ext#@nuwildcat.onmicrosoft.com::cd79b54d-c14e-4199-a04a-39c6f592e710" providerId="AD" clId="Web-{F448B036-0349-8976-DAC4-88BE6A4E488E}" dt="2023-11-20T04:43:12.182" v="268" actId="20577"/>
        <pc:sldMkLst>
          <pc:docMk/>
          <pc:sldMk cId="920926381" sldId="718"/>
        </pc:sldMkLst>
        <pc:spChg chg="mod">
          <ac:chgData name="LCaldarelli" userId="S::lcaldarelli_luriechildrens.org#ext#@nuwildcat.onmicrosoft.com::cd79b54d-c14e-4199-a04a-39c6f592e710" providerId="AD" clId="Web-{F448B036-0349-8976-DAC4-88BE6A4E488E}" dt="2023-11-20T04:43:12.182" v="268" actId="20577"/>
          <ac:spMkLst>
            <pc:docMk/>
            <pc:sldMk cId="920926381" sldId="718"/>
            <ac:spMk id="7" creationId="{C4CE6283-A808-AE07-353B-1EEB0D5BF6FD}"/>
          </ac:spMkLst>
        </pc:spChg>
      </pc:sldChg>
      <pc:sldChg chg="modSp">
        <pc:chgData name="LCaldarelli" userId="S::lcaldarelli_luriechildrens.org#ext#@nuwildcat.onmicrosoft.com::cd79b54d-c14e-4199-a04a-39c6f592e710" providerId="AD" clId="Web-{F448B036-0349-8976-DAC4-88BE6A4E488E}" dt="2023-11-20T04:40:05.381" v="266" actId="20577"/>
        <pc:sldMkLst>
          <pc:docMk/>
          <pc:sldMk cId="97208790" sldId="723"/>
        </pc:sldMkLst>
        <pc:spChg chg="mod">
          <ac:chgData name="LCaldarelli" userId="S::lcaldarelli_luriechildrens.org#ext#@nuwildcat.onmicrosoft.com::cd79b54d-c14e-4199-a04a-39c6f592e710" providerId="AD" clId="Web-{F448B036-0349-8976-DAC4-88BE6A4E488E}" dt="2023-11-20T04:40:05.381" v="266" actId="20577"/>
          <ac:spMkLst>
            <pc:docMk/>
            <pc:sldMk cId="97208790" sldId="723"/>
            <ac:spMk id="8" creationId="{24CD5883-74F0-901B-1AE1-A53D4170658C}"/>
          </ac:spMkLst>
        </pc:spChg>
        <pc:spChg chg="mod">
          <ac:chgData name="LCaldarelli" userId="S::lcaldarelli_luriechildrens.org#ext#@nuwildcat.onmicrosoft.com::cd79b54d-c14e-4199-a04a-39c6f592e710" providerId="AD" clId="Web-{F448B036-0349-8976-DAC4-88BE6A4E488E}" dt="2023-11-20T04:39:32.318" v="262" actId="20577"/>
          <ac:spMkLst>
            <pc:docMk/>
            <pc:sldMk cId="97208790" sldId="723"/>
            <ac:spMk id="10" creationId="{8BCC0F5C-3791-38AB-6A34-E5D5FCAACFCB}"/>
          </ac:spMkLst>
        </pc:spChg>
        <pc:picChg chg="mod">
          <ac:chgData name="LCaldarelli" userId="S::lcaldarelli_luriechildrens.org#ext#@nuwildcat.onmicrosoft.com::cd79b54d-c14e-4199-a04a-39c6f592e710" providerId="AD" clId="Web-{F448B036-0349-8976-DAC4-88BE6A4E488E}" dt="2023-11-20T04:39:45.646" v="263" actId="1076"/>
          <ac:picMkLst>
            <pc:docMk/>
            <pc:sldMk cId="97208790" sldId="723"/>
            <ac:picMk id="17" creationId="{1E6C1ABD-FF6C-3DED-E717-DF57CD6F7C44}"/>
          </ac:picMkLst>
        </pc:picChg>
      </pc:sldChg>
      <pc:sldChg chg="modSp">
        <pc:chgData name="LCaldarelli" userId="S::lcaldarelli_luriechildrens.org#ext#@nuwildcat.onmicrosoft.com::cd79b54d-c14e-4199-a04a-39c6f592e710" providerId="AD" clId="Web-{F448B036-0349-8976-DAC4-88BE6A4E488E}" dt="2023-11-20T04:39:12.005" v="258" actId="20577"/>
        <pc:sldMkLst>
          <pc:docMk/>
          <pc:sldMk cId="2422191514" sldId="724"/>
        </pc:sldMkLst>
        <pc:spChg chg="mod">
          <ac:chgData name="LCaldarelli" userId="S::lcaldarelli_luriechildrens.org#ext#@nuwildcat.onmicrosoft.com::cd79b54d-c14e-4199-a04a-39c6f592e710" providerId="AD" clId="Web-{F448B036-0349-8976-DAC4-88BE6A4E488E}" dt="2023-11-20T04:39:12.005" v="258" actId="20577"/>
          <ac:spMkLst>
            <pc:docMk/>
            <pc:sldMk cId="2422191514" sldId="724"/>
            <ac:spMk id="3" creationId="{CF76BAF3-0D68-BE52-7B63-AF42CBFD04CB}"/>
          </ac:spMkLst>
        </pc:spChg>
        <pc:spChg chg="mod">
          <ac:chgData name="LCaldarelli" userId="S::lcaldarelli_luriechildrens.org#ext#@nuwildcat.onmicrosoft.com::cd79b54d-c14e-4199-a04a-39c6f592e710" providerId="AD" clId="Web-{F448B036-0349-8976-DAC4-88BE6A4E488E}" dt="2023-11-20T04:38:26.660" v="251" actId="20577"/>
          <ac:spMkLst>
            <pc:docMk/>
            <pc:sldMk cId="2422191514" sldId="724"/>
            <ac:spMk id="7" creationId="{B36D3553-B1A4-1B35-3CEF-32DDF6A472CD}"/>
          </ac:spMkLst>
        </pc:spChg>
        <pc:spChg chg="mod">
          <ac:chgData name="LCaldarelli" userId="S::lcaldarelli_luriechildrens.org#ext#@nuwildcat.onmicrosoft.com::cd79b54d-c14e-4199-a04a-39c6f592e710" providerId="AD" clId="Web-{F448B036-0349-8976-DAC4-88BE6A4E488E}" dt="2023-11-20T04:38:08.269" v="249" actId="20577"/>
          <ac:spMkLst>
            <pc:docMk/>
            <pc:sldMk cId="2422191514" sldId="724"/>
            <ac:spMk id="12" creationId="{78126F38-8B56-6129-962F-5469035C8159}"/>
          </ac:spMkLst>
        </pc:spChg>
      </pc:sldChg>
      <pc:sldChg chg="modSp">
        <pc:chgData name="LCaldarelli" userId="S::lcaldarelli_luriechildrens.org#ext#@nuwildcat.onmicrosoft.com::cd79b54d-c14e-4199-a04a-39c6f592e710" providerId="AD" clId="Web-{F448B036-0349-8976-DAC4-88BE6A4E488E}" dt="2023-11-20T04:35:41.403" v="247" actId="20577"/>
        <pc:sldMkLst>
          <pc:docMk/>
          <pc:sldMk cId="3458386910" sldId="725"/>
        </pc:sldMkLst>
        <pc:spChg chg="mod">
          <ac:chgData name="LCaldarelli" userId="S::lcaldarelli_luriechildrens.org#ext#@nuwildcat.onmicrosoft.com::cd79b54d-c14e-4199-a04a-39c6f592e710" providerId="AD" clId="Web-{F448B036-0349-8976-DAC4-88BE6A4E488E}" dt="2023-11-20T04:35:22.293" v="245" actId="20577"/>
          <ac:spMkLst>
            <pc:docMk/>
            <pc:sldMk cId="3458386910" sldId="725"/>
            <ac:spMk id="3" creationId="{E820A2E4-4F18-6799-9BD9-B308061CC76C}"/>
          </ac:spMkLst>
        </pc:spChg>
        <pc:spChg chg="mod">
          <ac:chgData name="LCaldarelli" userId="S::lcaldarelli_luriechildrens.org#ext#@nuwildcat.onmicrosoft.com::cd79b54d-c14e-4199-a04a-39c6f592e710" providerId="AD" clId="Web-{F448B036-0349-8976-DAC4-88BE6A4E488E}" dt="2023-11-20T04:35:41.403" v="247" actId="20577"/>
          <ac:spMkLst>
            <pc:docMk/>
            <pc:sldMk cId="3458386910" sldId="725"/>
            <ac:spMk id="6" creationId="{ADFC1F5A-A2FF-8C65-F763-941E2E4DFF8C}"/>
          </ac:spMkLst>
        </pc:spChg>
        <pc:spChg chg="mod">
          <ac:chgData name="LCaldarelli" userId="S::lcaldarelli_luriechildrens.org#ext#@nuwildcat.onmicrosoft.com::cd79b54d-c14e-4199-a04a-39c6f592e710" providerId="AD" clId="Web-{F448B036-0349-8976-DAC4-88BE6A4E488E}" dt="2023-11-20T04:35:11.996" v="242" actId="20577"/>
          <ac:spMkLst>
            <pc:docMk/>
            <pc:sldMk cId="3458386910" sldId="725"/>
            <ac:spMk id="16386" creationId="{00000000-0000-0000-0000-000000000000}"/>
          </ac:spMkLst>
        </pc:spChg>
      </pc:sldChg>
      <pc:sldChg chg="modSp">
        <pc:chgData name="LCaldarelli" userId="S::lcaldarelli_luriechildrens.org#ext#@nuwildcat.onmicrosoft.com::cd79b54d-c14e-4199-a04a-39c6f592e710" providerId="AD" clId="Web-{F448B036-0349-8976-DAC4-88BE6A4E488E}" dt="2023-11-20T04:33:54.276" v="214" actId="1076"/>
        <pc:sldMkLst>
          <pc:docMk/>
          <pc:sldMk cId="1390059426" sldId="726"/>
        </pc:sldMkLst>
        <pc:spChg chg="mod">
          <ac:chgData name="LCaldarelli" userId="S::lcaldarelli_luriechildrens.org#ext#@nuwildcat.onmicrosoft.com::cd79b54d-c14e-4199-a04a-39c6f592e710" providerId="AD" clId="Web-{F448B036-0349-8976-DAC4-88BE6A4E488E}" dt="2023-11-20T04:32:42.227" v="211" actId="20577"/>
          <ac:spMkLst>
            <pc:docMk/>
            <pc:sldMk cId="1390059426" sldId="726"/>
            <ac:spMk id="25" creationId="{6DD46D80-F576-4F56-C047-1645F85E88F8}"/>
          </ac:spMkLst>
        </pc:spChg>
        <pc:spChg chg="mod">
          <ac:chgData name="LCaldarelli" userId="S::lcaldarelli_luriechildrens.org#ext#@nuwildcat.onmicrosoft.com::cd79b54d-c14e-4199-a04a-39c6f592e710" providerId="AD" clId="Web-{F448B036-0349-8976-DAC4-88BE6A4E488E}" dt="2023-11-20T04:32:52.227" v="213" actId="20577"/>
          <ac:spMkLst>
            <pc:docMk/>
            <pc:sldMk cId="1390059426" sldId="726"/>
            <ac:spMk id="26" creationId="{585B113D-37B0-A626-E412-E3D462910528}"/>
          </ac:spMkLst>
        </pc:spChg>
        <pc:spChg chg="mod">
          <ac:chgData name="LCaldarelli" userId="S::lcaldarelli_luriechildrens.org#ext#@nuwildcat.onmicrosoft.com::cd79b54d-c14e-4199-a04a-39c6f592e710" providerId="AD" clId="Web-{F448B036-0349-8976-DAC4-88BE6A4E488E}" dt="2023-11-20T04:33:54.276" v="214" actId="1076"/>
          <ac:spMkLst>
            <pc:docMk/>
            <pc:sldMk cId="1390059426" sldId="726"/>
            <ac:spMk id="28" creationId="{93A8A5E1-3594-CBAC-27AF-5DFAE0C2C2B3}"/>
          </ac:spMkLst>
        </pc:spChg>
      </pc:sldChg>
      <pc:sldChg chg="modSp">
        <pc:chgData name="LCaldarelli" userId="S::lcaldarelli_luriechildrens.org#ext#@nuwildcat.onmicrosoft.com::cd79b54d-c14e-4199-a04a-39c6f592e710" providerId="AD" clId="Web-{F448B036-0349-8976-DAC4-88BE6A4E488E}" dt="2023-11-20T04:31:57.570" v="210" actId="1076"/>
        <pc:sldMkLst>
          <pc:docMk/>
          <pc:sldMk cId="3339906105" sldId="727"/>
        </pc:sldMkLst>
        <pc:spChg chg="mod">
          <ac:chgData name="LCaldarelli" userId="S::lcaldarelli_luriechildrens.org#ext#@nuwildcat.onmicrosoft.com::cd79b54d-c14e-4199-a04a-39c6f592e710" providerId="AD" clId="Web-{F448B036-0349-8976-DAC4-88BE6A4E488E}" dt="2023-11-20T04:31:57.570" v="210" actId="1076"/>
          <ac:spMkLst>
            <pc:docMk/>
            <pc:sldMk cId="3339906105" sldId="727"/>
            <ac:spMk id="25" creationId="{6DD46D80-F576-4F56-C047-1645F85E88F8}"/>
          </ac:spMkLst>
        </pc:spChg>
        <pc:spChg chg="mod">
          <ac:chgData name="LCaldarelli" userId="S::lcaldarelli_luriechildrens.org#ext#@nuwildcat.onmicrosoft.com::cd79b54d-c14e-4199-a04a-39c6f592e710" providerId="AD" clId="Web-{F448B036-0349-8976-DAC4-88BE6A4E488E}" dt="2023-11-20T04:31:45.445" v="209" actId="20577"/>
          <ac:spMkLst>
            <pc:docMk/>
            <pc:sldMk cId="3339906105" sldId="727"/>
            <ac:spMk id="26" creationId="{585B113D-37B0-A626-E412-E3D462910528}"/>
          </ac:spMkLst>
        </pc:spChg>
        <pc:spChg chg="mod">
          <ac:chgData name="LCaldarelli" userId="S::lcaldarelli_luriechildrens.org#ext#@nuwildcat.onmicrosoft.com::cd79b54d-c14e-4199-a04a-39c6f592e710" providerId="AD" clId="Web-{F448B036-0349-8976-DAC4-88BE6A4E488E}" dt="2023-11-20T04:31:12.631" v="206" actId="1076"/>
          <ac:spMkLst>
            <pc:docMk/>
            <pc:sldMk cId="3339906105" sldId="727"/>
            <ac:spMk id="28" creationId="{93A8A5E1-3594-CBAC-27AF-5DFAE0C2C2B3}"/>
          </ac:spMkLst>
        </pc:spChg>
      </pc:sldChg>
      <pc:sldChg chg="modSp">
        <pc:chgData name="LCaldarelli" userId="S::lcaldarelli_luriechildrens.org#ext#@nuwildcat.onmicrosoft.com::cd79b54d-c14e-4199-a04a-39c6f592e710" providerId="AD" clId="Web-{F448B036-0349-8976-DAC4-88BE6A4E488E}" dt="2023-11-20T04:30:28.411" v="205" actId="1076"/>
        <pc:sldMkLst>
          <pc:docMk/>
          <pc:sldMk cId="2917591221" sldId="728"/>
        </pc:sldMkLst>
        <pc:spChg chg="mod">
          <ac:chgData name="LCaldarelli" userId="S::lcaldarelli_luriechildrens.org#ext#@nuwildcat.onmicrosoft.com::cd79b54d-c14e-4199-a04a-39c6f592e710" providerId="AD" clId="Web-{F448B036-0349-8976-DAC4-88BE6A4E488E}" dt="2023-11-20T04:29:36.551" v="204" actId="1076"/>
          <ac:spMkLst>
            <pc:docMk/>
            <pc:sldMk cId="2917591221" sldId="728"/>
            <ac:spMk id="2" creationId="{626EF7A8-30AC-3AF9-E10B-D7595223D641}"/>
          </ac:spMkLst>
        </pc:spChg>
        <pc:spChg chg="mod">
          <ac:chgData name="LCaldarelli" userId="S::lcaldarelli_luriechildrens.org#ext#@nuwildcat.onmicrosoft.com::cd79b54d-c14e-4199-a04a-39c6f592e710" providerId="AD" clId="Web-{F448B036-0349-8976-DAC4-88BE6A4E488E}" dt="2023-11-20T04:30:28.411" v="205" actId="1076"/>
          <ac:spMkLst>
            <pc:docMk/>
            <pc:sldMk cId="2917591221" sldId="728"/>
            <ac:spMk id="49" creationId="{1B4056B3-3D40-2836-5998-C6A461A209D5}"/>
          </ac:spMkLst>
        </pc:spChg>
      </pc:sldChg>
      <pc:sldChg chg="modSp">
        <pc:chgData name="LCaldarelli" userId="S::lcaldarelli_luriechildrens.org#ext#@nuwildcat.onmicrosoft.com::cd79b54d-c14e-4199-a04a-39c6f592e710" providerId="AD" clId="Web-{F448B036-0349-8976-DAC4-88BE6A4E488E}" dt="2023-11-20T04:27:26.157" v="194" actId="20577"/>
        <pc:sldMkLst>
          <pc:docMk/>
          <pc:sldMk cId="1617559145" sldId="730"/>
        </pc:sldMkLst>
        <pc:spChg chg="mod">
          <ac:chgData name="LCaldarelli" userId="S::lcaldarelli_luriechildrens.org#ext#@nuwildcat.onmicrosoft.com::cd79b54d-c14e-4199-a04a-39c6f592e710" providerId="AD" clId="Web-{F448B036-0349-8976-DAC4-88BE6A4E488E}" dt="2023-11-20T04:27:26.157" v="194" actId="20577"/>
          <ac:spMkLst>
            <pc:docMk/>
            <pc:sldMk cId="1617559145" sldId="730"/>
            <ac:spMk id="2" creationId="{BB53F377-28A9-F2D5-76A8-8CDE2A9E7535}"/>
          </ac:spMkLst>
        </pc:spChg>
      </pc:sldChg>
      <pc:sldChg chg="modSp">
        <pc:chgData name="LCaldarelli" userId="S::lcaldarelli_luriechildrens.org#ext#@nuwildcat.onmicrosoft.com::cd79b54d-c14e-4199-a04a-39c6f592e710" providerId="AD" clId="Web-{F448B036-0349-8976-DAC4-88BE6A4E488E}" dt="2023-11-20T04:26:25.531" v="184" actId="20577"/>
        <pc:sldMkLst>
          <pc:docMk/>
          <pc:sldMk cId="2888392633" sldId="731"/>
        </pc:sldMkLst>
        <pc:spChg chg="mod">
          <ac:chgData name="LCaldarelli" userId="S::lcaldarelli_luriechildrens.org#ext#@nuwildcat.onmicrosoft.com::cd79b54d-c14e-4199-a04a-39c6f592e710" providerId="AD" clId="Web-{F448B036-0349-8976-DAC4-88BE6A4E488E}" dt="2023-11-20T04:26:25.531" v="184" actId="20577"/>
          <ac:spMkLst>
            <pc:docMk/>
            <pc:sldMk cId="2888392633" sldId="731"/>
            <ac:spMk id="4" creationId="{EA09FBC4-EFF6-9AB4-25A1-D6ED252CED0D}"/>
          </ac:spMkLst>
        </pc:spChg>
      </pc:sldChg>
      <pc:sldChg chg="modSp">
        <pc:chgData name="LCaldarelli" userId="S::lcaldarelli_luriechildrens.org#ext#@nuwildcat.onmicrosoft.com::cd79b54d-c14e-4199-a04a-39c6f592e710" providerId="AD" clId="Web-{F448B036-0349-8976-DAC4-88BE6A4E488E}" dt="2023-11-20T04:24:01.434" v="167" actId="20577"/>
        <pc:sldMkLst>
          <pc:docMk/>
          <pc:sldMk cId="1046854343" sldId="732"/>
        </pc:sldMkLst>
        <pc:spChg chg="mod">
          <ac:chgData name="LCaldarelli" userId="S::lcaldarelli_luriechildrens.org#ext#@nuwildcat.onmicrosoft.com::cd79b54d-c14e-4199-a04a-39c6f592e710" providerId="AD" clId="Web-{F448B036-0349-8976-DAC4-88BE6A4E488E}" dt="2023-11-20T04:24:01.434" v="167" actId="20577"/>
          <ac:spMkLst>
            <pc:docMk/>
            <pc:sldMk cId="1046854343" sldId="732"/>
            <ac:spMk id="16386" creationId="{00000000-0000-0000-0000-000000000000}"/>
          </ac:spMkLst>
        </pc:spChg>
      </pc:sldChg>
      <pc:sldChg chg="modSp">
        <pc:chgData name="LCaldarelli" userId="S::lcaldarelli_luriechildrens.org#ext#@nuwildcat.onmicrosoft.com::cd79b54d-c14e-4199-a04a-39c6f592e710" providerId="AD" clId="Web-{F448B036-0349-8976-DAC4-88BE6A4E488E}" dt="2023-11-20T04:23:01.464" v="163" actId="1076"/>
        <pc:sldMkLst>
          <pc:docMk/>
          <pc:sldMk cId="1800188643" sldId="733"/>
        </pc:sldMkLst>
        <pc:spChg chg="mod">
          <ac:chgData name="LCaldarelli" userId="S::lcaldarelli_luriechildrens.org#ext#@nuwildcat.onmicrosoft.com::cd79b54d-c14e-4199-a04a-39c6f592e710" providerId="AD" clId="Web-{F448B036-0349-8976-DAC4-88BE6A4E488E}" dt="2023-11-20T04:22:28.666" v="162" actId="1076"/>
          <ac:spMkLst>
            <pc:docMk/>
            <pc:sldMk cId="1800188643" sldId="733"/>
            <ac:spMk id="7" creationId="{EAD90045-A731-42F5-ED3E-D5AE61B97B24}"/>
          </ac:spMkLst>
        </pc:spChg>
        <pc:spChg chg="mod">
          <ac:chgData name="LCaldarelli" userId="S::lcaldarelli_luriechildrens.org#ext#@nuwildcat.onmicrosoft.com::cd79b54d-c14e-4199-a04a-39c6f592e710" providerId="AD" clId="Web-{F448B036-0349-8976-DAC4-88BE6A4E488E}" dt="2023-11-20T04:23:01.464" v="163" actId="1076"/>
          <ac:spMkLst>
            <pc:docMk/>
            <pc:sldMk cId="1800188643" sldId="733"/>
            <ac:spMk id="16386" creationId="{00000000-0000-0000-0000-000000000000}"/>
          </ac:spMkLst>
        </pc:spChg>
      </pc:sldChg>
      <pc:sldChg chg="modSp">
        <pc:chgData name="LCaldarelli" userId="S::lcaldarelli_luriechildrens.org#ext#@nuwildcat.onmicrosoft.com::cd79b54d-c14e-4199-a04a-39c6f592e710" providerId="AD" clId="Web-{F448B036-0349-8976-DAC4-88BE6A4E488E}" dt="2023-11-20T04:22:18.556" v="161" actId="20577"/>
        <pc:sldMkLst>
          <pc:docMk/>
          <pc:sldMk cId="2965389356" sldId="734"/>
        </pc:sldMkLst>
        <pc:spChg chg="mod">
          <ac:chgData name="LCaldarelli" userId="S::lcaldarelli_luriechildrens.org#ext#@nuwildcat.onmicrosoft.com::cd79b54d-c14e-4199-a04a-39c6f592e710" providerId="AD" clId="Web-{F448B036-0349-8976-DAC4-88BE6A4E488E}" dt="2023-11-20T04:22:18.556" v="161" actId="20577"/>
          <ac:spMkLst>
            <pc:docMk/>
            <pc:sldMk cId="2965389356" sldId="734"/>
            <ac:spMk id="7" creationId="{EAD90045-A731-42F5-ED3E-D5AE61B97B24}"/>
          </ac:spMkLst>
        </pc:spChg>
        <pc:spChg chg="mod">
          <ac:chgData name="LCaldarelli" userId="S::lcaldarelli_luriechildrens.org#ext#@nuwildcat.onmicrosoft.com::cd79b54d-c14e-4199-a04a-39c6f592e710" providerId="AD" clId="Web-{F448B036-0349-8976-DAC4-88BE6A4E488E}" dt="2023-11-20T04:21:20.430" v="156" actId="1076"/>
          <ac:spMkLst>
            <pc:docMk/>
            <pc:sldMk cId="2965389356" sldId="734"/>
            <ac:spMk id="16386" creationId="{00000000-0000-0000-0000-000000000000}"/>
          </ac:spMkLst>
        </pc:spChg>
      </pc:sldChg>
      <pc:sldChg chg="modSp">
        <pc:chgData name="LCaldarelli" userId="S::lcaldarelli_luriechildrens.org#ext#@nuwildcat.onmicrosoft.com::cd79b54d-c14e-4199-a04a-39c6f592e710" providerId="AD" clId="Web-{F448B036-0349-8976-DAC4-88BE6A4E488E}" dt="2023-11-20T05:01:58.052" v="316" actId="20577"/>
        <pc:sldMkLst>
          <pc:docMk/>
          <pc:sldMk cId="1811019117" sldId="736"/>
        </pc:sldMkLst>
        <pc:graphicFrameChg chg="modGraphic">
          <ac:chgData name="LCaldarelli" userId="S::lcaldarelli_luriechildrens.org#ext#@nuwildcat.onmicrosoft.com::cd79b54d-c14e-4199-a04a-39c6f592e710" providerId="AD" clId="Web-{F448B036-0349-8976-DAC4-88BE6A4E488E}" dt="2023-11-20T05:01:58.052" v="316" actId="20577"/>
          <ac:graphicFrameMkLst>
            <pc:docMk/>
            <pc:sldMk cId="1811019117" sldId="736"/>
            <ac:graphicFrameMk id="7" creationId="{7A2359A2-13A0-13F8-9703-E546D92B0B98}"/>
          </ac:graphicFrameMkLst>
        </pc:graphicFrameChg>
      </pc:sldChg>
      <pc:sldChg chg="delSp modSp add del">
        <pc:chgData name="LCaldarelli" userId="S::lcaldarelli_luriechildrens.org#ext#@nuwildcat.onmicrosoft.com::cd79b54d-c14e-4199-a04a-39c6f592e710" providerId="AD" clId="Web-{F448B036-0349-8976-DAC4-88BE6A4E488E}" dt="2023-11-20T03:56:21.535" v="68"/>
        <pc:sldMkLst>
          <pc:docMk/>
          <pc:sldMk cId="1186349951" sldId="738"/>
        </pc:sldMkLst>
        <pc:spChg chg="mod">
          <ac:chgData name="LCaldarelli" userId="S::lcaldarelli_luriechildrens.org#ext#@nuwildcat.onmicrosoft.com::cd79b54d-c14e-4199-a04a-39c6f592e710" providerId="AD" clId="Web-{F448B036-0349-8976-DAC4-88BE6A4E488E}" dt="2023-11-20T03:55:29.003" v="60" actId="20577"/>
          <ac:spMkLst>
            <pc:docMk/>
            <pc:sldMk cId="1186349951" sldId="738"/>
            <ac:spMk id="2" creationId="{00000000-0000-0000-0000-000000000000}"/>
          </ac:spMkLst>
        </pc:spChg>
        <pc:spChg chg="mod">
          <ac:chgData name="LCaldarelli" userId="S::lcaldarelli_luriechildrens.org#ext#@nuwildcat.onmicrosoft.com::cd79b54d-c14e-4199-a04a-39c6f592e710" providerId="AD" clId="Web-{F448B036-0349-8976-DAC4-88BE6A4E488E}" dt="2023-11-20T03:50:19.402" v="14" actId="20577"/>
          <ac:spMkLst>
            <pc:docMk/>
            <pc:sldMk cId="1186349951" sldId="738"/>
            <ac:spMk id="3" creationId="{00000000-0000-0000-0000-000000000000}"/>
          </ac:spMkLst>
        </pc:spChg>
        <pc:spChg chg="del mod">
          <ac:chgData name="LCaldarelli" userId="S::lcaldarelli_luriechildrens.org#ext#@nuwildcat.onmicrosoft.com::cd79b54d-c14e-4199-a04a-39c6f592e710" providerId="AD" clId="Web-{F448B036-0349-8976-DAC4-88BE6A4E488E}" dt="2023-11-20T03:51:08.622" v="20"/>
          <ac:spMkLst>
            <pc:docMk/>
            <pc:sldMk cId="1186349951" sldId="738"/>
            <ac:spMk id="7" creationId="{C8F58F52-0A70-3681-BB65-8A08E7169DEB}"/>
          </ac:spMkLst>
        </pc:spChg>
        <pc:picChg chg="mod">
          <ac:chgData name="LCaldarelli" userId="S::lcaldarelli_luriechildrens.org#ext#@nuwildcat.onmicrosoft.com::cd79b54d-c14e-4199-a04a-39c6f592e710" providerId="AD" clId="Web-{F448B036-0349-8976-DAC4-88BE6A4E488E}" dt="2023-11-20T03:49:08.088" v="4" actId="1076"/>
          <ac:picMkLst>
            <pc:docMk/>
            <pc:sldMk cId="1186349951" sldId="738"/>
            <ac:picMk id="5" creationId="{2E1F6A1B-373A-C0EC-B7AA-45256FC2D7CF}"/>
          </ac:picMkLst>
        </pc:picChg>
        <pc:picChg chg="del">
          <ac:chgData name="LCaldarelli" userId="S::lcaldarelli_luriechildrens.org#ext#@nuwildcat.onmicrosoft.com::cd79b54d-c14e-4199-a04a-39c6f592e710" providerId="AD" clId="Web-{F448B036-0349-8976-DAC4-88BE6A4E488E}" dt="2023-11-20T03:48:58.369" v="2"/>
          <ac:picMkLst>
            <pc:docMk/>
            <pc:sldMk cId="1186349951" sldId="738"/>
            <ac:picMk id="6" creationId="{444A105F-3B91-8DA6-ABE2-6E9593561122}"/>
          </ac:picMkLst>
        </pc:picChg>
      </pc:sldChg>
      <pc:sldChg chg="new del">
        <pc:chgData name="LCaldarelli" userId="S::lcaldarelli_luriechildrens.org#ext#@nuwildcat.onmicrosoft.com::cd79b54d-c14e-4199-a04a-39c6f592e710" providerId="AD" clId="Web-{F448B036-0349-8976-DAC4-88BE6A4E488E}" dt="2023-11-20T03:53:21.422" v="34"/>
        <pc:sldMkLst>
          <pc:docMk/>
          <pc:sldMk cId="2564591416" sldId="739"/>
        </pc:sldMkLst>
      </pc:sldChg>
      <pc:sldChg chg="addSp delSp modSp new">
        <pc:chgData name="LCaldarelli" userId="S::lcaldarelli_luriechildrens.org#ext#@nuwildcat.onmicrosoft.com::cd79b54d-c14e-4199-a04a-39c6f592e710" providerId="AD" clId="Web-{F448B036-0349-8976-DAC4-88BE6A4E488E}" dt="2023-11-20T03:59:22.790" v="82" actId="20577"/>
        <pc:sldMkLst>
          <pc:docMk/>
          <pc:sldMk cId="3241722567" sldId="740"/>
        </pc:sldMkLst>
        <pc:spChg chg="mod">
          <ac:chgData name="LCaldarelli" userId="S::lcaldarelli_luriechildrens.org#ext#@nuwildcat.onmicrosoft.com::cd79b54d-c14e-4199-a04a-39c6f592e710" providerId="AD" clId="Web-{F448B036-0349-8976-DAC4-88BE6A4E488E}" dt="2023-11-20T03:56:10.348" v="67" actId="1076"/>
          <ac:spMkLst>
            <pc:docMk/>
            <pc:sldMk cId="3241722567" sldId="740"/>
            <ac:spMk id="2" creationId="{D24FB2C5-4B3C-7E91-CA87-3073F37E77A6}"/>
          </ac:spMkLst>
        </pc:spChg>
        <pc:spChg chg="del">
          <ac:chgData name="LCaldarelli" userId="S::lcaldarelli_luriechildrens.org#ext#@nuwildcat.onmicrosoft.com::cd79b54d-c14e-4199-a04a-39c6f592e710" providerId="AD" clId="Web-{F448B036-0349-8976-DAC4-88BE6A4E488E}" dt="2023-11-20T03:53:34.719" v="35"/>
          <ac:spMkLst>
            <pc:docMk/>
            <pc:sldMk cId="3241722567" sldId="740"/>
            <ac:spMk id="3" creationId="{9812BD77-B078-C023-43DC-8C34F9A3A718}"/>
          </ac:spMkLst>
        </pc:spChg>
        <pc:spChg chg="add mod">
          <ac:chgData name="LCaldarelli" userId="S::lcaldarelli_luriechildrens.org#ext#@nuwildcat.onmicrosoft.com::cd79b54d-c14e-4199-a04a-39c6f592e710" providerId="AD" clId="Web-{F448B036-0349-8976-DAC4-88BE6A4E488E}" dt="2023-11-20T03:59:22.790" v="82" actId="20577"/>
          <ac:spMkLst>
            <pc:docMk/>
            <pc:sldMk cId="3241722567" sldId="740"/>
            <ac:spMk id="8" creationId="{D5D1F0C8-27BB-1F4F-9B28-F7D9F4C8AE47}"/>
          </ac:spMkLst>
        </pc:spChg>
        <pc:picChg chg="add del mod ord">
          <ac:chgData name="LCaldarelli" userId="S::lcaldarelli_luriechildrens.org#ext#@nuwildcat.onmicrosoft.com::cd79b54d-c14e-4199-a04a-39c6f592e710" providerId="AD" clId="Web-{F448B036-0349-8976-DAC4-88BE6A4E488E}" dt="2023-11-20T03:53:44.751" v="36"/>
          <ac:picMkLst>
            <pc:docMk/>
            <pc:sldMk cId="3241722567" sldId="740"/>
            <ac:picMk id="6" creationId="{6A2DB26E-6744-46D7-9B18-327790791C96}"/>
          </ac:picMkLst>
        </pc:picChg>
        <pc:picChg chg="add mod">
          <ac:chgData name="LCaldarelli" userId="S::lcaldarelli_luriechildrens.org#ext#@nuwildcat.onmicrosoft.com::cd79b54d-c14e-4199-a04a-39c6f592e710" providerId="AD" clId="Web-{F448B036-0349-8976-DAC4-88BE6A4E488E}" dt="2023-11-20T03:54:36.861" v="41" actId="1076"/>
          <ac:picMkLst>
            <pc:docMk/>
            <pc:sldMk cId="3241722567" sldId="740"/>
            <ac:picMk id="10" creationId="{27AD21F3-6E15-AA0D-7CE8-DF86AF6A9758}"/>
          </ac:picMkLst>
        </pc:picChg>
      </pc:sldChg>
      <pc:sldChg chg="add replId">
        <pc:chgData name="LCaldarelli" userId="S::lcaldarelli_luriechildrens.org#ext#@nuwildcat.onmicrosoft.com::cd79b54d-c14e-4199-a04a-39c6f592e710" providerId="AD" clId="Web-{F448B036-0349-8976-DAC4-88BE6A4E488E}" dt="2023-11-20T04:44:50.075" v="270"/>
        <pc:sldMkLst>
          <pc:docMk/>
          <pc:sldMk cId="3838522428" sldId="741"/>
        </pc:sldMkLst>
      </pc:sldChg>
      <pc:sldChg chg="modSp add replId">
        <pc:chgData name="LCaldarelli" userId="S::lcaldarelli_luriechildrens.org#ext#@nuwildcat.onmicrosoft.com::cd79b54d-c14e-4199-a04a-39c6f592e710" providerId="AD" clId="Web-{F448B036-0349-8976-DAC4-88BE6A4E488E}" dt="2023-11-20T04:46:55.750" v="287" actId="14100"/>
        <pc:sldMkLst>
          <pc:docMk/>
          <pc:sldMk cId="2759565514" sldId="742"/>
        </pc:sldMkLst>
        <pc:spChg chg="mod">
          <ac:chgData name="LCaldarelli" userId="S::lcaldarelli_luriechildrens.org#ext#@nuwildcat.onmicrosoft.com::cd79b54d-c14e-4199-a04a-39c6f592e710" providerId="AD" clId="Web-{F448B036-0349-8976-DAC4-88BE6A4E488E}" dt="2023-11-20T04:46:55.750" v="287" actId="14100"/>
          <ac:spMkLst>
            <pc:docMk/>
            <pc:sldMk cId="2759565514" sldId="742"/>
            <ac:spMk id="2180" creationId="{00000000-0000-0000-0000-000000000000}"/>
          </ac:spMkLst>
        </pc:spChg>
      </pc:sldChg>
      <pc:sldChg chg="modSp add ord replId">
        <pc:chgData name="LCaldarelli" userId="S::lcaldarelli_luriechildrens.org#ext#@nuwildcat.onmicrosoft.com::cd79b54d-c14e-4199-a04a-39c6f592e710" providerId="AD" clId="Web-{F448B036-0349-8976-DAC4-88BE6A4E488E}" dt="2023-11-20T04:47:59.345" v="290" actId="1076"/>
        <pc:sldMkLst>
          <pc:docMk/>
          <pc:sldMk cId="1077647041" sldId="743"/>
        </pc:sldMkLst>
        <pc:spChg chg="mod">
          <ac:chgData name="LCaldarelli" userId="S::lcaldarelli_luriechildrens.org#ext#@nuwildcat.onmicrosoft.com::cd79b54d-c14e-4199-a04a-39c6f592e710" providerId="AD" clId="Web-{F448B036-0349-8976-DAC4-88BE6A4E488E}" dt="2023-11-20T04:47:59.345" v="290" actId="1076"/>
          <ac:spMkLst>
            <pc:docMk/>
            <pc:sldMk cId="1077647041" sldId="743"/>
            <ac:spMk id="23" creationId="{78B5A3B7-0107-74A6-42BE-EFADF14BEC3D}"/>
          </ac:spMkLst>
        </pc:spChg>
      </pc:sldChg>
      <pc:sldChg chg="add replId">
        <pc:chgData name="LCaldarelli" userId="S::lcaldarelli_luriechildrens.org#ext#@nuwildcat.onmicrosoft.com::cd79b54d-c14e-4199-a04a-39c6f592e710" providerId="AD" clId="Web-{F448B036-0349-8976-DAC4-88BE6A4E488E}" dt="2023-11-20T05:00:10.909" v="312"/>
        <pc:sldMkLst>
          <pc:docMk/>
          <pc:sldMk cId="2424722352" sldId="744"/>
        </pc:sldMkLst>
      </pc:sldChg>
    </pc:docChg>
  </pc:docChgLst>
  <pc:docChgLst>
    <pc:chgData name="Eileen Fleming Suse" userId="S::efs3844@ads.northwestern.edu::725c94ef-d051-42d7-9d33-8572765d592b" providerId="AD" clId="Web-{524F6783-CF9C-A7C1-D142-27E8864BC3CB}"/>
    <pc:docChg chg="modSld">
      <pc:chgData name="Eileen Fleming Suse" userId="S::efs3844@ads.northwestern.edu::725c94ef-d051-42d7-9d33-8572765d592b" providerId="AD" clId="Web-{524F6783-CF9C-A7C1-D142-27E8864BC3CB}" dt="2023-10-24T02:49:43.199" v="27" actId="20577"/>
      <pc:docMkLst>
        <pc:docMk/>
      </pc:docMkLst>
      <pc:sldChg chg="modSp">
        <pc:chgData name="Eileen Fleming Suse" userId="S::efs3844@ads.northwestern.edu::725c94ef-d051-42d7-9d33-8572765d592b" providerId="AD" clId="Web-{524F6783-CF9C-A7C1-D142-27E8864BC3CB}" dt="2023-10-24T02:49:43.199" v="27" actId="20577"/>
        <pc:sldMkLst>
          <pc:docMk/>
          <pc:sldMk cId="3845418986" sldId="563"/>
        </pc:sldMkLst>
        <pc:spChg chg="mod">
          <ac:chgData name="Eileen Fleming Suse" userId="S::efs3844@ads.northwestern.edu::725c94ef-d051-42d7-9d33-8572765d592b" providerId="AD" clId="Web-{524F6783-CF9C-A7C1-D142-27E8864BC3CB}" dt="2023-10-24T02:48:50.792" v="5" actId="20577"/>
          <ac:spMkLst>
            <pc:docMk/>
            <pc:sldMk cId="3845418986" sldId="563"/>
            <ac:spMk id="41" creationId="{00000000-0000-0000-0000-000000000000}"/>
          </ac:spMkLst>
        </pc:spChg>
        <pc:spChg chg="mod">
          <ac:chgData name="Eileen Fleming Suse" userId="S::efs3844@ads.northwestern.edu::725c94ef-d051-42d7-9d33-8572765d592b" providerId="AD" clId="Web-{524F6783-CF9C-A7C1-D142-27E8864BC3CB}" dt="2023-10-24T02:49:18.886" v="17" actId="14100"/>
          <ac:spMkLst>
            <pc:docMk/>
            <pc:sldMk cId="3845418986" sldId="563"/>
            <ac:spMk id="43" creationId="{00000000-0000-0000-0000-000000000000}"/>
          </ac:spMkLst>
        </pc:spChg>
        <pc:spChg chg="mod">
          <ac:chgData name="Eileen Fleming Suse" userId="S::efs3844@ads.northwestern.edu::725c94ef-d051-42d7-9d33-8572765d592b" providerId="AD" clId="Web-{524F6783-CF9C-A7C1-D142-27E8864BC3CB}" dt="2023-10-24T02:49:43.199" v="27" actId="20577"/>
          <ac:spMkLst>
            <pc:docMk/>
            <pc:sldMk cId="3845418986" sldId="563"/>
            <ac:spMk id="45" creationId="{00000000-0000-0000-0000-000000000000}"/>
          </ac:spMkLst>
        </pc:spChg>
      </pc:sldChg>
      <pc:sldChg chg="modSp">
        <pc:chgData name="Eileen Fleming Suse" userId="S::efs3844@ads.northwestern.edu::725c94ef-d051-42d7-9d33-8572765d592b" providerId="AD" clId="Web-{524F6783-CF9C-A7C1-D142-27E8864BC3CB}" dt="2023-10-24T02:48:43.932" v="2" actId="1076"/>
        <pc:sldMkLst>
          <pc:docMk/>
          <pc:sldMk cId="3004937174" sldId="565"/>
        </pc:sldMkLst>
        <pc:spChg chg="mod">
          <ac:chgData name="Eileen Fleming Suse" userId="S::efs3844@ads.northwestern.edu::725c94ef-d051-42d7-9d33-8572765d592b" providerId="AD" clId="Web-{524F6783-CF9C-A7C1-D142-27E8864BC3CB}" dt="2023-10-24T02:48:35.166" v="1" actId="1076"/>
          <ac:spMkLst>
            <pc:docMk/>
            <pc:sldMk cId="3004937174" sldId="565"/>
            <ac:spMk id="32" creationId="{00000000-0000-0000-0000-000000000000}"/>
          </ac:spMkLst>
        </pc:spChg>
        <pc:spChg chg="mod">
          <ac:chgData name="Eileen Fleming Suse" userId="S::efs3844@ads.northwestern.edu::725c94ef-d051-42d7-9d33-8572765d592b" providerId="AD" clId="Web-{524F6783-CF9C-A7C1-D142-27E8864BC3CB}" dt="2023-10-24T02:48:43.932" v="2" actId="1076"/>
          <ac:spMkLst>
            <pc:docMk/>
            <pc:sldMk cId="3004937174" sldId="565"/>
            <ac:spMk id="38" creationId="{00000000-0000-0000-0000-000000000000}"/>
          </ac:spMkLst>
        </pc:spChg>
      </pc:sldChg>
    </pc:docChg>
  </pc:docChgLst>
  <pc:docChgLst>
    <pc:chgData name="Eileen Fleming Suse" userId="S::efs3844@ads.northwestern.edu::725c94ef-d051-42d7-9d33-8572765d592b" providerId="AD" clId="Web-{4F909934-BF80-9406-F823-1BE12A003AA4}"/>
    <pc:docChg chg="addSld delSld modSld sldOrd">
      <pc:chgData name="Eileen Fleming Suse" userId="S::efs3844@ads.northwestern.edu::725c94ef-d051-42d7-9d33-8572765d592b" providerId="AD" clId="Web-{4F909934-BF80-9406-F823-1BE12A003AA4}" dt="2023-11-20T15:22:24.918" v="13"/>
      <pc:docMkLst>
        <pc:docMk/>
      </pc:docMkLst>
      <pc:sldChg chg="modSp">
        <pc:chgData name="Eileen Fleming Suse" userId="S::efs3844@ads.northwestern.edu::725c94ef-d051-42d7-9d33-8572765d592b" providerId="AD" clId="Web-{4F909934-BF80-9406-F823-1BE12A003AA4}" dt="2023-11-20T15:20:23.900" v="11" actId="1076"/>
        <pc:sldMkLst>
          <pc:docMk/>
          <pc:sldMk cId="4023770579" sldId="654"/>
        </pc:sldMkLst>
        <pc:spChg chg="mod">
          <ac:chgData name="Eileen Fleming Suse" userId="S::efs3844@ads.northwestern.edu::725c94ef-d051-42d7-9d33-8572765d592b" providerId="AD" clId="Web-{4F909934-BF80-9406-F823-1BE12A003AA4}" dt="2023-11-20T15:20:23.900" v="11" actId="1076"/>
          <ac:spMkLst>
            <pc:docMk/>
            <pc:sldMk cId="4023770579" sldId="654"/>
            <ac:spMk id="14" creationId="{700DFE8C-04E0-11F7-1D35-A335A4579AA0}"/>
          </ac:spMkLst>
        </pc:spChg>
      </pc:sldChg>
      <pc:sldChg chg="add del">
        <pc:chgData name="Eileen Fleming Suse" userId="S::efs3844@ads.northwestern.edu::725c94ef-d051-42d7-9d33-8572765d592b" providerId="AD" clId="Web-{4F909934-BF80-9406-F823-1BE12A003AA4}" dt="2023-11-20T15:18:25.740" v="5"/>
        <pc:sldMkLst>
          <pc:docMk/>
          <pc:sldMk cId="1742938802" sldId="745"/>
        </pc:sldMkLst>
      </pc:sldChg>
      <pc:sldChg chg="add del">
        <pc:chgData name="Eileen Fleming Suse" userId="S::efs3844@ads.northwestern.edu::725c94ef-d051-42d7-9d33-8572765d592b" providerId="AD" clId="Web-{4F909934-BF80-9406-F823-1BE12A003AA4}" dt="2023-11-20T15:18:25.709" v="4"/>
        <pc:sldMkLst>
          <pc:docMk/>
          <pc:sldMk cId="3622218340" sldId="746"/>
        </pc:sldMkLst>
      </pc:sldChg>
      <pc:sldChg chg="add ord">
        <pc:chgData name="Eileen Fleming Suse" userId="S::efs3844@ads.northwestern.edu::725c94ef-d051-42d7-9d33-8572765d592b" providerId="AD" clId="Web-{4F909934-BF80-9406-F823-1BE12A003AA4}" dt="2023-11-20T15:19:05.273" v="6"/>
        <pc:sldMkLst>
          <pc:docMk/>
          <pc:sldMk cId="1758158855" sldId="747"/>
        </pc:sldMkLst>
      </pc:sldChg>
      <pc:sldChg chg="add del">
        <pc:chgData name="Eileen Fleming Suse" userId="S::efs3844@ads.northwestern.edu::725c94ef-d051-42d7-9d33-8572765d592b" providerId="AD" clId="Web-{4F909934-BF80-9406-F823-1BE12A003AA4}" dt="2023-11-20T15:20:48.463" v="12"/>
        <pc:sldMkLst>
          <pc:docMk/>
          <pc:sldMk cId="1800076945" sldId="748"/>
        </pc:sldMkLst>
      </pc:sldChg>
      <pc:sldChg chg="new">
        <pc:chgData name="Eileen Fleming Suse" userId="S::efs3844@ads.northwestern.edu::725c94ef-d051-42d7-9d33-8572765d592b" providerId="AD" clId="Web-{4F909934-BF80-9406-F823-1BE12A003AA4}" dt="2023-11-20T15:22:24.918" v="13"/>
        <pc:sldMkLst>
          <pc:docMk/>
          <pc:sldMk cId="3917006652" sldId="748"/>
        </pc:sldMkLst>
      </pc:sldChg>
    </pc:docChg>
  </pc:docChgLst>
  <pc:docChgLst>
    <pc:chgData name="Eileen Fleming Suse" userId="S::efs3844@ads.northwestern.edu::725c94ef-d051-42d7-9d33-8572765d592b" providerId="AD" clId="Web-{8024C570-7E9A-022B-CE90-C0FD861720C1}"/>
    <pc:docChg chg="addSld modSld">
      <pc:chgData name="Eileen Fleming Suse" userId="S::efs3844@ads.northwestern.edu::725c94ef-d051-42d7-9d33-8572765d592b" providerId="AD" clId="Web-{8024C570-7E9A-022B-CE90-C0FD861720C1}" dt="2023-10-23T23:03:50.878" v="517"/>
      <pc:docMkLst>
        <pc:docMk/>
      </pc:docMkLst>
      <pc:sldChg chg="modSp">
        <pc:chgData name="Eileen Fleming Suse" userId="S::efs3844@ads.northwestern.edu::725c94ef-d051-42d7-9d33-8572765d592b" providerId="AD" clId="Web-{8024C570-7E9A-022B-CE90-C0FD861720C1}" dt="2023-10-23T22:30:55.096" v="1" actId="20577"/>
        <pc:sldMkLst>
          <pc:docMk/>
          <pc:sldMk cId="3127921386" sldId="280"/>
        </pc:sldMkLst>
        <pc:spChg chg="mod">
          <ac:chgData name="Eileen Fleming Suse" userId="S::efs3844@ads.northwestern.edu::725c94ef-d051-42d7-9d33-8572765d592b" providerId="AD" clId="Web-{8024C570-7E9A-022B-CE90-C0FD861720C1}" dt="2023-10-23T22:30:55.096" v="1" actId="20577"/>
          <ac:spMkLst>
            <pc:docMk/>
            <pc:sldMk cId="3127921386" sldId="280"/>
            <ac:spMk id="4" creationId="{19922563-64D6-2A4E-B048-13AC25DB45AD}"/>
          </ac:spMkLst>
        </pc:spChg>
      </pc:sldChg>
      <pc:sldChg chg="modSp">
        <pc:chgData name="Eileen Fleming Suse" userId="S::efs3844@ads.northwestern.edu::725c94ef-d051-42d7-9d33-8572765d592b" providerId="AD" clId="Web-{8024C570-7E9A-022B-CE90-C0FD861720C1}" dt="2023-10-23T23:01:55.094" v="478" actId="20577"/>
        <pc:sldMkLst>
          <pc:docMk/>
          <pc:sldMk cId="4044691067" sldId="283"/>
        </pc:sldMkLst>
        <pc:spChg chg="mod">
          <ac:chgData name="Eileen Fleming Suse" userId="S::efs3844@ads.northwestern.edu::725c94ef-d051-42d7-9d33-8572765d592b" providerId="AD" clId="Web-{8024C570-7E9A-022B-CE90-C0FD861720C1}" dt="2023-10-23T23:01:55.094" v="478" actId="20577"/>
          <ac:spMkLst>
            <pc:docMk/>
            <pc:sldMk cId="4044691067" sldId="283"/>
            <ac:spMk id="16387" creationId="{00000000-0000-0000-0000-000000000000}"/>
          </ac:spMkLst>
        </pc:spChg>
      </pc:sldChg>
      <pc:sldChg chg="delCm">
        <pc:chgData name="Eileen Fleming Suse" userId="S::efs3844@ads.northwestern.edu::725c94ef-d051-42d7-9d33-8572765d592b" providerId="AD" clId="Web-{8024C570-7E9A-022B-CE90-C0FD861720C1}" dt="2023-10-23T22:43:45.317" v="154"/>
        <pc:sldMkLst>
          <pc:docMk/>
          <pc:sldMk cId="1231844700" sldId="554"/>
        </pc:sldMkLst>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8024C570-7E9A-022B-CE90-C0FD861720C1}" dt="2023-10-23T22:43:45.317" v="154"/>
              <pc2:cmMkLst xmlns:pc2="http://schemas.microsoft.com/office/powerpoint/2019/9/main/command">
                <pc:docMk/>
                <pc:sldMk cId="1231844700" sldId="554"/>
                <pc2:cmMk id="{30D146EB-BFA1-4AFA-93C4-FA1954A298F6}"/>
              </pc2:cmMkLst>
            </pc226:cmChg>
          </p:ext>
        </pc:extLst>
      </pc:sldChg>
      <pc:sldChg chg="addSp modSp">
        <pc:chgData name="Eileen Fleming Suse" userId="S::efs3844@ads.northwestern.edu::725c94ef-d051-42d7-9d33-8572765d592b" providerId="AD" clId="Web-{8024C570-7E9A-022B-CE90-C0FD861720C1}" dt="2023-10-23T22:43:34.286" v="153" actId="20577"/>
        <pc:sldMkLst>
          <pc:docMk/>
          <pc:sldMk cId="1522616096" sldId="555"/>
        </pc:sldMkLst>
        <pc:spChg chg="mod">
          <ac:chgData name="Eileen Fleming Suse" userId="S::efs3844@ads.northwestern.edu::725c94ef-d051-42d7-9d33-8572765d592b" providerId="AD" clId="Web-{8024C570-7E9A-022B-CE90-C0FD861720C1}" dt="2023-10-23T22:43:34.286" v="153" actId="20577"/>
          <ac:spMkLst>
            <pc:docMk/>
            <pc:sldMk cId="1522616096" sldId="555"/>
            <ac:spMk id="2" creationId="{F40AE700-1499-46B3-C70A-C723802CD680}"/>
          </ac:spMkLst>
        </pc:spChg>
        <pc:spChg chg="add mod">
          <ac:chgData name="Eileen Fleming Suse" userId="S::efs3844@ads.northwestern.edu::725c94ef-d051-42d7-9d33-8572765d592b" providerId="AD" clId="Web-{8024C570-7E9A-022B-CE90-C0FD861720C1}" dt="2023-10-23T22:40:06.844" v="76" actId="1076"/>
          <ac:spMkLst>
            <pc:docMk/>
            <pc:sldMk cId="1522616096" sldId="555"/>
            <ac:spMk id="3" creationId="{1C814D25-66C5-ACFC-3102-DB1C47E8E790}"/>
          </ac:spMkLst>
        </pc:spChg>
        <pc:spChg chg="add mod">
          <ac:chgData name="Eileen Fleming Suse" userId="S::efs3844@ads.northwestern.edu::725c94ef-d051-42d7-9d33-8572765d592b" providerId="AD" clId="Web-{8024C570-7E9A-022B-CE90-C0FD861720C1}" dt="2023-10-23T22:40:01.390" v="74" actId="1076"/>
          <ac:spMkLst>
            <pc:docMk/>
            <pc:sldMk cId="1522616096" sldId="555"/>
            <ac:spMk id="4" creationId="{3D49CA6C-78ED-3124-7EE3-BBDDC9988910}"/>
          </ac:spMkLst>
        </pc:spChg>
        <pc:spChg chg="add mod">
          <ac:chgData name="Eileen Fleming Suse" userId="S::efs3844@ads.northwestern.edu::725c94ef-d051-42d7-9d33-8572765d592b" providerId="AD" clId="Web-{8024C570-7E9A-022B-CE90-C0FD861720C1}" dt="2023-10-23T22:41:37.408" v="150" actId="14100"/>
          <ac:spMkLst>
            <pc:docMk/>
            <pc:sldMk cId="1522616096" sldId="555"/>
            <ac:spMk id="5" creationId="{19C1D751-08DD-BD76-1181-C434C9849C27}"/>
          </ac:spMkLst>
        </pc:spChg>
        <pc:spChg chg="mod">
          <ac:chgData name="Eileen Fleming Suse" userId="S::efs3844@ads.northwestern.edu::725c94ef-d051-42d7-9d33-8572765d592b" providerId="AD" clId="Web-{8024C570-7E9A-022B-CE90-C0FD861720C1}" dt="2023-10-23T22:39:53.359" v="70" actId="1076"/>
          <ac:spMkLst>
            <pc:docMk/>
            <pc:sldMk cId="1522616096" sldId="555"/>
            <ac:spMk id="6" creationId="{055E55DF-27B4-B9A8-84BB-DC4C1522901C}"/>
          </ac:spMkLst>
        </pc:spChg>
        <pc:spChg chg="mod">
          <ac:chgData name="Eileen Fleming Suse" userId="S::efs3844@ads.northwestern.edu::725c94ef-d051-42d7-9d33-8572765d592b" providerId="AD" clId="Web-{8024C570-7E9A-022B-CE90-C0FD861720C1}" dt="2023-10-23T22:39:53.296" v="64" actId="1076"/>
          <ac:spMkLst>
            <pc:docMk/>
            <pc:sldMk cId="1522616096" sldId="555"/>
            <ac:spMk id="7" creationId="{98AEAD99-3E06-8D3F-3F0C-CDC9176523B6}"/>
          </ac:spMkLst>
        </pc:spChg>
        <pc:spChg chg="add mod">
          <ac:chgData name="Eileen Fleming Suse" userId="S::efs3844@ads.northwestern.edu::725c94ef-d051-42d7-9d33-8572765d592b" providerId="AD" clId="Web-{8024C570-7E9A-022B-CE90-C0FD861720C1}" dt="2023-10-23T22:41:47.846" v="152" actId="14100"/>
          <ac:spMkLst>
            <pc:docMk/>
            <pc:sldMk cId="1522616096" sldId="555"/>
            <ac:spMk id="8" creationId="{6E760B7B-BD6C-24E2-33A9-EF4A040B086A}"/>
          </ac:spMkLst>
        </pc:spChg>
        <pc:spChg chg="mod">
          <ac:chgData name="Eileen Fleming Suse" userId="S::efs3844@ads.northwestern.edu::725c94ef-d051-42d7-9d33-8572765d592b" providerId="AD" clId="Web-{8024C570-7E9A-022B-CE90-C0FD861720C1}" dt="2023-10-23T22:39:53.312" v="65" actId="1076"/>
          <ac:spMkLst>
            <pc:docMk/>
            <pc:sldMk cId="1522616096" sldId="555"/>
            <ac:spMk id="9" creationId="{6DCB2364-A5B2-FB37-162C-58D7616BFAA3}"/>
          </ac:spMkLst>
        </pc:spChg>
        <pc:spChg chg="mod">
          <ac:chgData name="Eileen Fleming Suse" userId="S::efs3844@ads.northwestern.edu::725c94ef-d051-42d7-9d33-8572765d592b" providerId="AD" clId="Web-{8024C570-7E9A-022B-CE90-C0FD861720C1}" dt="2023-10-23T22:39:53.312" v="66" actId="1076"/>
          <ac:spMkLst>
            <pc:docMk/>
            <pc:sldMk cId="1522616096" sldId="555"/>
            <ac:spMk id="11" creationId="{33B71E7D-B0CF-32BF-4481-78C694C53404}"/>
          </ac:spMkLst>
        </pc:spChg>
        <pc:spChg chg="mod">
          <ac:chgData name="Eileen Fleming Suse" userId="S::efs3844@ads.northwestern.edu::725c94ef-d051-42d7-9d33-8572765d592b" providerId="AD" clId="Web-{8024C570-7E9A-022B-CE90-C0FD861720C1}" dt="2023-10-23T22:39:53.328" v="67" actId="1076"/>
          <ac:spMkLst>
            <pc:docMk/>
            <pc:sldMk cId="1522616096" sldId="555"/>
            <ac:spMk id="13" creationId="{50A7250D-02AB-B054-06E1-32E9F8FC55C0}"/>
          </ac:spMkLst>
        </pc:spChg>
        <pc:spChg chg="mod">
          <ac:chgData name="Eileen Fleming Suse" userId="S::efs3844@ads.northwestern.edu::725c94ef-d051-42d7-9d33-8572765d592b" providerId="AD" clId="Web-{8024C570-7E9A-022B-CE90-C0FD861720C1}" dt="2023-10-23T22:39:53.343" v="68" actId="1076"/>
          <ac:spMkLst>
            <pc:docMk/>
            <pc:sldMk cId="1522616096" sldId="555"/>
            <ac:spMk id="15" creationId="{63237A5A-8FBE-2248-7DAF-97A8D25F57D1}"/>
          </ac:spMkLst>
        </pc:spChg>
        <pc:spChg chg="mod">
          <ac:chgData name="Eileen Fleming Suse" userId="S::efs3844@ads.northwestern.edu::725c94ef-d051-42d7-9d33-8572765d592b" providerId="AD" clId="Web-{8024C570-7E9A-022B-CE90-C0FD861720C1}" dt="2023-10-23T22:39:53.343" v="69" actId="1076"/>
          <ac:spMkLst>
            <pc:docMk/>
            <pc:sldMk cId="1522616096" sldId="555"/>
            <ac:spMk id="17" creationId="{9694707D-377A-FF99-AFDB-26A575A618C3}"/>
          </ac:spMkLst>
        </pc:spChg>
      </pc:sldChg>
      <pc:sldChg chg="delSp modSp add replId">
        <pc:chgData name="Eileen Fleming Suse" userId="S::efs3844@ads.northwestern.edu::725c94ef-d051-42d7-9d33-8572765d592b" providerId="AD" clId="Web-{8024C570-7E9A-022B-CE90-C0FD861720C1}" dt="2023-10-23T22:53:11.409" v="475" actId="1076"/>
        <pc:sldMkLst>
          <pc:docMk/>
          <pc:sldMk cId="773696652" sldId="558"/>
        </pc:sldMkLst>
        <pc:spChg chg="mod">
          <ac:chgData name="Eileen Fleming Suse" userId="S::efs3844@ads.northwestern.edu::725c94ef-d051-42d7-9d33-8572765d592b" providerId="AD" clId="Web-{8024C570-7E9A-022B-CE90-C0FD861720C1}" dt="2023-10-23T22:53:09.534" v="474" actId="1076"/>
          <ac:spMkLst>
            <pc:docMk/>
            <pc:sldMk cId="773696652" sldId="558"/>
            <ac:spMk id="3" creationId="{1C814D25-66C5-ACFC-3102-DB1C47E8E790}"/>
          </ac:spMkLst>
        </pc:spChg>
        <pc:spChg chg="del">
          <ac:chgData name="Eileen Fleming Suse" userId="S::efs3844@ads.northwestern.edu::725c94ef-d051-42d7-9d33-8572765d592b" providerId="AD" clId="Web-{8024C570-7E9A-022B-CE90-C0FD861720C1}" dt="2023-10-23T22:44:50.569" v="171"/>
          <ac:spMkLst>
            <pc:docMk/>
            <pc:sldMk cId="773696652" sldId="558"/>
            <ac:spMk id="4" creationId="{3D49CA6C-78ED-3124-7EE3-BBDDC9988910}"/>
          </ac:spMkLst>
        </pc:spChg>
        <pc:spChg chg="mod">
          <ac:chgData name="Eileen Fleming Suse" userId="S::efs3844@ads.northwestern.edu::725c94ef-d051-42d7-9d33-8572765d592b" providerId="AD" clId="Web-{8024C570-7E9A-022B-CE90-C0FD861720C1}" dt="2023-10-23T22:53:11.409" v="475" actId="1076"/>
          <ac:spMkLst>
            <pc:docMk/>
            <pc:sldMk cId="773696652" sldId="558"/>
            <ac:spMk id="5" creationId="{19C1D751-08DD-BD76-1181-C434C9849C27}"/>
          </ac:spMkLst>
        </pc:spChg>
        <pc:spChg chg="mod">
          <ac:chgData name="Eileen Fleming Suse" userId="S::efs3844@ads.northwestern.edu::725c94ef-d051-42d7-9d33-8572765d592b" providerId="AD" clId="Web-{8024C570-7E9A-022B-CE90-C0FD861720C1}" dt="2023-10-23T22:46:54.150" v="251" actId="1076"/>
          <ac:spMkLst>
            <pc:docMk/>
            <pc:sldMk cId="773696652" sldId="558"/>
            <ac:spMk id="6" creationId="{055E55DF-27B4-B9A8-84BB-DC4C1522901C}"/>
          </ac:spMkLst>
        </pc:spChg>
        <pc:spChg chg="mod">
          <ac:chgData name="Eileen Fleming Suse" userId="S::efs3844@ads.northwestern.edu::725c94ef-d051-42d7-9d33-8572765d592b" providerId="AD" clId="Web-{8024C570-7E9A-022B-CE90-C0FD861720C1}" dt="2023-10-23T22:46:54.119" v="245" actId="1076"/>
          <ac:spMkLst>
            <pc:docMk/>
            <pc:sldMk cId="773696652" sldId="558"/>
            <ac:spMk id="7" creationId="{98AEAD99-3E06-8D3F-3F0C-CDC9176523B6}"/>
          </ac:spMkLst>
        </pc:spChg>
        <pc:spChg chg="del">
          <ac:chgData name="Eileen Fleming Suse" userId="S::efs3844@ads.northwestern.edu::725c94ef-d051-42d7-9d33-8572765d592b" providerId="AD" clId="Web-{8024C570-7E9A-022B-CE90-C0FD861720C1}" dt="2023-10-23T22:44:48.491" v="170"/>
          <ac:spMkLst>
            <pc:docMk/>
            <pc:sldMk cId="773696652" sldId="558"/>
            <ac:spMk id="8" creationId="{6E760B7B-BD6C-24E2-33A9-EF4A040B086A}"/>
          </ac:spMkLst>
        </pc:spChg>
        <pc:spChg chg="mod">
          <ac:chgData name="Eileen Fleming Suse" userId="S::efs3844@ads.northwestern.edu::725c94ef-d051-42d7-9d33-8572765d592b" providerId="AD" clId="Web-{8024C570-7E9A-022B-CE90-C0FD861720C1}" dt="2023-10-23T22:46:54.119" v="246" actId="1076"/>
          <ac:spMkLst>
            <pc:docMk/>
            <pc:sldMk cId="773696652" sldId="558"/>
            <ac:spMk id="9" creationId="{6DCB2364-A5B2-FB37-162C-58D7616BFAA3}"/>
          </ac:spMkLst>
        </pc:spChg>
        <pc:spChg chg="mod">
          <ac:chgData name="Eileen Fleming Suse" userId="S::efs3844@ads.northwestern.edu::725c94ef-d051-42d7-9d33-8572765d592b" providerId="AD" clId="Web-{8024C570-7E9A-022B-CE90-C0FD861720C1}" dt="2023-10-23T22:46:54.119" v="247" actId="1076"/>
          <ac:spMkLst>
            <pc:docMk/>
            <pc:sldMk cId="773696652" sldId="558"/>
            <ac:spMk id="11" creationId="{33B71E7D-B0CF-32BF-4481-78C694C53404}"/>
          </ac:spMkLst>
        </pc:spChg>
        <pc:spChg chg="mod">
          <ac:chgData name="Eileen Fleming Suse" userId="S::efs3844@ads.northwestern.edu::725c94ef-d051-42d7-9d33-8572765d592b" providerId="AD" clId="Web-{8024C570-7E9A-022B-CE90-C0FD861720C1}" dt="2023-10-23T22:46:54.134" v="248" actId="1076"/>
          <ac:spMkLst>
            <pc:docMk/>
            <pc:sldMk cId="773696652" sldId="558"/>
            <ac:spMk id="13" creationId="{50A7250D-02AB-B054-06E1-32E9F8FC55C0}"/>
          </ac:spMkLst>
        </pc:spChg>
        <pc:spChg chg="mod">
          <ac:chgData name="Eileen Fleming Suse" userId="S::efs3844@ads.northwestern.edu::725c94ef-d051-42d7-9d33-8572765d592b" providerId="AD" clId="Web-{8024C570-7E9A-022B-CE90-C0FD861720C1}" dt="2023-10-23T22:46:54.134" v="249" actId="1076"/>
          <ac:spMkLst>
            <pc:docMk/>
            <pc:sldMk cId="773696652" sldId="558"/>
            <ac:spMk id="15" creationId="{63237A5A-8FBE-2248-7DAF-97A8D25F57D1}"/>
          </ac:spMkLst>
        </pc:spChg>
        <pc:spChg chg="mod">
          <ac:chgData name="Eileen Fleming Suse" userId="S::efs3844@ads.northwestern.edu::725c94ef-d051-42d7-9d33-8572765d592b" providerId="AD" clId="Web-{8024C570-7E9A-022B-CE90-C0FD861720C1}" dt="2023-10-23T22:46:54.150" v="250" actId="1076"/>
          <ac:spMkLst>
            <pc:docMk/>
            <pc:sldMk cId="773696652" sldId="558"/>
            <ac:spMk id="17" creationId="{9694707D-377A-FF99-AFDB-26A575A618C3}"/>
          </ac:spMkLst>
        </pc:spChg>
      </pc:sldChg>
      <pc:sldChg chg="addSp delSp modSp new mod setBg">
        <pc:chgData name="Eileen Fleming Suse" userId="S::efs3844@ads.northwestern.edu::725c94ef-d051-42d7-9d33-8572765d592b" providerId="AD" clId="Web-{8024C570-7E9A-022B-CE90-C0FD861720C1}" dt="2023-10-23T23:03:50.878" v="517"/>
        <pc:sldMkLst>
          <pc:docMk/>
          <pc:sldMk cId="202185053" sldId="559"/>
        </pc:sldMkLst>
        <pc:spChg chg="mod">
          <ac:chgData name="Eileen Fleming Suse" userId="S::efs3844@ads.northwestern.edu::725c94ef-d051-42d7-9d33-8572765d592b" providerId="AD" clId="Web-{8024C570-7E9A-022B-CE90-C0FD861720C1}" dt="2023-10-23T23:03:50.878" v="517"/>
          <ac:spMkLst>
            <pc:docMk/>
            <pc:sldMk cId="202185053" sldId="559"/>
            <ac:spMk id="2" creationId="{4DA6F726-268B-D1E3-168E-B1D635F770C9}"/>
          </ac:spMkLst>
        </pc:spChg>
        <pc:spChg chg="del mod">
          <ac:chgData name="Eileen Fleming Suse" userId="S::efs3844@ads.northwestern.edu::725c94ef-d051-42d7-9d33-8572765d592b" providerId="AD" clId="Web-{8024C570-7E9A-022B-CE90-C0FD861720C1}" dt="2023-10-23T23:03:50.878" v="517"/>
          <ac:spMkLst>
            <pc:docMk/>
            <pc:sldMk cId="202185053" sldId="559"/>
            <ac:spMk id="3" creationId="{97C35C3F-414A-0BEC-2B1F-CEADE5601055}"/>
          </ac:spMkLst>
        </pc:spChg>
        <pc:spChg chg="add">
          <ac:chgData name="Eileen Fleming Suse" userId="S::efs3844@ads.northwestern.edu::725c94ef-d051-42d7-9d33-8572765d592b" providerId="AD" clId="Web-{8024C570-7E9A-022B-CE90-C0FD861720C1}" dt="2023-10-23T23:03:50.878" v="517"/>
          <ac:spMkLst>
            <pc:docMk/>
            <pc:sldMk cId="202185053" sldId="559"/>
            <ac:spMk id="9" creationId="{35DB3719-6FDC-4E5D-891D-FF40B7300F64}"/>
          </ac:spMkLst>
        </pc:spChg>
        <pc:spChg chg="add">
          <ac:chgData name="Eileen Fleming Suse" userId="S::efs3844@ads.northwestern.edu::725c94ef-d051-42d7-9d33-8572765d592b" providerId="AD" clId="Web-{8024C570-7E9A-022B-CE90-C0FD861720C1}" dt="2023-10-23T23:03:50.878" v="517"/>
          <ac:spMkLst>
            <pc:docMk/>
            <pc:sldMk cId="202185053" sldId="559"/>
            <ac:spMk id="11" creationId="{E0CBAC23-2E3F-4A90-BA59-F8299F6A5439}"/>
          </ac:spMkLst>
        </pc:spChg>
        <pc:graphicFrameChg chg="add">
          <ac:chgData name="Eileen Fleming Suse" userId="S::efs3844@ads.northwestern.edu::725c94ef-d051-42d7-9d33-8572765d592b" providerId="AD" clId="Web-{8024C570-7E9A-022B-CE90-C0FD861720C1}" dt="2023-10-23T23:03:50.878" v="517"/>
          <ac:graphicFrameMkLst>
            <pc:docMk/>
            <pc:sldMk cId="202185053" sldId="559"/>
            <ac:graphicFrameMk id="5" creationId="{6E278A11-E295-101C-28FB-746B039E4D18}"/>
          </ac:graphicFrameMkLst>
        </pc:graphicFrameChg>
      </pc:sldChg>
    </pc:docChg>
  </pc:docChgLst>
  <pc:docChgLst>
    <pc:chgData name="Alana Rivera" userId="S::arg3669@ads.northwestern.edu::fc8b707a-b7e9-4f2a-8d71-2d76819b7881" providerId="AD" clId="Web-{300BD813-CD9C-8649-0637-C0ACE24151DD}"/>
    <pc:docChg chg="addSld delSld modSld sldOrd">
      <pc:chgData name="Alana Rivera" userId="S::arg3669@ads.northwestern.edu::fc8b707a-b7e9-4f2a-8d71-2d76819b7881" providerId="AD" clId="Web-{300BD813-CD9C-8649-0637-C0ACE24151DD}" dt="2023-10-26T17:23:46.185" v="32" actId="20577"/>
      <pc:docMkLst>
        <pc:docMk/>
      </pc:docMkLst>
      <pc:sldChg chg="del">
        <pc:chgData name="Alana Rivera" userId="S::arg3669@ads.northwestern.edu::fc8b707a-b7e9-4f2a-8d71-2d76819b7881" providerId="AD" clId="Web-{300BD813-CD9C-8649-0637-C0ACE24151DD}" dt="2023-10-26T17:18:35.956" v="18"/>
        <pc:sldMkLst>
          <pc:docMk/>
          <pc:sldMk cId="2997078466" sldId="557"/>
        </pc:sldMkLst>
      </pc:sldChg>
      <pc:sldChg chg="add del ord">
        <pc:chgData name="Alana Rivera" userId="S::arg3669@ads.northwestern.edu::fc8b707a-b7e9-4f2a-8d71-2d76819b7881" providerId="AD" clId="Web-{300BD813-CD9C-8649-0637-C0ACE24151DD}" dt="2023-10-26T17:21:29.055" v="25"/>
        <pc:sldMkLst>
          <pc:docMk/>
          <pc:sldMk cId="2564870475" sldId="566"/>
        </pc:sldMkLst>
      </pc:sldChg>
      <pc:sldChg chg="add del ord">
        <pc:chgData name="Alana Rivera" userId="S::arg3669@ads.northwestern.edu::fc8b707a-b7e9-4f2a-8d71-2d76819b7881" providerId="AD" clId="Web-{300BD813-CD9C-8649-0637-C0ACE24151DD}" dt="2023-10-26T17:21:29.055" v="24"/>
        <pc:sldMkLst>
          <pc:docMk/>
          <pc:sldMk cId="3419957415" sldId="577"/>
        </pc:sldMkLst>
      </pc:sldChg>
      <pc:sldChg chg="add">
        <pc:chgData name="Alana Rivera" userId="S::arg3669@ads.northwestern.edu::fc8b707a-b7e9-4f2a-8d71-2d76819b7881" providerId="AD" clId="Web-{300BD813-CD9C-8649-0637-C0ACE24151DD}" dt="2023-10-26T17:04:53.337" v="0"/>
        <pc:sldMkLst>
          <pc:docMk/>
          <pc:sldMk cId="785115983" sldId="578"/>
        </pc:sldMkLst>
      </pc:sldChg>
      <pc:sldChg chg="add">
        <pc:chgData name="Alana Rivera" userId="S::arg3669@ads.northwestern.edu::fc8b707a-b7e9-4f2a-8d71-2d76819b7881" providerId="AD" clId="Web-{300BD813-CD9C-8649-0637-C0ACE24151DD}" dt="2023-10-26T17:04:54.196" v="1"/>
        <pc:sldMkLst>
          <pc:docMk/>
          <pc:sldMk cId="3030449316" sldId="579"/>
        </pc:sldMkLst>
      </pc:sldChg>
      <pc:sldChg chg="add">
        <pc:chgData name="Alana Rivera" userId="S::arg3669@ads.northwestern.edu::fc8b707a-b7e9-4f2a-8d71-2d76819b7881" providerId="AD" clId="Web-{300BD813-CD9C-8649-0637-C0ACE24151DD}" dt="2023-10-26T17:04:56.431" v="2"/>
        <pc:sldMkLst>
          <pc:docMk/>
          <pc:sldMk cId="4283907660" sldId="580"/>
        </pc:sldMkLst>
      </pc:sldChg>
      <pc:sldChg chg="add">
        <pc:chgData name="Alana Rivera" userId="S::arg3669@ads.northwestern.edu::fc8b707a-b7e9-4f2a-8d71-2d76819b7881" providerId="AD" clId="Web-{300BD813-CD9C-8649-0637-C0ACE24151DD}" dt="2023-10-26T17:04:59.978" v="3"/>
        <pc:sldMkLst>
          <pc:docMk/>
          <pc:sldMk cId="3429940818" sldId="581"/>
        </pc:sldMkLst>
      </pc:sldChg>
      <pc:sldChg chg="add">
        <pc:chgData name="Alana Rivera" userId="S::arg3669@ads.northwestern.edu::fc8b707a-b7e9-4f2a-8d71-2d76819b7881" providerId="AD" clId="Web-{300BD813-CD9C-8649-0637-C0ACE24151DD}" dt="2023-10-26T17:05:01.665" v="4"/>
        <pc:sldMkLst>
          <pc:docMk/>
          <pc:sldMk cId="4156128006" sldId="582"/>
        </pc:sldMkLst>
      </pc:sldChg>
      <pc:sldChg chg="modSp add">
        <pc:chgData name="Alana Rivera" userId="S::arg3669@ads.northwestern.edu::fc8b707a-b7e9-4f2a-8d71-2d76819b7881" providerId="AD" clId="Web-{300BD813-CD9C-8649-0637-C0ACE24151DD}" dt="2023-10-26T17:23:46.185" v="32" actId="20577"/>
        <pc:sldMkLst>
          <pc:docMk/>
          <pc:sldMk cId="3870927286" sldId="583"/>
        </pc:sldMkLst>
        <pc:spChg chg="mod">
          <ac:chgData name="Alana Rivera" userId="S::arg3669@ads.northwestern.edu::fc8b707a-b7e9-4f2a-8d71-2d76819b7881" providerId="AD" clId="Web-{300BD813-CD9C-8649-0637-C0ACE24151DD}" dt="2023-10-26T17:23:46.185" v="32" actId="20577"/>
          <ac:spMkLst>
            <pc:docMk/>
            <pc:sldMk cId="3870927286" sldId="583"/>
            <ac:spMk id="2" creationId="{00000000-0000-0000-0000-000000000000}"/>
          </ac:spMkLst>
        </pc:spChg>
        <pc:spChg chg="mod">
          <ac:chgData name="Alana Rivera" userId="S::arg3669@ads.northwestern.edu::fc8b707a-b7e9-4f2a-8d71-2d76819b7881" providerId="AD" clId="Web-{300BD813-CD9C-8649-0637-C0ACE24151DD}" dt="2023-10-26T17:18:03.096" v="14" actId="14100"/>
          <ac:spMkLst>
            <pc:docMk/>
            <pc:sldMk cId="3870927286" sldId="583"/>
            <ac:spMk id="13" creationId="{00000000-0000-0000-0000-000000000000}"/>
          </ac:spMkLst>
        </pc:spChg>
        <pc:spChg chg="mod">
          <ac:chgData name="Alana Rivera" userId="S::arg3669@ads.northwestern.edu::fc8b707a-b7e9-4f2a-8d71-2d76819b7881" providerId="AD" clId="Web-{300BD813-CD9C-8649-0637-C0ACE24151DD}" dt="2023-10-26T17:18:12.878" v="15" actId="1076"/>
          <ac:spMkLst>
            <pc:docMk/>
            <pc:sldMk cId="3870927286" sldId="583"/>
            <ac:spMk id="40" creationId="{00000000-0000-0000-0000-000000000000}"/>
          </ac:spMkLst>
        </pc:spChg>
        <pc:grpChg chg="mod">
          <ac:chgData name="Alana Rivera" userId="S::arg3669@ads.northwestern.edu::fc8b707a-b7e9-4f2a-8d71-2d76819b7881" providerId="AD" clId="Web-{300BD813-CD9C-8649-0637-C0ACE24151DD}" dt="2023-10-26T17:18:02.987" v="13" actId="14100"/>
          <ac:grpSpMkLst>
            <pc:docMk/>
            <pc:sldMk cId="3870927286" sldId="583"/>
            <ac:grpSpMk id="6" creationId="{00000000-0000-0000-0000-000000000000}"/>
          </ac:grpSpMkLst>
        </pc:grpChg>
        <pc:grpChg chg="mod">
          <ac:chgData name="Alana Rivera" userId="S::arg3669@ads.northwestern.edu::fc8b707a-b7e9-4f2a-8d71-2d76819b7881" providerId="AD" clId="Web-{300BD813-CD9C-8649-0637-C0ACE24151DD}" dt="2023-10-26T17:18:22.550" v="17" actId="14100"/>
          <ac:grpSpMkLst>
            <pc:docMk/>
            <pc:sldMk cId="3870927286" sldId="583"/>
            <ac:grpSpMk id="15" creationId="{00000000-0000-0000-0000-000000000000}"/>
          </ac:grpSpMkLst>
        </pc:grpChg>
        <pc:grpChg chg="mod">
          <ac:chgData name="Alana Rivera" userId="S::arg3669@ads.northwestern.edu::fc8b707a-b7e9-4f2a-8d71-2d76819b7881" providerId="AD" clId="Web-{300BD813-CD9C-8649-0637-C0ACE24151DD}" dt="2023-10-26T17:17:40.751" v="10" actId="14100"/>
          <ac:grpSpMkLst>
            <pc:docMk/>
            <pc:sldMk cId="3870927286" sldId="583"/>
            <ac:grpSpMk id="33" creationId="{00000000-0000-0000-0000-000000000000}"/>
          </ac:grpSpMkLst>
        </pc:grpChg>
      </pc:sldChg>
      <pc:sldChg chg="add">
        <pc:chgData name="Alana Rivera" userId="S::arg3669@ads.northwestern.edu::fc8b707a-b7e9-4f2a-8d71-2d76819b7881" providerId="AD" clId="Web-{300BD813-CD9C-8649-0637-C0ACE24151DD}" dt="2023-10-26T17:18:48.004" v="19"/>
        <pc:sldMkLst>
          <pc:docMk/>
          <pc:sldMk cId="3573947264" sldId="584"/>
        </pc:sldMkLst>
      </pc:sldChg>
    </pc:docChg>
  </pc:docChgLst>
  <pc:docChgLst>
    <pc:chgData name="Eileen Fleming Suse" userId="S::efs3844@ads.northwestern.edu::725c94ef-d051-42d7-9d33-8572765d592b" providerId="AD" clId="Web-{0341ED96-5143-9562-5248-833DF36573A1}"/>
    <pc:docChg chg="delSld">
      <pc:chgData name="Eileen Fleming Suse" userId="S::efs3844@ads.northwestern.edu::725c94ef-d051-42d7-9d33-8572765d592b" providerId="AD" clId="Web-{0341ED96-5143-9562-5248-833DF36573A1}" dt="2023-10-23T23:48:58.023" v="0"/>
      <pc:docMkLst>
        <pc:docMk/>
      </pc:docMkLst>
      <pc:sldChg chg="del">
        <pc:chgData name="Eileen Fleming Suse" userId="S::efs3844@ads.northwestern.edu::725c94ef-d051-42d7-9d33-8572765d592b" providerId="AD" clId="Web-{0341ED96-5143-9562-5248-833DF36573A1}" dt="2023-10-23T23:48:58.023" v="0"/>
        <pc:sldMkLst>
          <pc:docMk/>
          <pc:sldMk cId="202185053" sldId="559"/>
        </pc:sldMkLst>
      </pc:sldChg>
    </pc:docChg>
  </pc:docChgLst>
  <pc:docChgLst>
    <pc:chgData name="Eileen Fleming Suse" userId="S::efs3844@ads.northwestern.edu::725c94ef-d051-42d7-9d33-8572765d592b" providerId="AD" clId="Web-{27D417B1-AC1D-5613-774C-09BCD51B442A}"/>
    <pc:docChg chg="addSld delSld modSld sldOrd">
      <pc:chgData name="Eileen Fleming Suse" userId="S::efs3844@ads.northwestern.edu::725c94ef-d051-42d7-9d33-8572765d592b" providerId="AD" clId="Web-{27D417B1-AC1D-5613-774C-09BCD51B442A}" dt="2023-11-20T15:57:10.100" v="150" actId="20577"/>
      <pc:docMkLst>
        <pc:docMk/>
      </pc:docMkLst>
      <pc:sldChg chg="modSp">
        <pc:chgData name="Eileen Fleming Suse" userId="S::efs3844@ads.northwestern.edu::725c94ef-d051-42d7-9d33-8572765d592b" providerId="AD" clId="Web-{27D417B1-AC1D-5613-774C-09BCD51B442A}" dt="2023-11-20T15:49:46.887" v="131" actId="20577"/>
        <pc:sldMkLst>
          <pc:docMk/>
          <pc:sldMk cId="4044691067" sldId="283"/>
        </pc:sldMkLst>
        <pc:spChg chg="mod">
          <ac:chgData name="Eileen Fleming Suse" userId="S::efs3844@ads.northwestern.edu::725c94ef-d051-42d7-9d33-8572765d592b" providerId="AD" clId="Web-{27D417B1-AC1D-5613-774C-09BCD51B442A}" dt="2023-11-20T15:49:46.887" v="131" actId="20577"/>
          <ac:spMkLst>
            <pc:docMk/>
            <pc:sldMk cId="4044691067" sldId="283"/>
            <ac:spMk id="16387" creationId="{00000000-0000-0000-0000-000000000000}"/>
          </ac:spMkLst>
        </pc:spChg>
      </pc:sldChg>
      <pc:sldChg chg="modSp">
        <pc:chgData name="Eileen Fleming Suse" userId="S::efs3844@ads.northwestern.edu::725c94ef-d051-42d7-9d33-8572765d592b" providerId="AD" clId="Web-{27D417B1-AC1D-5613-774C-09BCD51B442A}" dt="2023-11-20T15:38:26.622" v="125" actId="1076"/>
        <pc:sldMkLst>
          <pc:docMk/>
          <pc:sldMk cId="97208790" sldId="723"/>
        </pc:sldMkLst>
        <pc:spChg chg="mod">
          <ac:chgData name="Eileen Fleming Suse" userId="S::efs3844@ads.northwestern.edu::725c94ef-d051-42d7-9d33-8572765d592b" providerId="AD" clId="Web-{27D417B1-AC1D-5613-774C-09BCD51B442A}" dt="2023-11-20T15:38:26.622" v="125" actId="1076"/>
          <ac:spMkLst>
            <pc:docMk/>
            <pc:sldMk cId="97208790" sldId="723"/>
            <ac:spMk id="8" creationId="{24CD5883-74F0-901B-1AE1-A53D4170658C}"/>
          </ac:spMkLst>
        </pc:spChg>
        <pc:spChg chg="mod">
          <ac:chgData name="Eileen Fleming Suse" userId="S::efs3844@ads.northwestern.edu::725c94ef-d051-42d7-9d33-8572765d592b" providerId="AD" clId="Web-{27D417B1-AC1D-5613-774C-09BCD51B442A}" dt="2023-11-20T15:38:26.575" v="124" actId="1076"/>
          <ac:spMkLst>
            <pc:docMk/>
            <pc:sldMk cId="97208790" sldId="723"/>
            <ac:spMk id="10" creationId="{8BCC0F5C-3791-38AB-6A34-E5D5FCAACFCB}"/>
          </ac:spMkLst>
        </pc:spChg>
      </pc:sldChg>
      <pc:sldChg chg="modSp">
        <pc:chgData name="Eileen Fleming Suse" userId="S::efs3844@ads.northwestern.edu::725c94ef-d051-42d7-9d33-8572765d592b" providerId="AD" clId="Web-{27D417B1-AC1D-5613-774C-09BCD51B442A}" dt="2023-11-20T15:48:31.322" v="126" actId="14100"/>
        <pc:sldMkLst>
          <pc:docMk/>
          <pc:sldMk cId="1390059426" sldId="726"/>
        </pc:sldMkLst>
        <pc:spChg chg="mod">
          <ac:chgData name="Eileen Fleming Suse" userId="S::efs3844@ads.northwestern.edu::725c94ef-d051-42d7-9d33-8572765d592b" providerId="AD" clId="Web-{27D417B1-AC1D-5613-774C-09BCD51B442A}" dt="2023-11-20T15:48:31.322" v="126" actId="14100"/>
          <ac:spMkLst>
            <pc:docMk/>
            <pc:sldMk cId="1390059426" sldId="726"/>
            <ac:spMk id="19" creationId="{F49C1F1A-614A-5749-1A3F-78980B65ADBC}"/>
          </ac:spMkLst>
        </pc:spChg>
        <pc:spChg chg="mod">
          <ac:chgData name="Eileen Fleming Suse" userId="S::efs3844@ads.northwestern.edu::725c94ef-d051-42d7-9d33-8572765d592b" providerId="AD" clId="Web-{27D417B1-AC1D-5613-774C-09BCD51B442A}" dt="2023-11-20T15:37:53.512" v="121" actId="20577"/>
          <ac:spMkLst>
            <pc:docMk/>
            <pc:sldMk cId="1390059426" sldId="726"/>
            <ac:spMk id="25" creationId="{6DD46D80-F576-4F56-C047-1645F85E88F8}"/>
          </ac:spMkLst>
        </pc:spChg>
        <pc:spChg chg="mod">
          <ac:chgData name="Eileen Fleming Suse" userId="S::efs3844@ads.northwestern.edu::725c94ef-d051-42d7-9d33-8572765d592b" providerId="AD" clId="Web-{27D417B1-AC1D-5613-774C-09BCD51B442A}" dt="2023-11-20T15:38:04.715" v="123" actId="20577"/>
          <ac:spMkLst>
            <pc:docMk/>
            <pc:sldMk cId="1390059426" sldId="726"/>
            <ac:spMk id="26" creationId="{585B113D-37B0-A626-E412-E3D462910528}"/>
          </ac:spMkLst>
        </pc:spChg>
      </pc:sldChg>
      <pc:sldChg chg="modSp">
        <pc:chgData name="Eileen Fleming Suse" userId="S::efs3844@ads.northwestern.edu::725c94ef-d051-42d7-9d33-8572765d592b" providerId="AD" clId="Web-{27D417B1-AC1D-5613-774C-09BCD51B442A}" dt="2023-11-20T15:48:42.401" v="127" actId="14100"/>
        <pc:sldMkLst>
          <pc:docMk/>
          <pc:sldMk cId="3339906105" sldId="727"/>
        </pc:sldMkLst>
        <pc:spChg chg="mod">
          <ac:chgData name="Eileen Fleming Suse" userId="S::efs3844@ads.northwestern.edu::725c94ef-d051-42d7-9d33-8572765d592b" providerId="AD" clId="Web-{27D417B1-AC1D-5613-774C-09BCD51B442A}" dt="2023-11-20T15:48:42.401" v="127" actId="14100"/>
          <ac:spMkLst>
            <pc:docMk/>
            <pc:sldMk cId="3339906105" sldId="727"/>
            <ac:spMk id="19" creationId="{F49C1F1A-614A-5749-1A3F-78980B65ADBC}"/>
          </ac:spMkLst>
        </pc:spChg>
        <pc:spChg chg="mod">
          <ac:chgData name="Eileen Fleming Suse" userId="S::efs3844@ads.northwestern.edu::725c94ef-d051-42d7-9d33-8572765d592b" providerId="AD" clId="Web-{27D417B1-AC1D-5613-774C-09BCD51B442A}" dt="2023-11-20T15:37:52.715" v="114" actId="20577"/>
          <ac:spMkLst>
            <pc:docMk/>
            <pc:sldMk cId="3339906105" sldId="727"/>
            <ac:spMk id="25" creationId="{6DD46D80-F576-4F56-C047-1645F85E88F8}"/>
          </ac:spMkLst>
        </pc:spChg>
        <pc:spChg chg="mod">
          <ac:chgData name="Eileen Fleming Suse" userId="S::efs3844@ads.northwestern.edu::725c94ef-d051-42d7-9d33-8572765d592b" providerId="AD" clId="Web-{27D417B1-AC1D-5613-774C-09BCD51B442A}" dt="2023-11-20T15:37:53.230" v="118" actId="20577"/>
          <ac:spMkLst>
            <pc:docMk/>
            <pc:sldMk cId="3339906105" sldId="727"/>
            <ac:spMk id="26" creationId="{585B113D-37B0-A626-E412-E3D462910528}"/>
          </ac:spMkLst>
        </pc:spChg>
      </pc:sldChg>
      <pc:sldChg chg="modSp">
        <pc:chgData name="Eileen Fleming Suse" userId="S::efs3844@ads.northwestern.edu::725c94ef-d051-42d7-9d33-8572765d592b" providerId="AD" clId="Web-{27D417B1-AC1D-5613-774C-09BCD51B442A}" dt="2023-11-20T15:37:42.293" v="112" actId="20577"/>
        <pc:sldMkLst>
          <pc:docMk/>
          <pc:sldMk cId="2917591221" sldId="728"/>
        </pc:sldMkLst>
        <pc:spChg chg="mod">
          <ac:chgData name="Eileen Fleming Suse" userId="S::efs3844@ads.northwestern.edu::725c94ef-d051-42d7-9d33-8572765d592b" providerId="AD" clId="Web-{27D417B1-AC1D-5613-774C-09BCD51B442A}" dt="2023-11-20T15:37:42.293" v="112" actId="20577"/>
          <ac:spMkLst>
            <pc:docMk/>
            <pc:sldMk cId="2917591221" sldId="728"/>
            <ac:spMk id="7" creationId="{9D897086-E6BA-012D-1320-EFFEB9FABF03}"/>
          </ac:spMkLst>
        </pc:spChg>
        <pc:spChg chg="mod">
          <ac:chgData name="Eileen Fleming Suse" userId="S::efs3844@ads.northwestern.edu::725c94ef-d051-42d7-9d33-8572765d592b" providerId="AD" clId="Web-{27D417B1-AC1D-5613-774C-09BCD51B442A}" dt="2023-11-20T15:37:17.620" v="107" actId="14100"/>
          <ac:spMkLst>
            <pc:docMk/>
            <pc:sldMk cId="2917591221" sldId="728"/>
            <ac:spMk id="51" creationId="{2B8C1492-BA4C-5D85-9326-D4D3751E6D7D}"/>
          </ac:spMkLst>
        </pc:spChg>
      </pc:sldChg>
      <pc:sldChg chg="del">
        <pc:chgData name="Eileen Fleming Suse" userId="S::efs3844@ads.northwestern.edu::725c94ef-d051-42d7-9d33-8572765d592b" providerId="AD" clId="Web-{27D417B1-AC1D-5613-774C-09BCD51B442A}" dt="2023-11-20T15:29:53.798" v="2"/>
        <pc:sldMkLst>
          <pc:docMk/>
          <pc:sldMk cId="3917006652" sldId="748"/>
        </pc:sldMkLst>
      </pc:sldChg>
      <pc:sldChg chg="modSp new ord">
        <pc:chgData name="Eileen Fleming Suse" userId="S::efs3844@ads.northwestern.edu::725c94ef-d051-42d7-9d33-8572765d592b" providerId="AD" clId="Web-{27D417B1-AC1D-5613-774C-09BCD51B442A}" dt="2023-11-20T15:36:59.401" v="100" actId="20577"/>
        <pc:sldMkLst>
          <pc:docMk/>
          <pc:sldMk cId="2760953721" sldId="749"/>
        </pc:sldMkLst>
        <pc:spChg chg="mod">
          <ac:chgData name="Eileen Fleming Suse" userId="S::efs3844@ads.northwestern.edu::725c94ef-d051-42d7-9d33-8572765d592b" providerId="AD" clId="Web-{27D417B1-AC1D-5613-774C-09BCD51B442A}" dt="2023-11-20T15:30:08.329" v="5" actId="20577"/>
          <ac:spMkLst>
            <pc:docMk/>
            <pc:sldMk cId="2760953721" sldId="749"/>
            <ac:spMk id="2" creationId="{74AC9D71-8472-37B2-2DA4-37F1220693E5}"/>
          </ac:spMkLst>
        </pc:spChg>
        <pc:spChg chg="mod">
          <ac:chgData name="Eileen Fleming Suse" userId="S::efs3844@ads.northwestern.edu::725c94ef-d051-42d7-9d33-8572765d592b" providerId="AD" clId="Web-{27D417B1-AC1D-5613-774C-09BCD51B442A}" dt="2023-11-20T15:36:59.401" v="100" actId="20577"/>
          <ac:spMkLst>
            <pc:docMk/>
            <pc:sldMk cId="2760953721" sldId="749"/>
            <ac:spMk id="3" creationId="{84541AC5-1E3B-8499-5879-C2F1A0A6D43C}"/>
          </ac:spMkLst>
        </pc:spChg>
      </pc:sldChg>
      <pc:sldChg chg="addSp delSp modSp new mod setBg">
        <pc:chgData name="Eileen Fleming Suse" userId="S::efs3844@ads.northwestern.edu::725c94ef-d051-42d7-9d33-8572765d592b" providerId="AD" clId="Web-{27D417B1-AC1D-5613-774C-09BCD51B442A}" dt="2023-11-20T15:57:10.100" v="150" actId="20577"/>
        <pc:sldMkLst>
          <pc:docMk/>
          <pc:sldMk cId="1123896291" sldId="750"/>
        </pc:sldMkLst>
        <pc:spChg chg="mod">
          <ac:chgData name="Eileen Fleming Suse" userId="S::efs3844@ads.northwestern.edu::725c94ef-d051-42d7-9d33-8572765d592b" providerId="AD" clId="Web-{27D417B1-AC1D-5613-774C-09BCD51B442A}" dt="2023-11-20T15:57:10.100" v="150" actId="20577"/>
          <ac:spMkLst>
            <pc:docMk/>
            <pc:sldMk cId="1123896291" sldId="750"/>
            <ac:spMk id="2" creationId="{4A8D5212-512B-94C8-CCF1-6B6881A37D96}"/>
          </ac:spMkLst>
        </pc:spChg>
        <pc:spChg chg="del">
          <ac:chgData name="Eileen Fleming Suse" userId="S::efs3844@ads.northwestern.edu::725c94ef-d051-42d7-9d33-8572765d592b" providerId="AD" clId="Web-{27D417B1-AC1D-5613-774C-09BCD51B442A}" dt="2023-11-20T15:55:41.535" v="134"/>
          <ac:spMkLst>
            <pc:docMk/>
            <pc:sldMk cId="1123896291" sldId="750"/>
            <ac:spMk id="3" creationId="{2D4DD92E-2259-317A-D4C7-1EEAB44E8B2A}"/>
          </ac:spMkLst>
        </pc:spChg>
        <pc:spChg chg="mod ord">
          <ac:chgData name="Eileen Fleming Suse" userId="S::efs3844@ads.northwestern.edu::725c94ef-d051-42d7-9d33-8572765d592b" providerId="AD" clId="Web-{27D417B1-AC1D-5613-774C-09BCD51B442A}" dt="2023-11-20T15:55:41.535" v="134"/>
          <ac:spMkLst>
            <pc:docMk/>
            <pc:sldMk cId="1123896291" sldId="750"/>
            <ac:spMk id="4" creationId="{8DB75264-273F-4605-2A91-81ECE1A7E3C2}"/>
          </ac:spMkLst>
        </pc:spChg>
        <pc:spChg chg="mod">
          <ac:chgData name="Eileen Fleming Suse" userId="S::efs3844@ads.northwestern.edu::725c94ef-d051-42d7-9d33-8572765d592b" providerId="AD" clId="Web-{27D417B1-AC1D-5613-774C-09BCD51B442A}" dt="2023-11-20T15:55:41.535" v="134"/>
          <ac:spMkLst>
            <pc:docMk/>
            <pc:sldMk cId="1123896291" sldId="750"/>
            <ac:spMk id="5" creationId="{D7979332-6D70-E77E-398C-79FEE378C255}"/>
          </ac:spMkLst>
        </pc:spChg>
        <pc:spChg chg="add">
          <ac:chgData name="Eileen Fleming Suse" userId="S::efs3844@ads.northwestern.edu::725c94ef-d051-42d7-9d33-8572765d592b" providerId="AD" clId="Web-{27D417B1-AC1D-5613-774C-09BCD51B442A}" dt="2023-11-20T15:55:41.535" v="134"/>
          <ac:spMkLst>
            <pc:docMk/>
            <pc:sldMk cId="1123896291" sldId="750"/>
            <ac:spMk id="11" creationId="{0671A8AE-40A1-4631-A6B8-581AFF065482}"/>
          </ac:spMkLst>
        </pc:spChg>
        <pc:spChg chg="add">
          <ac:chgData name="Eileen Fleming Suse" userId="S::efs3844@ads.northwestern.edu::725c94ef-d051-42d7-9d33-8572765d592b" providerId="AD" clId="Web-{27D417B1-AC1D-5613-774C-09BCD51B442A}" dt="2023-11-20T15:55:41.535" v="134"/>
          <ac:spMkLst>
            <pc:docMk/>
            <pc:sldMk cId="1123896291" sldId="750"/>
            <ac:spMk id="13" creationId="{AB58EF07-17C2-48CF-ABB0-EEF1F17CB8F0}"/>
          </ac:spMkLst>
        </pc:spChg>
        <pc:spChg chg="add">
          <ac:chgData name="Eileen Fleming Suse" userId="S::efs3844@ads.northwestern.edu::725c94ef-d051-42d7-9d33-8572765d592b" providerId="AD" clId="Web-{27D417B1-AC1D-5613-774C-09BCD51B442A}" dt="2023-11-20T15:55:41.535" v="134"/>
          <ac:spMkLst>
            <pc:docMk/>
            <pc:sldMk cId="1123896291" sldId="750"/>
            <ac:spMk id="15" creationId="{AF2F604E-43BE-4DC3-B983-E071523364F8}"/>
          </ac:spMkLst>
        </pc:spChg>
        <pc:spChg chg="add">
          <ac:chgData name="Eileen Fleming Suse" userId="S::efs3844@ads.northwestern.edu::725c94ef-d051-42d7-9d33-8572765d592b" providerId="AD" clId="Web-{27D417B1-AC1D-5613-774C-09BCD51B442A}" dt="2023-11-20T15:55:41.535" v="134"/>
          <ac:spMkLst>
            <pc:docMk/>
            <pc:sldMk cId="1123896291" sldId="750"/>
            <ac:spMk id="17" creationId="{08C9B587-E65E-4B52-B37C-ABEBB6E87928}"/>
          </ac:spMkLst>
        </pc:spChg>
        <pc:picChg chg="add">
          <ac:chgData name="Eileen Fleming Suse" userId="S::efs3844@ads.northwestern.edu::725c94ef-d051-42d7-9d33-8572765d592b" providerId="AD" clId="Web-{27D417B1-AC1D-5613-774C-09BCD51B442A}" dt="2023-11-20T15:55:41.535" v="134"/>
          <ac:picMkLst>
            <pc:docMk/>
            <pc:sldMk cId="1123896291" sldId="750"/>
            <ac:picMk id="7" creationId="{3A359654-A2A5-BB69-5A24-18BCC5C338AC}"/>
          </ac:picMkLst>
        </pc:picChg>
      </pc:sldChg>
    </pc:docChg>
  </pc:docChgLst>
  <pc:docChgLst>
    <pc:chgData name="Isabel Rose Gippo" userId="S::irg9370@ads.northwestern.edu::b10bfe7e-55b9-46dd-9add-2eb52cb66d3b" providerId="AD" clId="Web-{4159E2D1-1878-F778-C779-F53B58D257B9}"/>
    <pc:docChg chg="addSld delSld modSld">
      <pc:chgData name="Isabel Rose Gippo" userId="S::irg9370@ads.northwestern.edu::b10bfe7e-55b9-46dd-9add-2eb52cb66d3b" providerId="AD" clId="Web-{4159E2D1-1878-F778-C779-F53B58D257B9}" dt="2023-10-27T17:39:04.029" v="47" actId="1076"/>
      <pc:docMkLst>
        <pc:docMk/>
      </pc:docMkLst>
      <pc:sldChg chg="del">
        <pc:chgData name="Isabel Rose Gippo" userId="S::irg9370@ads.northwestern.edu::b10bfe7e-55b9-46dd-9add-2eb52cb66d3b" providerId="AD" clId="Web-{4159E2D1-1878-F778-C779-F53B58D257B9}" dt="2023-10-27T17:35:16.904" v="10"/>
        <pc:sldMkLst>
          <pc:docMk/>
          <pc:sldMk cId="3969440120" sldId="593"/>
        </pc:sldMkLst>
      </pc:sldChg>
      <pc:sldChg chg="del">
        <pc:chgData name="Isabel Rose Gippo" userId="S::irg9370@ads.northwestern.edu::b10bfe7e-55b9-46dd-9add-2eb52cb66d3b" providerId="AD" clId="Web-{4159E2D1-1878-F778-C779-F53B58D257B9}" dt="2023-10-27T17:35:13.185" v="9"/>
        <pc:sldMkLst>
          <pc:docMk/>
          <pc:sldMk cId="2412661198" sldId="594"/>
        </pc:sldMkLst>
      </pc:sldChg>
      <pc:sldChg chg="del">
        <pc:chgData name="Isabel Rose Gippo" userId="S::irg9370@ads.northwestern.edu::b10bfe7e-55b9-46dd-9add-2eb52cb66d3b" providerId="AD" clId="Web-{4159E2D1-1878-F778-C779-F53B58D257B9}" dt="2023-10-27T17:35:10.638" v="8"/>
        <pc:sldMkLst>
          <pc:docMk/>
          <pc:sldMk cId="3516145000" sldId="595"/>
        </pc:sldMkLst>
      </pc:sldChg>
      <pc:sldChg chg="del">
        <pc:chgData name="Isabel Rose Gippo" userId="S::irg9370@ads.northwestern.edu::b10bfe7e-55b9-46dd-9add-2eb52cb66d3b" providerId="AD" clId="Web-{4159E2D1-1878-F778-C779-F53B58D257B9}" dt="2023-10-27T17:35:06.920" v="7"/>
        <pc:sldMkLst>
          <pc:docMk/>
          <pc:sldMk cId="2417460478" sldId="596"/>
        </pc:sldMkLst>
      </pc:sldChg>
      <pc:sldChg chg="modSp add">
        <pc:chgData name="Isabel Rose Gippo" userId="S::irg9370@ads.northwestern.edu::b10bfe7e-55b9-46dd-9add-2eb52cb66d3b" providerId="AD" clId="Web-{4159E2D1-1878-F778-C779-F53B58D257B9}" dt="2023-10-27T17:35:02.779" v="6" actId="14100"/>
        <pc:sldMkLst>
          <pc:docMk/>
          <pc:sldMk cId="2628065282" sldId="597"/>
        </pc:sldMkLst>
        <pc:spChg chg="mod">
          <ac:chgData name="Isabel Rose Gippo" userId="S::irg9370@ads.northwestern.edu::b10bfe7e-55b9-46dd-9add-2eb52cb66d3b" providerId="AD" clId="Web-{4159E2D1-1878-F778-C779-F53B58D257B9}" dt="2023-10-27T17:35:02.779" v="6" actId="14100"/>
          <ac:spMkLst>
            <pc:docMk/>
            <pc:sldMk cId="2628065282" sldId="597"/>
            <ac:spMk id="7" creationId="{D7D575A1-5794-5E5A-2C30-51F659D538FF}"/>
          </ac:spMkLst>
        </pc:spChg>
      </pc:sldChg>
      <pc:sldChg chg="add">
        <pc:chgData name="Isabel Rose Gippo" userId="S::irg9370@ads.northwestern.edu::b10bfe7e-55b9-46dd-9add-2eb52cb66d3b" providerId="AD" clId="Web-{4159E2D1-1878-F778-C779-F53B58D257B9}" dt="2023-10-27T17:34:19.138" v="1"/>
        <pc:sldMkLst>
          <pc:docMk/>
          <pc:sldMk cId="1478149357" sldId="598"/>
        </pc:sldMkLst>
      </pc:sldChg>
      <pc:sldChg chg="add">
        <pc:chgData name="Isabel Rose Gippo" userId="S::irg9370@ads.northwestern.edu::b10bfe7e-55b9-46dd-9add-2eb52cb66d3b" providerId="AD" clId="Web-{4159E2D1-1878-F778-C779-F53B58D257B9}" dt="2023-10-27T17:34:48.717" v="2"/>
        <pc:sldMkLst>
          <pc:docMk/>
          <pc:sldMk cId="2470795492" sldId="599"/>
        </pc:sldMkLst>
      </pc:sldChg>
      <pc:sldChg chg="add">
        <pc:chgData name="Isabel Rose Gippo" userId="S::irg9370@ads.northwestern.edu::b10bfe7e-55b9-46dd-9add-2eb52cb66d3b" providerId="AD" clId="Web-{4159E2D1-1878-F778-C779-F53B58D257B9}" dt="2023-10-27T17:34:49.404" v="3"/>
        <pc:sldMkLst>
          <pc:docMk/>
          <pc:sldMk cId="2592767400" sldId="600"/>
        </pc:sldMkLst>
      </pc:sldChg>
      <pc:sldChg chg="add">
        <pc:chgData name="Isabel Rose Gippo" userId="S::irg9370@ads.northwestern.edu::b10bfe7e-55b9-46dd-9add-2eb52cb66d3b" providerId="AD" clId="Web-{4159E2D1-1878-F778-C779-F53B58D257B9}" dt="2023-10-27T17:34:50.092" v="4"/>
        <pc:sldMkLst>
          <pc:docMk/>
          <pc:sldMk cId="3023536423" sldId="601"/>
        </pc:sldMkLst>
      </pc:sldChg>
      <pc:sldChg chg="add">
        <pc:chgData name="Isabel Rose Gippo" userId="S::irg9370@ads.northwestern.edu::b10bfe7e-55b9-46dd-9add-2eb52cb66d3b" providerId="AD" clId="Web-{4159E2D1-1878-F778-C779-F53B58D257B9}" dt="2023-10-27T17:34:50.779" v="5"/>
        <pc:sldMkLst>
          <pc:docMk/>
          <pc:sldMk cId="1011826885" sldId="602"/>
        </pc:sldMkLst>
      </pc:sldChg>
      <pc:sldChg chg="add">
        <pc:chgData name="Isabel Rose Gippo" userId="S::irg9370@ads.northwestern.edu::b10bfe7e-55b9-46dd-9add-2eb52cb66d3b" providerId="AD" clId="Web-{4159E2D1-1878-F778-C779-F53B58D257B9}" dt="2023-10-27T17:35:26.013" v="11"/>
        <pc:sldMkLst>
          <pc:docMk/>
          <pc:sldMk cId="600547746" sldId="603"/>
        </pc:sldMkLst>
      </pc:sldChg>
      <pc:sldChg chg="add addCm">
        <pc:chgData name="Isabel Rose Gippo" userId="S::irg9370@ads.northwestern.edu::b10bfe7e-55b9-46dd-9add-2eb52cb66d3b" providerId="AD" clId="Web-{4159E2D1-1878-F778-C779-F53B58D257B9}" dt="2023-10-27T17:36:25.967" v="14"/>
        <pc:sldMkLst>
          <pc:docMk/>
          <pc:sldMk cId="3355787309" sldId="604"/>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4159E2D1-1878-F778-C779-F53B58D257B9}" dt="2023-10-27T17:36:25.967" v="14"/>
              <pc2:cmMkLst xmlns:pc2="http://schemas.microsoft.com/office/powerpoint/2019/9/main/command">
                <pc:docMk/>
                <pc:sldMk cId="3355787309" sldId="604"/>
                <pc2:cmMk id="{5635E0A6-AC69-4FB6-B7FE-9DA078BBCAEE}"/>
              </pc2:cmMkLst>
            </pc226:cmChg>
          </p:ext>
        </pc:extLst>
      </pc:sldChg>
      <pc:sldChg chg="add">
        <pc:chgData name="Isabel Rose Gippo" userId="S::irg9370@ads.northwestern.edu::b10bfe7e-55b9-46dd-9add-2eb52cb66d3b" providerId="AD" clId="Web-{4159E2D1-1878-F778-C779-F53B58D257B9}" dt="2023-10-27T17:35:27.435" v="13"/>
        <pc:sldMkLst>
          <pc:docMk/>
          <pc:sldMk cId="1452140663" sldId="605"/>
        </pc:sldMkLst>
      </pc:sldChg>
      <pc:sldChg chg="add">
        <pc:chgData name="Isabel Rose Gippo" userId="S::irg9370@ads.northwestern.edu::b10bfe7e-55b9-46dd-9add-2eb52cb66d3b" providerId="AD" clId="Web-{4159E2D1-1878-F778-C779-F53B58D257B9}" dt="2023-10-27T17:36:48.201" v="15"/>
        <pc:sldMkLst>
          <pc:docMk/>
          <pc:sldMk cId="1937423064" sldId="606"/>
        </pc:sldMkLst>
      </pc:sldChg>
      <pc:sldChg chg="add">
        <pc:chgData name="Isabel Rose Gippo" userId="S::irg9370@ads.northwestern.edu::b10bfe7e-55b9-46dd-9add-2eb52cb66d3b" providerId="AD" clId="Web-{4159E2D1-1878-F778-C779-F53B58D257B9}" dt="2023-10-27T17:36:48.920" v="16"/>
        <pc:sldMkLst>
          <pc:docMk/>
          <pc:sldMk cId="3774016129" sldId="607"/>
        </pc:sldMkLst>
      </pc:sldChg>
      <pc:sldChg chg="add">
        <pc:chgData name="Isabel Rose Gippo" userId="S::irg9370@ads.northwestern.edu::b10bfe7e-55b9-46dd-9add-2eb52cb66d3b" providerId="AD" clId="Web-{4159E2D1-1878-F778-C779-F53B58D257B9}" dt="2023-10-27T17:36:49.623" v="17"/>
        <pc:sldMkLst>
          <pc:docMk/>
          <pc:sldMk cId="3226012611" sldId="608"/>
        </pc:sldMkLst>
      </pc:sldChg>
      <pc:sldChg chg="add">
        <pc:chgData name="Isabel Rose Gippo" userId="S::irg9370@ads.northwestern.edu::b10bfe7e-55b9-46dd-9add-2eb52cb66d3b" providerId="AD" clId="Web-{4159E2D1-1878-F778-C779-F53B58D257B9}" dt="2023-10-27T17:36:50.295" v="18"/>
        <pc:sldMkLst>
          <pc:docMk/>
          <pc:sldMk cId="2003568291" sldId="609"/>
        </pc:sldMkLst>
      </pc:sldChg>
      <pc:sldChg chg="add replId modNotes">
        <pc:chgData name="Isabel Rose Gippo" userId="S::irg9370@ads.northwestern.edu::b10bfe7e-55b9-46dd-9add-2eb52cb66d3b" providerId="AD" clId="Web-{4159E2D1-1878-F778-C779-F53B58D257B9}" dt="2023-10-27T17:37:46.435" v="26"/>
        <pc:sldMkLst>
          <pc:docMk/>
          <pc:sldMk cId="761656701" sldId="610"/>
        </pc:sldMkLst>
      </pc:sldChg>
      <pc:sldChg chg="add replId modNotes">
        <pc:chgData name="Isabel Rose Gippo" userId="S::irg9370@ads.northwestern.edu::b10bfe7e-55b9-46dd-9add-2eb52cb66d3b" providerId="AD" clId="Web-{4159E2D1-1878-F778-C779-F53B58D257B9}" dt="2023-10-27T17:38:01.529" v="31"/>
        <pc:sldMkLst>
          <pc:docMk/>
          <pc:sldMk cId="2881039477" sldId="611"/>
        </pc:sldMkLst>
      </pc:sldChg>
      <pc:sldChg chg="new modNotes">
        <pc:chgData name="Isabel Rose Gippo" userId="S::irg9370@ads.northwestern.edu::b10bfe7e-55b9-46dd-9add-2eb52cb66d3b" providerId="AD" clId="Web-{4159E2D1-1878-F778-C779-F53B58D257B9}" dt="2023-10-27T17:38:59.920" v="43"/>
        <pc:sldMkLst>
          <pc:docMk/>
          <pc:sldMk cId="2453854057" sldId="612"/>
        </pc:sldMkLst>
      </pc:sldChg>
      <pc:sldChg chg="new modNotes">
        <pc:chgData name="Isabel Rose Gippo" userId="S::irg9370@ads.northwestern.edu::b10bfe7e-55b9-46dd-9add-2eb52cb66d3b" providerId="AD" clId="Web-{4159E2D1-1878-F778-C779-F53B58D257B9}" dt="2023-10-27T17:38:25.201" v="40"/>
        <pc:sldMkLst>
          <pc:docMk/>
          <pc:sldMk cId="2100949110" sldId="613"/>
        </pc:sldMkLst>
      </pc:sldChg>
      <pc:sldChg chg="modSp new modNotes">
        <pc:chgData name="Isabel Rose Gippo" userId="S::irg9370@ads.northwestern.edu::b10bfe7e-55b9-46dd-9add-2eb52cb66d3b" providerId="AD" clId="Web-{4159E2D1-1878-F778-C779-F53B58D257B9}" dt="2023-10-27T17:39:04.029" v="47" actId="1076"/>
        <pc:sldMkLst>
          <pc:docMk/>
          <pc:sldMk cId="2272124241" sldId="614"/>
        </pc:sldMkLst>
        <pc:spChg chg="mod">
          <ac:chgData name="Isabel Rose Gippo" userId="S::irg9370@ads.northwestern.edu::b10bfe7e-55b9-46dd-9add-2eb52cb66d3b" providerId="AD" clId="Web-{4159E2D1-1878-F778-C779-F53B58D257B9}" dt="2023-10-27T17:39:04.029" v="47" actId="1076"/>
          <ac:spMkLst>
            <pc:docMk/>
            <pc:sldMk cId="2272124241" sldId="614"/>
            <ac:spMk id="5" creationId="{C0418939-1E64-B1E2-A591-B2119343AE0C}"/>
          </ac:spMkLst>
        </pc:spChg>
      </pc:sldChg>
    </pc:docChg>
  </pc:docChgLst>
  <pc:docChgLst>
    <pc:chgData name="Eileen Fleming Suse" userId="S::efs3844@ads.northwestern.edu::725c94ef-d051-42d7-9d33-8572765d592b" providerId="AD" clId="Web-{9DE0ADE9-A0A8-D2EA-1EF2-AD3C089DDA7A}"/>
    <pc:docChg chg="addSld delSld modSld addMainMaster">
      <pc:chgData name="Eileen Fleming Suse" userId="S::efs3844@ads.northwestern.edu::725c94ef-d051-42d7-9d33-8572765d592b" providerId="AD" clId="Web-{9DE0ADE9-A0A8-D2EA-1EF2-AD3C089DDA7A}" dt="2023-10-19T17:41:58.437" v="223"/>
      <pc:docMkLst>
        <pc:docMk/>
      </pc:docMkLst>
      <pc:sldChg chg="modSp">
        <pc:chgData name="Eileen Fleming Suse" userId="S::efs3844@ads.northwestern.edu::725c94ef-d051-42d7-9d33-8572765d592b" providerId="AD" clId="Web-{9DE0ADE9-A0A8-D2EA-1EF2-AD3C089DDA7A}" dt="2023-10-19T17:15:26.480" v="60" actId="20577"/>
        <pc:sldMkLst>
          <pc:docMk/>
          <pc:sldMk cId="3127921386" sldId="280"/>
        </pc:sldMkLst>
        <pc:spChg chg="mod">
          <ac:chgData name="Eileen Fleming Suse" userId="S::efs3844@ads.northwestern.edu::725c94ef-d051-42d7-9d33-8572765d592b" providerId="AD" clId="Web-{9DE0ADE9-A0A8-D2EA-1EF2-AD3C089DDA7A}" dt="2023-10-19T17:14:04.384" v="2" actId="20577"/>
          <ac:spMkLst>
            <pc:docMk/>
            <pc:sldMk cId="3127921386" sldId="280"/>
            <ac:spMk id="3" creationId="{1D742501-F937-8041-84E5-748F96AE991B}"/>
          </ac:spMkLst>
        </pc:spChg>
        <pc:spChg chg="mod">
          <ac:chgData name="Eileen Fleming Suse" userId="S::efs3844@ads.northwestern.edu::725c94ef-d051-42d7-9d33-8572765d592b" providerId="AD" clId="Web-{9DE0ADE9-A0A8-D2EA-1EF2-AD3C089DDA7A}" dt="2023-10-19T17:15:26.480" v="60" actId="20577"/>
          <ac:spMkLst>
            <pc:docMk/>
            <pc:sldMk cId="3127921386" sldId="280"/>
            <ac:spMk id="4" creationId="{19922563-64D6-2A4E-B048-13AC25DB45AD}"/>
          </ac:spMkLst>
        </pc:spChg>
      </pc:sldChg>
      <pc:sldChg chg="modSp">
        <pc:chgData name="Eileen Fleming Suse" userId="S::efs3844@ads.northwestern.edu::725c94ef-d051-42d7-9d33-8572765d592b" providerId="AD" clId="Web-{9DE0ADE9-A0A8-D2EA-1EF2-AD3C089DDA7A}" dt="2023-10-19T17:31:26.808" v="220" actId="20577"/>
        <pc:sldMkLst>
          <pc:docMk/>
          <pc:sldMk cId="4044691067" sldId="283"/>
        </pc:sldMkLst>
        <pc:spChg chg="mod">
          <ac:chgData name="Eileen Fleming Suse" userId="S::efs3844@ads.northwestern.edu::725c94ef-d051-42d7-9d33-8572765d592b" providerId="AD" clId="Web-{9DE0ADE9-A0A8-D2EA-1EF2-AD3C089DDA7A}" dt="2023-10-19T17:20:28.099" v="150" actId="20577"/>
          <ac:spMkLst>
            <pc:docMk/>
            <pc:sldMk cId="4044691067" sldId="283"/>
            <ac:spMk id="3" creationId="{00000000-0000-0000-0000-000000000000}"/>
          </ac:spMkLst>
        </pc:spChg>
        <pc:spChg chg="mod">
          <ac:chgData name="Eileen Fleming Suse" userId="S::efs3844@ads.northwestern.edu::725c94ef-d051-42d7-9d33-8572765d592b" providerId="AD" clId="Web-{9DE0ADE9-A0A8-D2EA-1EF2-AD3C089DDA7A}" dt="2023-10-19T17:31:26.808" v="220" actId="20577"/>
          <ac:spMkLst>
            <pc:docMk/>
            <pc:sldMk cId="4044691067" sldId="283"/>
            <ac:spMk id="16387" creationId="{00000000-0000-0000-0000-000000000000}"/>
          </ac:spMkLst>
        </pc:spChg>
      </pc:sldChg>
      <pc:sldChg chg="del">
        <pc:chgData name="Eileen Fleming Suse" userId="S::efs3844@ads.northwestern.edu::725c94ef-d051-42d7-9d33-8572765d592b" providerId="AD" clId="Web-{9DE0ADE9-A0A8-D2EA-1EF2-AD3C089DDA7A}" dt="2023-10-19T17:14:36.276" v="18"/>
        <pc:sldMkLst>
          <pc:docMk/>
          <pc:sldMk cId="2069350649" sldId="284"/>
        </pc:sldMkLst>
      </pc:sldChg>
      <pc:sldChg chg="del">
        <pc:chgData name="Eileen Fleming Suse" userId="S::efs3844@ads.northwestern.edu::725c94ef-d051-42d7-9d33-8572765d592b" providerId="AD" clId="Web-{9DE0ADE9-A0A8-D2EA-1EF2-AD3C089DDA7A}" dt="2023-10-19T17:14:43.713" v="23"/>
        <pc:sldMkLst>
          <pc:docMk/>
          <pc:sldMk cId="2092144123" sldId="285"/>
        </pc:sldMkLst>
      </pc:sldChg>
      <pc:sldChg chg="del">
        <pc:chgData name="Eileen Fleming Suse" userId="S::efs3844@ads.northwestern.edu::725c94ef-d051-42d7-9d33-8572765d592b" providerId="AD" clId="Web-{9DE0ADE9-A0A8-D2EA-1EF2-AD3C089DDA7A}" dt="2023-10-19T17:14:35.369" v="17"/>
        <pc:sldMkLst>
          <pc:docMk/>
          <pc:sldMk cId="1536630639" sldId="286"/>
        </pc:sldMkLst>
      </pc:sldChg>
      <pc:sldChg chg="del">
        <pc:chgData name="Eileen Fleming Suse" userId="S::efs3844@ads.northwestern.edu::725c94ef-d051-42d7-9d33-8572765d592b" providerId="AD" clId="Web-{9DE0ADE9-A0A8-D2EA-1EF2-AD3C089DDA7A}" dt="2023-10-19T17:14:37.760" v="19"/>
        <pc:sldMkLst>
          <pc:docMk/>
          <pc:sldMk cId="837706999" sldId="287"/>
        </pc:sldMkLst>
      </pc:sldChg>
      <pc:sldChg chg="del">
        <pc:chgData name="Eileen Fleming Suse" userId="S::efs3844@ads.northwestern.edu::725c94ef-d051-42d7-9d33-8572765d592b" providerId="AD" clId="Web-{9DE0ADE9-A0A8-D2EA-1EF2-AD3C089DDA7A}" dt="2023-10-19T17:14:38.151" v="20"/>
        <pc:sldMkLst>
          <pc:docMk/>
          <pc:sldMk cId="593652294" sldId="289"/>
        </pc:sldMkLst>
      </pc:sldChg>
      <pc:sldChg chg="del">
        <pc:chgData name="Eileen Fleming Suse" userId="S::efs3844@ads.northwestern.edu::725c94ef-d051-42d7-9d33-8572765d592b" providerId="AD" clId="Web-{9DE0ADE9-A0A8-D2EA-1EF2-AD3C089DDA7A}" dt="2023-10-19T17:14:24.494" v="5"/>
        <pc:sldMkLst>
          <pc:docMk/>
          <pc:sldMk cId="2453140522" sldId="291"/>
        </pc:sldMkLst>
      </pc:sldChg>
      <pc:sldChg chg="del">
        <pc:chgData name="Eileen Fleming Suse" userId="S::efs3844@ads.northwestern.edu::725c94ef-d051-42d7-9d33-8572765d592b" providerId="AD" clId="Web-{9DE0ADE9-A0A8-D2EA-1EF2-AD3C089DDA7A}" dt="2023-10-19T17:14:26.275" v="6"/>
        <pc:sldMkLst>
          <pc:docMk/>
          <pc:sldMk cId="1209325080" sldId="292"/>
        </pc:sldMkLst>
      </pc:sldChg>
      <pc:sldChg chg="del">
        <pc:chgData name="Eileen Fleming Suse" userId="S::efs3844@ads.northwestern.edu::725c94ef-d051-42d7-9d33-8572765d592b" providerId="AD" clId="Web-{9DE0ADE9-A0A8-D2EA-1EF2-AD3C089DDA7A}" dt="2023-10-19T17:14:42.213" v="22"/>
        <pc:sldMkLst>
          <pc:docMk/>
          <pc:sldMk cId="2487210000" sldId="294"/>
        </pc:sldMkLst>
      </pc:sldChg>
      <pc:sldChg chg="del">
        <pc:chgData name="Eileen Fleming Suse" userId="S::efs3844@ads.northwestern.edu::725c94ef-d051-42d7-9d33-8572765d592b" providerId="AD" clId="Web-{9DE0ADE9-A0A8-D2EA-1EF2-AD3C089DDA7A}" dt="2023-10-19T17:14:55.589" v="52"/>
        <pc:sldMkLst>
          <pc:docMk/>
          <pc:sldMk cId="2040509865" sldId="295"/>
        </pc:sldMkLst>
      </pc:sldChg>
      <pc:sldChg chg="del">
        <pc:chgData name="Eileen Fleming Suse" userId="S::efs3844@ads.northwestern.edu::725c94ef-d051-42d7-9d33-8572765d592b" providerId="AD" clId="Web-{9DE0ADE9-A0A8-D2EA-1EF2-AD3C089DDA7A}" dt="2023-10-19T17:14:55.417" v="35"/>
        <pc:sldMkLst>
          <pc:docMk/>
          <pc:sldMk cId="3613951002" sldId="299"/>
        </pc:sldMkLst>
      </pc:sldChg>
      <pc:sldChg chg="del">
        <pc:chgData name="Eileen Fleming Suse" userId="S::efs3844@ads.northwestern.edu::725c94ef-d051-42d7-9d33-8572765d592b" providerId="AD" clId="Web-{9DE0ADE9-A0A8-D2EA-1EF2-AD3C089DDA7A}" dt="2023-10-19T17:14:48.120" v="29"/>
        <pc:sldMkLst>
          <pc:docMk/>
          <pc:sldMk cId="426344767" sldId="300"/>
        </pc:sldMkLst>
      </pc:sldChg>
      <pc:sldChg chg="del">
        <pc:chgData name="Eileen Fleming Suse" userId="S::efs3844@ads.northwestern.edu::725c94ef-d051-42d7-9d33-8572765d592b" providerId="AD" clId="Web-{9DE0ADE9-A0A8-D2EA-1EF2-AD3C089DDA7A}" dt="2023-10-19T17:14:55.495" v="46"/>
        <pc:sldMkLst>
          <pc:docMk/>
          <pc:sldMk cId="1677014618" sldId="302"/>
        </pc:sldMkLst>
      </pc:sldChg>
      <pc:sldChg chg="del">
        <pc:chgData name="Eileen Fleming Suse" userId="S::efs3844@ads.northwestern.edu::725c94ef-d051-42d7-9d33-8572765d592b" providerId="AD" clId="Web-{9DE0ADE9-A0A8-D2EA-1EF2-AD3C089DDA7A}" dt="2023-10-19T17:14:55.526" v="48"/>
        <pc:sldMkLst>
          <pc:docMk/>
          <pc:sldMk cId="708289948" sldId="303"/>
        </pc:sldMkLst>
      </pc:sldChg>
      <pc:sldChg chg="del">
        <pc:chgData name="Eileen Fleming Suse" userId="S::efs3844@ads.northwestern.edu::725c94ef-d051-42d7-9d33-8572765d592b" providerId="AD" clId="Web-{9DE0ADE9-A0A8-D2EA-1EF2-AD3C089DDA7A}" dt="2023-10-19T17:14:55.511" v="47"/>
        <pc:sldMkLst>
          <pc:docMk/>
          <pc:sldMk cId="2653032575" sldId="304"/>
        </pc:sldMkLst>
      </pc:sldChg>
      <pc:sldChg chg="del">
        <pc:chgData name="Eileen Fleming Suse" userId="S::efs3844@ads.northwestern.edu::725c94ef-d051-42d7-9d33-8572765d592b" providerId="AD" clId="Web-{9DE0ADE9-A0A8-D2EA-1EF2-AD3C089DDA7A}" dt="2023-10-19T17:14:55.542" v="49"/>
        <pc:sldMkLst>
          <pc:docMk/>
          <pc:sldMk cId="1372958822" sldId="305"/>
        </pc:sldMkLst>
      </pc:sldChg>
      <pc:sldChg chg="del">
        <pc:chgData name="Eileen Fleming Suse" userId="S::efs3844@ads.northwestern.edu::725c94ef-d051-42d7-9d33-8572765d592b" providerId="AD" clId="Web-{9DE0ADE9-A0A8-D2EA-1EF2-AD3C089DDA7A}" dt="2023-10-19T17:14:55.479" v="45"/>
        <pc:sldMkLst>
          <pc:docMk/>
          <pc:sldMk cId="780409547" sldId="307"/>
        </pc:sldMkLst>
      </pc:sldChg>
      <pc:sldChg chg="del">
        <pc:chgData name="Eileen Fleming Suse" userId="S::efs3844@ads.northwestern.edu::725c94ef-d051-42d7-9d33-8572765d592b" providerId="AD" clId="Web-{9DE0ADE9-A0A8-D2EA-1EF2-AD3C089DDA7A}" dt="2023-10-19T17:14:55.589" v="53"/>
        <pc:sldMkLst>
          <pc:docMk/>
          <pc:sldMk cId="329125591" sldId="308"/>
        </pc:sldMkLst>
      </pc:sldChg>
      <pc:sldChg chg="del">
        <pc:chgData name="Eileen Fleming Suse" userId="S::efs3844@ads.northwestern.edu::725c94ef-d051-42d7-9d33-8572765d592b" providerId="AD" clId="Web-{9DE0ADE9-A0A8-D2EA-1EF2-AD3C089DDA7A}" dt="2023-10-19T17:14:44.213" v="24"/>
        <pc:sldMkLst>
          <pc:docMk/>
          <pc:sldMk cId="2033640025" sldId="309"/>
        </pc:sldMkLst>
      </pc:sldChg>
      <pc:sldChg chg="del">
        <pc:chgData name="Eileen Fleming Suse" userId="S::efs3844@ads.northwestern.edu::725c94ef-d051-42d7-9d33-8572765d592b" providerId="AD" clId="Web-{9DE0ADE9-A0A8-D2EA-1EF2-AD3C089DDA7A}" dt="2023-10-19T17:14:45.901" v="26"/>
        <pc:sldMkLst>
          <pc:docMk/>
          <pc:sldMk cId="1888859321" sldId="310"/>
        </pc:sldMkLst>
      </pc:sldChg>
      <pc:sldChg chg="del">
        <pc:chgData name="Eileen Fleming Suse" userId="S::efs3844@ads.northwestern.edu::725c94ef-d051-42d7-9d33-8572765d592b" providerId="AD" clId="Web-{9DE0ADE9-A0A8-D2EA-1EF2-AD3C089DDA7A}" dt="2023-10-19T17:14:46.573" v="27"/>
        <pc:sldMkLst>
          <pc:docMk/>
          <pc:sldMk cId="2782366363" sldId="311"/>
        </pc:sldMkLst>
      </pc:sldChg>
      <pc:sldChg chg="del">
        <pc:chgData name="Eileen Fleming Suse" userId="S::efs3844@ads.northwestern.edu::725c94ef-d051-42d7-9d33-8572765d592b" providerId="AD" clId="Web-{9DE0ADE9-A0A8-D2EA-1EF2-AD3C089DDA7A}" dt="2023-10-19T17:14:47.167" v="28"/>
        <pc:sldMkLst>
          <pc:docMk/>
          <pc:sldMk cId="1780623164" sldId="312"/>
        </pc:sldMkLst>
      </pc:sldChg>
      <pc:sldChg chg="del">
        <pc:chgData name="Eileen Fleming Suse" userId="S::efs3844@ads.northwestern.edu::725c94ef-d051-42d7-9d33-8572765d592b" providerId="AD" clId="Web-{9DE0ADE9-A0A8-D2EA-1EF2-AD3C089DDA7A}" dt="2023-10-19T17:14:48.479" v="30"/>
        <pc:sldMkLst>
          <pc:docMk/>
          <pc:sldMk cId="1724020679" sldId="313"/>
        </pc:sldMkLst>
      </pc:sldChg>
      <pc:sldChg chg="del">
        <pc:chgData name="Eileen Fleming Suse" userId="S::efs3844@ads.northwestern.edu::725c94ef-d051-42d7-9d33-8572765d592b" providerId="AD" clId="Web-{9DE0ADE9-A0A8-D2EA-1EF2-AD3C089DDA7A}" dt="2023-10-19T17:14:49.104" v="31"/>
        <pc:sldMkLst>
          <pc:docMk/>
          <pc:sldMk cId="201651367" sldId="314"/>
        </pc:sldMkLst>
      </pc:sldChg>
      <pc:sldChg chg="del">
        <pc:chgData name="Eileen Fleming Suse" userId="S::efs3844@ads.northwestern.edu::725c94ef-d051-42d7-9d33-8572765d592b" providerId="AD" clId="Web-{9DE0ADE9-A0A8-D2EA-1EF2-AD3C089DDA7A}" dt="2023-10-19T17:14:55.589" v="55"/>
        <pc:sldMkLst>
          <pc:docMk/>
          <pc:sldMk cId="1008592618" sldId="315"/>
        </pc:sldMkLst>
      </pc:sldChg>
      <pc:sldChg chg="del">
        <pc:chgData name="Eileen Fleming Suse" userId="S::efs3844@ads.northwestern.edu::725c94ef-d051-42d7-9d33-8572765d592b" providerId="AD" clId="Web-{9DE0ADE9-A0A8-D2EA-1EF2-AD3C089DDA7A}" dt="2023-10-19T17:14:55.432" v="38"/>
        <pc:sldMkLst>
          <pc:docMk/>
          <pc:sldMk cId="1410612689" sldId="316"/>
        </pc:sldMkLst>
      </pc:sldChg>
      <pc:sldChg chg="del">
        <pc:chgData name="Eileen Fleming Suse" userId="S::efs3844@ads.northwestern.edu::725c94ef-d051-42d7-9d33-8572765d592b" providerId="AD" clId="Web-{9DE0ADE9-A0A8-D2EA-1EF2-AD3C089DDA7A}" dt="2023-10-19T17:14:55.589" v="54"/>
        <pc:sldMkLst>
          <pc:docMk/>
          <pc:sldMk cId="3358066547" sldId="317"/>
        </pc:sldMkLst>
      </pc:sldChg>
      <pc:sldChg chg="del">
        <pc:chgData name="Eileen Fleming Suse" userId="S::efs3844@ads.northwestern.edu::725c94ef-d051-42d7-9d33-8572765d592b" providerId="AD" clId="Web-{9DE0ADE9-A0A8-D2EA-1EF2-AD3C089DDA7A}" dt="2023-10-19T17:14:55.464" v="41"/>
        <pc:sldMkLst>
          <pc:docMk/>
          <pc:sldMk cId="749448274" sldId="318"/>
        </pc:sldMkLst>
      </pc:sldChg>
      <pc:sldChg chg="del">
        <pc:chgData name="Eileen Fleming Suse" userId="S::efs3844@ads.northwestern.edu::725c94ef-d051-42d7-9d33-8572765d592b" providerId="AD" clId="Web-{9DE0ADE9-A0A8-D2EA-1EF2-AD3C089DDA7A}" dt="2023-10-19T17:14:55.417" v="33"/>
        <pc:sldMkLst>
          <pc:docMk/>
          <pc:sldMk cId="2641713020" sldId="325"/>
        </pc:sldMkLst>
      </pc:sldChg>
      <pc:sldChg chg="del">
        <pc:chgData name="Eileen Fleming Suse" userId="S::efs3844@ads.northwestern.edu::725c94ef-d051-42d7-9d33-8572765d592b" providerId="AD" clId="Web-{9DE0ADE9-A0A8-D2EA-1EF2-AD3C089DDA7A}" dt="2023-10-19T17:14:28.307" v="7"/>
        <pc:sldMkLst>
          <pc:docMk/>
          <pc:sldMk cId="730283329" sldId="327"/>
        </pc:sldMkLst>
      </pc:sldChg>
      <pc:sldChg chg="del">
        <pc:chgData name="Eileen Fleming Suse" userId="S::efs3844@ads.northwestern.edu::725c94ef-d051-42d7-9d33-8572765d592b" providerId="AD" clId="Web-{9DE0ADE9-A0A8-D2EA-1EF2-AD3C089DDA7A}" dt="2023-10-19T17:14:55.464" v="43"/>
        <pc:sldMkLst>
          <pc:docMk/>
          <pc:sldMk cId="3398525892" sldId="328"/>
        </pc:sldMkLst>
      </pc:sldChg>
      <pc:sldChg chg="del">
        <pc:chgData name="Eileen Fleming Suse" userId="S::efs3844@ads.northwestern.edu::725c94ef-d051-42d7-9d33-8572765d592b" providerId="AD" clId="Web-{9DE0ADE9-A0A8-D2EA-1EF2-AD3C089DDA7A}" dt="2023-10-19T17:14:55.448" v="39"/>
        <pc:sldMkLst>
          <pc:docMk/>
          <pc:sldMk cId="1461223329" sldId="331"/>
        </pc:sldMkLst>
      </pc:sldChg>
      <pc:sldChg chg="del">
        <pc:chgData name="Eileen Fleming Suse" userId="S::efs3844@ads.northwestern.edu::725c94ef-d051-42d7-9d33-8572765d592b" providerId="AD" clId="Web-{9DE0ADE9-A0A8-D2EA-1EF2-AD3C089DDA7A}" dt="2023-10-19T17:14:29.853" v="9"/>
        <pc:sldMkLst>
          <pc:docMk/>
          <pc:sldMk cId="3139445884" sldId="332"/>
        </pc:sldMkLst>
      </pc:sldChg>
      <pc:sldChg chg="del">
        <pc:chgData name="Eileen Fleming Suse" userId="S::efs3844@ads.northwestern.edu::725c94ef-d051-42d7-9d33-8572765d592b" providerId="AD" clId="Web-{9DE0ADE9-A0A8-D2EA-1EF2-AD3C089DDA7A}" dt="2023-10-19T17:14:30.604" v="10"/>
        <pc:sldMkLst>
          <pc:docMk/>
          <pc:sldMk cId="633263341" sldId="333"/>
        </pc:sldMkLst>
      </pc:sldChg>
      <pc:sldChg chg="del">
        <pc:chgData name="Eileen Fleming Suse" userId="S::efs3844@ads.northwestern.edu::725c94ef-d051-42d7-9d33-8572765d592b" providerId="AD" clId="Web-{9DE0ADE9-A0A8-D2EA-1EF2-AD3C089DDA7A}" dt="2023-10-19T17:14:30.619" v="11"/>
        <pc:sldMkLst>
          <pc:docMk/>
          <pc:sldMk cId="609043565" sldId="334"/>
        </pc:sldMkLst>
      </pc:sldChg>
      <pc:sldChg chg="del">
        <pc:chgData name="Eileen Fleming Suse" userId="S::efs3844@ads.northwestern.edu::725c94ef-d051-42d7-9d33-8572765d592b" providerId="AD" clId="Web-{9DE0ADE9-A0A8-D2EA-1EF2-AD3C089DDA7A}" dt="2023-10-19T17:14:30.791" v="12"/>
        <pc:sldMkLst>
          <pc:docMk/>
          <pc:sldMk cId="3127513769" sldId="335"/>
        </pc:sldMkLst>
      </pc:sldChg>
      <pc:sldChg chg="del">
        <pc:chgData name="Eileen Fleming Suse" userId="S::efs3844@ads.northwestern.edu::725c94ef-d051-42d7-9d33-8572765d592b" providerId="AD" clId="Web-{9DE0ADE9-A0A8-D2EA-1EF2-AD3C089DDA7A}" dt="2023-10-19T17:13:45.415" v="0"/>
        <pc:sldMkLst>
          <pc:docMk/>
          <pc:sldMk cId="2155738570" sldId="336"/>
        </pc:sldMkLst>
      </pc:sldChg>
      <pc:sldChg chg="del">
        <pc:chgData name="Eileen Fleming Suse" userId="S::efs3844@ads.northwestern.edu::725c94ef-d051-42d7-9d33-8572765d592b" providerId="AD" clId="Web-{9DE0ADE9-A0A8-D2EA-1EF2-AD3C089DDA7A}" dt="2023-10-19T17:14:29.166" v="8"/>
        <pc:sldMkLst>
          <pc:docMk/>
          <pc:sldMk cId="3482793899" sldId="337"/>
        </pc:sldMkLst>
      </pc:sldChg>
      <pc:sldChg chg="del">
        <pc:chgData name="Eileen Fleming Suse" userId="S::efs3844@ads.northwestern.edu::725c94ef-d051-42d7-9d33-8572765d592b" providerId="AD" clId="Web-{9DE0ADE9-A0A8-D2EA-1EF2-AD3C089DDA7A}" dt="2023-10-19T17:14:55.417" v="37"/>
        <pc:sldMkLst>
          <pc:docMk/>
          <pc:sldMk cId="2871307081" sldId="338"/>
        </pc:sldMkLst>
      </pc:sldChg>
      <pc:sldChg chg="del">
        <pc:chgData name="Eileen Fleming Suse" userId="S::efs3844@ads.northwestern.edu::725c94ef-d051-42d7-9d33-8572765d592b" providerId="AD" clId="Web-{9DE0ADE9-A0A8-D2EA-1EF2-AD3C089DDA7A}" dt="2023-10-19T17:14:32.510" v="14"/>
        <pc:sldMkLst>
          <pc:docMk/>
          <pc:sldMk cId="2459589232" sldId="341"/>
        </pc:sldMkLst>
      </pc:sldChg>
      <pc:sldChg chg="del">
        <pc:chgData name="Eileen Fleming Suse" userId="S::efs3844@ads.northwestern.edu::725c94ef-d051-42d7-9d33-8572765d592b" providerId="AD" clId="Web-{9DE0ADE9-A0A8-D2EA-1EF2-AD3C089DDA7A}" dt="2023-10-19T17:14:45.088" v="25"/>
        <pc:sldMkLst>
          <pc:docMk/>
          <pc:sldMk cId="52189943" sldId="343"/>
        </pc:sldMkLst>
      </pc:sldChg>
      <pc:sldChg chg="del">
        <pc:chgData name="Eileen Fleming Suse" userId="S::efs3844@ads.northwestern.edu::725c94ef-d051-42d7-9d33-8572765d592b" providerId="AD" clId="Web-{9DE0ADE9-A0A8-D2EA-1EF2-AD3C089DDA7A}" dt="2023-10-19T17:14:19.447" v="3"/>
        <pc:sldMkLst>
          <pc:docMk/>
          <pc:sldMk cId="1572642716" sldId="344"/>
        </pc:sldMkLst>
      </pc:sldChg>
      <pc:sldChg chg="del">
        <pc:chgData name="Eileen Fleming Suse" userId="S::efs3844@ads.northwestern.edu::725c94ef-d051-42d7-9d33-8572765d592b" providerId="AD" clId="Web-{9DE0ADE9-A0A8-D2EA-1EF2-AD3C089DDA7A}" dt="2023-10-19T17:14:21.775" v="4"/>
        <pc:sldMkLst>
          <pc:docMk/>
          <pc:sldMk cId="2965993848" sldId="345"/>
        </pc:sldMkLst>
      </pc:sldChg>
      <pc:sldChg chg="del">
        <pc:chgData name="Eileen Fleming Suse" userId="S::efs3844@ads.northwestern.edu::725c94ef-d051-42d7-9d33-8572765d592b" providerId="AD" clId="Web-{9DE0ADE9-A0A8-D2EA-1EF2-AD3C089DDA7A}" dt="2023-10-19T17:14:55.542" v="50"/>
        <pc:sldMkLst>
          <pc:docMk/>
          <pc:sldMk cId="388018185" sldId="346"/>
        </pc:sldMkLst>
      </pc:sldChg>
      <pc:sldChg chg="del">
        <pc:chgData name="Eileen Fleming Suse" userId="S::efs3844@ads.northwestern.edu::725c94ef-d051-42d7-9d33-8572765d592b" providerId="AD" clId="Web-{9DE0ADE9-A0A8-D2EA-1EF2-AD3C089DDA7A}" dt="2023-10-19T17:14:55.464" v="44"/>
        <pc:sldMkLst>
          <pc:docMk/>
          <pc:sldMk cId="4266118864" sldId="347"/>
        </pc:sldMkLst>
      </pc:sldChg>
      <pc:sldChg chg="del">
        <pc:chgData name="Eileen Fleming Suse" userId="S::efs3844@ads.northwestern.edu::725c94ef-d051-42d7-9d33-8572765d592b" providerId="AD" clId="Web-{9DE0ADE9-A0A8-D2EA-1EF2-AD3C089DDA7A}" dt="2023-10-19T17:14:55.464" v="42"/>
        <pc:sldMkLst>
          <pc:docMk/>
          <pc:sldMk cId="1250040188" sldId="348"/>
        </pc:sldMkLst>
      </pc:sldChg>
      <pc:sldChg chg="del">
        <pc:chgData name="Eileen Fleming Suse" userId="S::efs3844@ads.northwestern.edu::725c94ef-d051-42d7-9d33-8572765d592b" providerId="AD" clId="Web-{9DE0ADE9-A0A8-D2EA-1EF2-AD3C089DDA7A}" dt="2023-10-19T17:14:55.464" v="40"/>
        <pc:sldMkLst>
          <pc:docMk/>
          <pc:sldMk cId="3133961592" sldId="352"/>
        </pc:sldMkLst>
      </pc:sldChg>
      <pc:sldChg chg="del">
        <pc:chgData name="Eileen Fleming Suse" userId="S::efs3844@ads.northwestern.edu::725c94ef-d051-42d7-9d33-8572765d592b" providerId="AD" clId="Web-{9DE0ADE9-A0A8-D2EA-1EF2-AD3C089DDA7A}" dt="2023-10-19T17:20:30.896" v="151"/>
        <pc:sldMkLst>
          <pc:docMk/>
          <pc:sldMk cId="330467900" sldId="353"/>
        </pc:sldMkLst>
      </pc:sldChg>
      <pc:sldChg chg="del">
        <pc:chgData name="Eileen Fleming Suse" userId="S::efs3844@ads.northwestern.edu::725c94ef-d051-42d7-9d33-8572765d592b" providerId="AD" clId="Web-{9DE0ADE9-A0A8-D2EA-1EF2-AD3C089DDA7A}" dt="2023-10-19T17:14:33.525" v="15"/>
        <pc:sldMkLst>
          <pc:docMk/>
          <pc:sldMk cId="699425124" sldId="354"/>
        </pc:sldMkLst>
      </pc:sldChg>
      <pc:sldChg chg="del">
        <pc:chgData name="Eileen Fleming Suse" userId="S::efs3844@ads.northwestern.edu::725c94ef-d051-42d7-9d33-8572765d592b" providerId="AD" clId="Web-{9DE0ADE9-A0A8-D2EA-1EF2-AD3C089DDA7A}" dt="2023-10-19T17:14:34.307" v="16"/>
        <pc:sldMkLst>
          <pc:docMk/>
          <pc:sldMk cId="4105287340" sldId="463"/>
        </pc:sldMkLst>
      </pc:sldChg>
      <pc:sldChg chg="del">
        <pc:chgData name="Eileen Fleming Suse" userId="S::efs3844@ads.northwestern.edu::725c94ef-d051-42d7-9d33-8572765d592b" providerId="AD" clId="Web-{9DE0ADE9-A0A8-D2EA-1EF2-AD3C089DDA7A}" dt="2023-10-19T17:14:38.463" v="21"/>
        <pc:sldMkLst>
          <pc:docMk/>
          <pc:sldMk cId="1189510057" sldId="464"/>
        </pc:sldMkLst>
      </pc:sldChg>
      <pc:sldChg chg="del">
        <pc:chgData name="Eileen Fleming Suse" userId="S::efs3844@ads.northwestern.edu::725c94ef-d051-42d7-9d33-8572765d592b" providerId="AD" clId="Web-{9DE0ADE9-A0A8-D2EA-1EF2-AD3C089DDA7A}" dt="2023-10-19T17:20:33.303" v="152"/>
        <pc:sldMkLst>
          <pc:docMk/>
          <pc:sldMk cId="343871943" sldId="465"/>
        </pc:sldMkLst>
      </pc:sldChg>
      <pc:sldChg chg="del">
        <pc:chgData name="Eileen Fleming Suse" userId="S::efs3844@ads.northwestern.edu::725c94ef-d051-42d7-9d33-8572765d592b" providerId="AD" clId="Web-{9DE0ADE9-A0A8-D2EA-1EF2-AD3C089DDA7A}" dt="2023-10-19T17:14:31.541" v="13"/>
        <pc:sldMkLst>
          <pc:docMk/>
          <pc:sldMk cId="3919580005" sldId="524"/>
        </pc:sldMkLst>
      </pc:sldChg>
      <pc:sldChg chg="del">
        <pc:chgData name="Eileen Fleming Suse" userId="S::efs3844@ads.northwestern.edu::725c94ef-d051-42d7-9d33-8572765d592b" providerId="AD" clId="Web-{9DE0ADE9-A0A8-D2EA-1EF2-AD3C089DDA7A}" dt="2023-10-19T17:14:55.573" v="51"/>
        <pc:sldMkLst>
          <pc:docMk/>
          <pc:sldMk cId="2681042564" sldId="539"/>
        </pc:sldMkLst>
      </pc:sldChg>
      <pc:sldChg chg="del">
        <pc:chgData name="Eileen Fleming Suse" userId="S::efs3844@ads.northwestern.edu::725c94ef-d051-42d7-9d33-8572765d592b" providerId="AD" clId="Web-{9DE0ADE9-A0A8-D2EA-1EF2-AD3C089DDA7A}" dt="2023-10-19T17:14:49.120" v="32"/>
        <pc:sldMkLst>
          <pc:docMk/>
          <pc:sldMk cId="135391450" sldId="540"/>
        </pc:sldMkLst>
      </pc:sldChg>
      <pc:sldChg chg="del">
        <pc:chgData name="Eileen Fleming Suse" userId="S::efs3844@ads.northwestern.edu::725c94ef-d051-42d7-9d33-8572765d592b" providerId="AD" clId="Web-{9DE0ADE9-A0A8-D2EA-1EF2-AD3C089DDA7A}" dt="2023-10-19T17:14:55.417" v="36"/>
        <pc:sldMkLst>
          <pc:docMk/>
          <pc:sldMk cId="4191297091" sldId="541"/>
        </pc:sldMkLst>
      </pc:sldChg>
      <pc:sldChg chg="del">
        <pc:chgData name="Eileen Fleming Suse" userId="S::efs3844@ads.northwestern.edu::725c94ef-d051-42d7-9d33-8572765d592b" providerId="AD" clId="Web-{9DE0ADE9-A0A8-D2EA-1EF2-AD3C089DDA7A}" dt="2023-10-19T17:14:55.417" v="34"/>
        <pc:sldMkLst>
          <pc:docMk/>
          <pc:sldMk cId="2724813039" sldId="542"/>
        </pc:sldMkLst>
      </pc:sldChg>
      <pc:sldChg chg="del">
        <pc:chgData name="Eileen Fleming Suse" userId="S::efs3844@ads.northwestern.edu::725c94ef-d051-42d7-9d33-8572765d592b" providerId="AD" clId="Web-{9DE0ADE9-A0A8-D2EA-1EF2-AD3C089DDA7A}" dt="2023-10-19T17:22:12.181" v="194"/>
        <pc:sldMkLst>
          <pc:docMk/>
          <pc:sldMk cId="2874996303" sldId="543"/>
        </pc:sldMkLst>
      </pc:sldChg>
      <pc:sldChg chg="modSp new">
        <pc:chgData name="Eileen Fleming Suse" userId="S::efs3844@ads.northwestern.edu::725c94ef-d051-42d7-9d33-8572765d592b" providerId="AD" clId="Web-{9DE0ADE9-A0A8-D2EA-1EF2-AD3C089DDA7A}" dt="2023-10-19T17:20:46.975" v="157" actId="20577"/>
        <pc:sldMkLst>
          <pc:docMk/>
          <pc:sldMk cId="2351229145" sldId="544"/>
        </pc:sldMkLst>
        <pc:spChg chg="mod">
          <ac:chgData name="Eileen Fleming Suse" userId="S::efs3844@ads.northwestern.edu::725c94ef-d051-42d7-9d33-8572765d592b" providerId="AD" clId="Web-{9DE0ADE9-A0A8-D2EA-1EF2-AD3C089DDA7A}" dt="2023-10-19T17:20:46.975" v="157" actId="20577"/>
          <ac:spMkLst>
            <pc:docMk/>
            <pc:sldMk cId="2351229145" sldId="544"/>
            <ac:spMk id="2" creationId="{545C7D6E-31BC-C716-C845-E52002A3A9B8}"/>
          </ac:spMkLst>
        </pc:spChg>
      </pc:sldChg>
      <pc:sldChg chg="modSp new">
        <pc:chgData name="Eileen Fleming Suse" userId="S::efs3844@ads.northwestern.edu::725c94ef-d051-42d7-9d33-8572765d592b" providerId="AD" clId="Web-{9DE0ADE9-A0A8-D2EA-1EF2-AD3C089DDA7A}" dt="2023-10-19T17:31:31.308" v="221" actId="20577"/>
        <pc:sldMkLst>
          <pc:docMk/>
          <pc:sldMk cId="3635595752" sldId="545"/>
        </pc:sldMkLst>
        <pc:spChg chg="mod">
          <ac:chgData name="Eileen Fleming Suse" userId="S::efs3844@ads.northwestern.edu::725c94ef-d051-42d7-9d33-8572765d592b" providerId="AD" clId="Web-{9DE0ADE9-A0A8-D2EA-1EF2-AD3C089DDA7A}" dt="2023-10-19T17:31:31.308" v="221" actId="20577"/>
          <ac:spMkLst>
            <pc:docMk/>
            <pc:sldMk cId="3635595752" sldId="545"/>
            <ac:spMk id="2" creationId="{39AAB3FF-760A-B654-5F1B-78AD5BEB6B57}"/>
          </ac:spMkLst>
        </pc:spChg>
      </pc:sldChg>
      <pc:sldChg chg="modSp new">
        <pc:chgData name="Eileen Fleming Suse" userId="S::efs3844@ads.northwestern.edu::725c94ef-d051-42d7-9d33-8572765d592b" providerId="AD" clId="Web-{9DE0ADE9-A0A8-D2EA-1EF2-AD3C089DDA7A}" dt="2023-10-19T17:21:35.383" v="174" actId="20577"/>
        <pc:sldMkLst>
          <pc:docMk/>
          <pc:sldMk cId="1036043289" sldId="546"/>
        </pc:sldMkLst>
        <pc:spChg chg="mod">
          <ac:chgData name="Eileen Fleming Suse" userId="S::efs3844@ads.northwestern.edu::725c94ef-d051-42d7-9d33-8572765d592b" providerId="AD" clId="Web-{9DE0ADE9-A0A8-D2EA-1EF2-AD3C089DDA7A}" dt="2023-10-19T17:21:35.383" v="174" actId="20577"/>
          <ac:spMkLst>
            <pc:docMk/>
            <pc:sldMk cId="1036043289" sldId="546"/>
            <ac:spMk id="2" creationId="{67E16CF5-47C8-BEAD-25F8-81514DC0AF8B}"/>
          </ac:spMkLst>
        </pc:spChg>
      </pc:sldChg>
      <pc:sldChg chg="modSp new">
        <pc:chgData name="Eileen Fleming Suse" userId="S::efs3844@ads.northwestern.edu::725c94ef-d051-42d7-9d33-8572765d592b" providerId="AD" clId="Web-{9DE0ADE9-A0A8-D2EA-1EF2-AD3C089DDA7A}" dt="2023-10-19T17:21:45.039" v="180" actId="20577"/>
        <pc:sldMkLst>
          <pc:docMk/>
          <pc:sldMk cId="4024842338" sldId="547"/>
        </pc:sldMkLst>
        <pc:spChg chg="mod">
          <ac:chgData name="Eileen Fleming Suse" userId="S::efs3844@ads.northwestern.edu::725c94ef-d051-42d7-9d33-8572765d592b" providerId="AD" clId="Web-{9DE0ADE9-A0A8-D2EA-1EF2-AD3C089DDA7A}" dt="2023-10-19T17:21:45.039" v="180" actId="20577"/>
          <ac:spMkLst>
            <pc:docMk/>
            <pc:sldMk cId="4024842338" sldId="547"/>
            <ac:spMk id="2" creationId="{D3E8E3F8-686B-F051-66F8-5F0BEC66ED61}"/>
          </ac:spMkLst>
        </pc:spChg>
      </pc:sldChg>
      <pc:sldChg chg="modSp new">
        <pc:chgData name="Eileen Fleming Suse" userId="S::efs3844@ads.northwestern.edu::725c94ef-d051-42d7-9d33-8572765d592b" providerId="AD" clId="Web-{9DE0ADE9-A0A8-D2EA-1EF2-AD3C089DDA7A}" dt="2023-10-19T17:21:59.868" v="193" actId="20577"/>
        <pc:sldMkLst>
          <pc:docMk/>
          <pc:sldMk cId="3745706804" sldId="548"/>
        </pc:sldMkLst>
        <pc:spChg chg="mod">
          <ac:chgData name="Eileen Fleming Suse" userId="S::efs3844@ads.northwestern.edu::725c94ef-d051-42d7-9d33-8572765d592b" providerId="AD" clId="Web-{9DE0ADE9-A0A8-D2EA-1EF2-AD3C089DDA7A}" dt="2023-10-19T17:21:59.868" v="193" actId="20577"/>
          <ac:spMkLst>
            <pc:docMk/>
            <pc:sldMk cId="3745706804" sldId="548"/>
            <ac:spMk id="2" creationId="{C2B429CC-FC8C-ECA7-15C8-7563C27BFB95}"/>
          </ac:spMkLst>
        </pc:spChg>
      </pc:sldChg>
      <pc:sldChg chg="modSp new">
        <pc:chgData name="Eileen Fleming Suse" userId="S::efs3844@ads.northwestern.edu::725c94ef-d051-42d7-9d33-8572765d592b" providerId="AD" clId="Web-{9DE0ADE9-A0A8-D2EA-1EF2-AD3C089DDA7A}" dt="2023-10-19T17:22:57.260" v="218" actId="20577"/>
        <pc:sldMkLst>
          <pc:docMk/>
          <pc:sldMk cId="3962270618" sldId="549"/>
        </pc:sldMkLst>
        <pc:spChg chg="mod">
          <ac:chgData name="Eileen Fleming Suse" userId="S::efs3844@ads.northwestern.edu::725c94ef-d051-42d7-9d33-8572765d592b" providerId="AD" clId="Web-{9DE0ADE9-A0A8-D2EA-1EF2-AD3C089DDA7A}" dt="2023-10-19T17:22:57.260" v="218" actId="20577"/>
          <ac:spMkLst>
            <pc:docMk/>
            <pc:sldMk cId="3962270618" sldId="549"/>
            <ac:spMk id="2" creationId="{D2A51686-B2DC-CDBE-63AE-C97B6B0DBD66}"/>
          </ac:spMkLst>
        </pc:spChg>
      </pc:sldChg>
      <pc:sldChg chg="add">
        <pc:chgData name="Eileen Fleming Suse" userId="S::efs3844@ads.northwestern.edu::725c94ef-d051-42d7-9d33-8572765d592b" providerId="AD" clId="Web-{9DE0ADE9-A0A8-D2EA-1EF2-AD3C089DDA7A}" dt="2023-10-19T17:41:57.671" v="222"/>
        <pc:sldMkLst>
          <pc:docMk/>
          <pc:sldMk cId="3472964082" sldId="550"/>
        </pc:sldMkLst>
      </pc:sldChg>
      <pc:sldChg chg="add">
        <pc:chgData name="Eileen Fleming Suse" userId="S::efs3844@ads.northwestern.edu::725c94ef-d051-42d7-9d33-8572765d592b" providerId="AD" clId="Web-{9DE0ADE9-A0A8-D2EA-1EF2-AD3C089DDA7A}" dt="2023-10-19T17:41:58.437" v="223"/>
        <pc:sldMkLst>
          <pc:docMk/>
          <pc:sldMk cId="2562283095" sldId="551"/>
        </pc:sldMkLst>
      </pc:sldChg>
      <pc:sldMasterChg chg="add addSldLayout">
        <pc:chgData name="Eileen Fleming Suse" userId="S::efs3844@ads.northwestern.edu::725c94ef-d051-42d7-9d33-8572765d592b" providerId="AD" clId="Web-{9DE0ADE9-A0A8-D2EA-1EF2-AD3C089DDA7A}" dt="2023-10-19T17:41:57.671" v="222"/>
        <pc:sldMasterMkLst>
          <pc:docMk/>
          <pc:sldMasterMk cId="0" sldId="2147483648"/>
        </pc:sldMasterMkLst>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49"/>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0"/>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1"/>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2"/>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3"/>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4"/>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5"/>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6"/>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7"/>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8"/>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9"/>
          </pc:sldLayoutMkLst>
        </pc:sldLayoutChg>
      </pc:sldMasterChg>
    </pc:docChg>
  </pc:docChgLst>
  <pc:docChgLst>
    <pc:chgData name="Eileen Fleming Suse" userId="S::efs3844@ads.northwestern.edu::725c94ef-d051-42d7-9d33-8572765d592b" providerId="AD" clId="Web-{BFC87AA7-C8F9-9EFC-19DD-EB23F26608F3}"/>
    <pc:docChg chg="modSld">
      <pc:chgData name="Eileen Fleming Suse" userId="S::efs3844@ads.northwestern.edu::725c94ef-d051-42d7-9d33-8572765d592b" providerId="AD" clId="Web-{BFC87AA7-C8F9-9EFC-19DD-EB23F26608F3}" dt="2023-11-16T22:57:07.054" v="22"/>
      <pc:docMkLst>
        <pc:docMk/>
      </pc:docMkLst>
      <pc:sldChg chg="addSp modSp">
        <pc:chgData name="Eileen Fleming Suse" userId="S::efs3844@ads.northwestern.edu::725c94ef-d051-42d7-9d33-8572765d592b" providerId="AD" clId="Web-{BFC87AA7-C8F9-9EFC-19DD-EB23F26608F3}" dt="2023-11-16T22:57:07.054" v="22"/>
        <pc:sldMkLst>
          <pc:docMk/>
          <pc:sldMk cId="3336998141" sldId="681"/>
        </pc:sldMkLst>
        <pc:spChg chg="mod">
          <ac:chgData name="Eileen Fleming Suse" userId="S::efs3844@ads.northwestern.edu::725c94ef-d051-42d7-9d33-8572765d592b" providerId="AD" clId="Web-{BFC87AA7-C8F9-9EFC-19DD-EB23F26608F3}" dt="2023-11-16T22:56:57.851" v="20" actId="14100"/>
          <ac:spMkLst>
            <pc:docMk/>
            <pc:sldMk cId="3336998141" sldId="681"/>
            <ac:spMk id="3" creationId="{00000000-0000-0000-0000-000000000000}"/>
          </ac:spMkLst>
        </pc:spChg>
        <pc:picChg chg="add mod">
          <ac:chgData name="Eileen Fleming Suse" userId="S::efs3844@ads.northwestern.edu::725c94ef-d051-42d7-9d33-8572765d592b" providerId="AD" clId="Web-{BFC87AA7-C8F9-9EFC-19DD-EB23F26608F3}" dt="2023-11-16T22:57:07.054" v="22"/>
          <ac:picMkLst>
            <pc:docMk/>
            <pc:sldMk cId="3336998141" sldId="681"/>
            <ac:picMk id="6" creationId="{46F42E17-0175-F9A2-1E13-137F29CD08FF}"/>
          </ac:picMkLst>
        </pc:picChg>
      </pc:sldChg>
      <pc:sldChg chg="addSp delSp modSp mod setBg">
        <pc:chgData name="Eileen Fleming Suse" userId="S::efs3844@ads.northwestern.edu::725c94ef-d051-42d7-9d33-8572765d592b" providerId="AD" clId="Web-{BFC87AA7-C8F9-9EFC-19DD-EB23F26608F3}" dt="2023-11-16T22:50:39.623" v="3"/>
        <pc:sldMkLst>
          <pc:docMk/>
          <pc:sldMk cId="2646520615" sldId="683"/>
        </pc:sldMkLst>
        <pc:spChg chg="mod">
          <ac:chgData name="Eileen Fleming Suse" userId="S::efs3844@ads.northwestern.edu::725c94ef-d051-42d7-9d33-8572765d592b" providerId="AD" clId="Web-{BFC87AA7-C8F9-9EFC-19DD-EB23F26608F3}" dt="2023-11-16T22:49:21.824" v="1"/>
          <ac:spMkLst>
            <pc:docMk/>
            <pc:sldMk cId="2646520615" sldId="683"/>
            <ac:spMk id="2" creationId="{00000000-0000-0000-0000-000000000000}"/>
          </ac:spMkLst>
        </pc:spChg>
        <pc:spChg chg="del">
          <ac:chgData name="Eileen Fleming Suse" userId="S::efs3844@ads.northwestern.edu::725c94ef-d051-42d7-9d33-8572765d592b" providerId="AD" clId="Web-{BFC87AA7-C8F9-9EFC-19DD-EB23F26608F3}" dt="2023-11-16T22:49:21.824" v="1"/>
          <ac:spMkLst>
            <pc:docMk/>
            <pc:sldMk cId="2646520615" sldId="683"/>
            <ac:spMk id="3" creationId="{00000000-0000-0000-0000-000000000000}"/>
          </ac:spMkLst>
        </pc:spChg>
        <pc:spChg chg="mod ord">
          <ac:chgData name="Eileen Fleming Suse" userId="S::efs3844@ads.northwestern.edu::725c94ef-d051-42d7-9d33-8572765d592b" providerId="AD" clId="Web-{BFC87AA7-C8F9-9EFC-19DD-EB23F26608F3}" dt="2023-11-16T22:49:21.824" v="1"/>
          <ac:spMkLst>
            <pc:docMk/>
            <pc:sldMk cId="2646520615" sldId="683"/>
            <ac:spMk id="4" creationId="{00000000-0000-0000-0000-000000000000}"/>
          </ac:spMkLst>
        </pc:spChg>
        <pc:spChg chg="mod">
          <ac:chgData name="Eileen Fleming Suse" userId="S::efs3844@ads.northwestern.edu::725c94ef-d051-42d7-9d33-8572765d592b" providerId="AD" clId="Web-{BFC87AA7-C8F9-9EFC-19DD-EB23F26608F3}" dt="2023-11-16T22:49:21.824" v="1"/>
          <ac:spMkLst>
            <pc:docMk/>
            <pc:sldMk cId="2646520615" sldId="683"/>
            <ac:spMk id="5" creationId="{00000000-0000-0000-0000-000000000000}"/>
          </ac:spMkLst>
        </pc:spChg>
        <pc:spChg chg="add">
          <ac:chgData name="Eileen Fleming Suse" userId="S::efs3844@ads.northwestern.edu::725c94ef-d051-42d7-9d33-8572765d592b" providerId="AD" clId="Web-{BFC87AA7-C8F9-9EFC-19DD-EB23F26608F3}" dt="2023-11-16T22:49:21.824" v="1"/>
          <ac:spMkLst>
            <pc:docMk/>
            <pc:sldMk cId="2646520615" sldId="683"/>
            <ac:spMk id="11" creationId="{7517A47C-B2E5-4B79-8061-D74B1311AF6E}"/>
          </ac:spMkLst>
        </pc:spChg>
        <pc:spChg chg="add">
          <ac:chgData name="Eileen Fleming Suse" userId="S::efs3844@ads.northwestern.edu::725c94ef-d051-42d7-9d33-8572765d592b" providerId="AD" clId="Web-{BFC87AA7-C8F9-9EFC-19DD-EB23F26608F3}" dt="2023-11-16T22:49:21.824" v="1"/>
          <ac:spMkLst>
            <pc:docMk/>
            <pc:sldMk cId="2646520615" sldId="683"/>
            <ac:spMk id="13" creationId="{C505E780-2083-4CB5-A42A-5E0E2908ECC3}"/>
          </ac:spMkLst>
        </pc:spChg>
        <pc:spChg chg="add">
          <ac:chgData name="Eileen Fleming Suse" userId="S::efs3844@ads.northwestern.edu::725c94ef-d051-42d7-9d33-8572765d592b" providerId="AD" clId="Web-{BFC87AA7-C8F9-9EFC-19DD-EB23F26608F3}" dt="2023-11-16T22:49:21.824" v="1"/>
          <ac:spMkLst>
            <pc:docMk/>
            <pc:sldMk cId="2646520615" sldId="683"/>
            <ac:spMk id="15" creationId="{D2C0AE1C-0118-41AE-8A10-7CDCBF10E96F}"/>
          </ac:spMkLst>
        </pc:spChg>
        <pc:spChg chg="add">
          <ac:chgData name="Eileen Fleming Suse" userId="S::efs3844@ads.northwestern.edu::725c94ef-d051-42d7-9d33-8572765d592b" providerId="AD" clId="Web-{BFC87AA7-C8F9-9EFC-19DD-EB23F26608F3}" dt="2023-11-16T22:49:21.824" v="1"/>
          <ac:spMkLst>
            <pc:docMk/>
            <pc:sldMk cId="2646520615" sldId="683"/>
            <ac:spMk id="17" creationId="{463EEC44-1BA3-44ED-81FC-A644B04B2A44}"/>
          </ac:spMkLst>
        </pc:spChg>
        <pc:graphicFrameChg chg="add modGraphic">
          <ac:chgData name="Eileen Fleming Suse" userId="S::efs3844@ads.northwestern.edu::725c94ef-d051-42d7-9d33-8572765d592b" providerId="AD" clId="Web-{BFC87AA7-C8F9-9EFC-19DD-EB23F26608F3}" dt="2023-11-16T22:50:39.623" v="3"/>
          <ac:graphicFrameMkLst>
            <pc:docMk/>
            <pc:sldMk cId="2646520615" sldId="683"/>
            <ac:graphicFrameMk id="7" creationId="{24D49A4E-BD95-5DF0-35BC-A9758FC2DA7E}"/>
          </ac:graphicFrameMkLst>
        </pc:graphicFrameChg>
      </pc:sldChg>
      <pc:sldChg chg="mod modClrScheme chgLayout">
        <pc:chgData name="Eileen Fleming Suse" userId="S::efs3844@ads.northwestern.edu::725c94ef-d051-42d7-9d33-8572765d592b" providerId="AD" clId="Web-{BFC87AA7-C8F9-9EFC-19DD-EB23F26608F3}" dt="2023-11-16T22:52:55.548" v="4"/>
        <pc:sldMkLst>
          <pc:docMk/>
          <pc:sldMk cId="441543077" sldId="686"/>
        </pc:sldMkLst>
      </pc:sldChg>
      <pc:sldChg chg="addSp delSp modSp mod setBg">
        <pc:chgData name="Eileen Fleming Suse" userId="S::efs3844@ads.northwestern.edu::725c94ef-d051-42d7-9d33-8572765d592b" providerId="AD" clId="Web-{BFC87AA7-C8F9-9EFC-19DD-EB23F26608F3}" dt="2023-11-16T22:56:01.928" v="16" actId="14100"/>
        <pc:sldMkLst>
          <pc:docMk/>
          <pc:sldMk cId="1663322964" sldId="690"/>
        </pc:sldMkLst>
        <pc:spChg chg="mod">
          <ac:chgData name="Eileen Fleming Suse" userId="S::efs3844@ads.northwestern.edu::725c94ef-d051-42d7-9d33-8572765d592b" providerId="AD" clId="Web-{BFC87AA7-C8F9-9EFC-19DD-EB23F26608F3}" dt="2023-11-16T22:55:04.880" v="14"/>
          <ac:spMkLst>
            <pc:docMk/>
            <pc:sldMk cId="1663322964" sldId="690"/>
            <ac:spMk id="2" creationId="{00000000-0000-0000-0000-000000000000}"/>
          </ac:spMkLst>
        </pc:spChg>
        <pc:spChg chg="del">
          <ac:chgData name="Eileen Fleming Suse" userId="S::efs3844@ads.northwestern.edu::725c94ef-d051-42d7-9d33-8572765d592b" providerId="AD" clId="Web-{BFC87AA7-C8F9-9EFC-19DD-EB23F26608F3}" dt="2023-11-16T22:53:54.940" v="5"/>
          <ac:spMkLst>
            <pc:docMk/>
            <pc:sldMk cId="1663322964" sldId="690"/>
            <ac:spMk id="3" creationId="{00000000-0000-0000-0000-000000000000}"/>
          </ac:spMkLst>
        </pc:spChg>
        <pc:spChg chg="mod ord">
          <ac:chgData name="Eileen Fleming Suse" userId="S::efs3844@ads.northwestern.edu::725c94ef-d051-42d7-9d33-8572765d592b" providerId="AD" clId="Web-{BFC87AA7-C8F9-9EFC-19DD-EB23F26608F3}" dt="2023-11-16T22:55:04.880" v="14"/>
          <ac:spMkLst>
            <pc:docMk/>
            <pc:sldMk cId="1663322964" sldId="690"/>
            <ac:spMk id="4" creationId="{00000000-0000-0000-0000-000000000000}"/>
          </ac:spMkLst>
        </pc:spChg>
        <pc:spChg chg="mod">
          <ac:chgData name="Eileen Fleming Suse" userId="S::efs3844@ads.northwestern.edu::725c94ef-d051-42d7-9d33-8572765d592b" providerId="AD" clId="Web-{BFC87AA7-C8F9-9EFC-19DD-EB23F26608F3}" dt="2023-11-16T22:53:54.940" v="5"/>
          <ac:spMkLst>
            <pc:docMk/>
            <pc:sldMk cId="1663322964" sldId="690"/>
            <ac:spMk id="5" creationId="{00000000-0000-0000-0000-000000000000}"/>
          </ac:spMkLst>
        </pc:spChg>
        <pc:spChg chg="add del">
          <ac:chgData name="Eileen Fleming Suse" userId="S::efs3844@ads.northwestern.edu::725c94ef-d051-42d7-9d33-8572765d592b" providerId="AD" clId="Web-{BFC87AA7-C8F9-9EFC-19DD-EB23F26608F3}" dt="2023-11-16T22:55:04.880" v="14"/>
          <ac:spMkLst>
            <pc:docMk/>
            <pc:sldMk cId="1663322964" sldId="690"/>
            <ac:spMk id="11" creationId="{81E1224E-6618-482E-BE87-321A7FC1CDE8}"/>
          </ac:spMkLst>
        </pc:spChg>
        <pc:spChg chg="add del">
          <ac:chgData name="Eileen Fleming Suse" userId="S::efs3844@ads.northwestern.edu::725c94ef-d051-42d7-9d33-8572765d592b" providerId="AD" clId="Web-{BFC87AA7-C8F9-9EFC-19DD-EB23F26608F3}" dt="2023-11-16T22:55:04.880" v="14"/>
          <ac:spMkLst>
            <pc:docMk/>
            <pc:sldMk cId="1663322964" sldId="690"/>
            <ac:spMk id="13" creationId="{066346BE-FDB4-4772-A696-0719490ABD64}"/>
          </ac:spMkLst>
        </pc:spChg>
        <pc:spChg chg="add del">
          <ac:chgData name="Eileen Fleming Suse" userId="S::efs3844@ads.northwestern.edu::725c94ef-d051-42d7-9d33-8572765d592b" providerId="AD" clId="Web-{BFC87AA7-C8F9-9EFC-19DD-EB23F26608F3}" dt="2023-11-16T22:55:04.880" v="14"/>
          <ac:spMkLst>
            <pc:docMk/>
            <pc:sldMk cId="1663322964" sldId="690"/>
            <ac:spMk id="15" creationId="{FB92FFCE-0C90-454E-AA25-D4EE9A6C39C5}"/>
          </ac:spMkLst>
        </pc:spChg>
        <pc:spChg chg="add">
          <ac:chgData name="Eileen Fleming Suse" userId="S::efs3844@ads.northwestern.edu::725c94ef-d051-42d7-9d33-8572765d592b" providerId="AD" clId="Web-{BFC87AA7-C8F9-9EFC-19DD-EB23F26608F3}" dt="2023-11-16T22:55:04.880" v="14"/>
          <ac:spMkLst>
            <pc:docMk/>
            <pc:sldMk cId="1663322964" sldId="690"/>
            <ac:spMk id="21" creationId="{7517A47C-B2E5-4B79-8061-D74B1311AF6E}"/>
          </ac:spMkLst>
        </pc:spChg>
        <pc:spChg chg="add">
          <ac:chgData name="Eileen Fleming Suse" userId="S::efs3844@ads.northwestern.edu::725c94ef-d051-42d7-9d33-8572765d592b" providerId="AD" clId="Web-{BFC87AA7-C8F9-9EFC-19DD-EB23F26608F3}" dt="2023-11-16T22:55:04.880" v="14"/>
          <ac:spMkLst>
            <pc:docMk/>
            <pc:sldMk cId="1663322964" sldId="690"/>
            <ac:spMk id="23" creationId="{C505E780-2083-4CB5-A42A-5E0E2908ECC3}"/>
          </ac:spMkLst>
        </pc:spChg>
        <pc:spChg chg="add">
          <ac:chgData name="Eileen Fleming Suse" userId="S::efs3844@ads.northwestern.edu::725c94ef-d051-42d7-9d33-8572765d592b" providerId="AD" clId="Web-{BFC87AA7-C8F9-9EFC-19DD-EB23F26608F3}" dt="2023-11-16T22:55:04.880" v="14"/>
          <ac:spMkLst>
            <pc:docMk/>
            <pc:sldMk cId="1663322964" sldId="690"/>
            <ac:spMk id="25" creationId="{D2C0AE1C-0118-41AE-8A10-7CDCBF10E96F}"/>
          </ac:spMkLst>
        </pc:spChg>
        <pc:spChg chg="add">
          <ac:chgData name="Eileen Fleming Suse" userId="S::efs3844@ads.northwestern.edu::725c94ef-d051-42d7-9d33-8572765d592b" providerId="AD" clId="Web-{BFC87AA7-C8F9-9EFC-19DD-EB23F26608F3}" dt="2023-11-16T22:55:04.880" v="14"/>
          <ac:spMkLst>
            <pc:docMk/>
            <pc:sldMk cId="1663322964" sldId="690"/>
            <ac:spMk id="27" creationId="{463EEC44-1BA3-44ED-81FC-A644B04B2A44}"/>
          </ac:spMkLst>
        </pc:spChg>
        <pc:graphicFrameChg chg="add del mod modGraphic">
          <ac:chgData name="Eileen Fleming Suse" userId="S::efs3844@ads.northwestern.edu::725c94ef-d051-42d7-9d33-8572765d592b" providerId="AD" clId="Web-{BFC87AA7-C8F9-9EFC-19DD-EB23F26608F3}" dt="2023-11-16T22:55:04.880" v="14"/>
          <ac:graphicFrameMkLst>
            <pc:docMk/>
            <pc:sldMk cId="1663322964" sldId="690"/>
            <ac:graphicFrameMk id="7" creationId="{4F9615E2-B206-CDA3-816A-1D194CA0D210}"/>
          </ac:graphicFrameMkLst>
        </pc:graphicFrameChg>
        <pc:graphicFrameChg chg="add mod">
          <ac:chgData name="Eileen Fleming Suse" userId="S::efs3844@ads.northwestern.edu::725c94ef-d051-42d7-9d33-8572765d592b" providerId="AD" clId="Web-{BFC87AA7-C8F9-9EFC-19DD-EB23F26608F3}" dt="2023-11-16T22:56:01.928" v="16" actId="14100"/>
          <ac:graphicFrameMkLst>
            <pc:docMk/>
            <pc:sldMk cId="1663322964" sldId="690"/>
            <ac:graphicFrameMk id="17" creationId="{9B647FFD-DB92-0E72-0606-A89EC41A7F93}"/>
          </ac:graphicFrameMkLst>
        </pc:graphicFrameChg>
      </pc:sldChg>
      <pc:sldChg chg="addSp modSp mod setBg">
        <pc:chgData name="Eileen Fleming Suse" userId="S::efs3844@ads.northwestern.edu::725c94ef-d051-42d7-9d33-8572765d592b" providerId="AD" clId="Web-{BFC87AA7-C8F9-9EFC-19DD-EB23F26608F3}" dt="2023-11-16T22:48:43.386" v="0"/>
        <pc:sldMkLst>
          <pc:docMk/>
          <pc:sldMk cId="1549218491" sldId="697"/>
        </pc:sldMkLst>
        <pc:spChg chg="mod">
          <ac:chgData name="Eileen Fleming Suse" userId="S::efs3844@ads.northwestern.edu::725c94ef-d051-42d7-9d33-8572765d592b" providerId="AD" clId="Web-{BFC87AA7-C8F9-9EFC-19DD-EB23F26608F3}" dt="2023-11-16T22:48:43.386" v="0"/>
          <ac:spMkLst>
            <pc:docMk/>
            <pc:sldMk cId="1549218491" sldId="697"/>
            <ac:spMk id="2" creationId="{00000000-0000-0000-0000-000000000000}"/>
          </ac:spMkLst>
        </pc:spChg>
        <pc:spChg chg="mod">
          <ac:chgData name="Eileen Fleming Suse" userId="S::efs3844@ads.northwestern.edu::725c94ef-d051-42d7-9d33-8572765d592b" providerId="AD" clId="Web-{BFC87AA7-C8F9-9EFC-19DD-EB23F26608F3}" dt="2023-11-16T22:48:43.386" v="0"/>
          <ac:spMkLst>
            <pc:docMk/>
            <pc:sldMk cId="1549218491" sldId="697"/>
            <ac:spMk id="4" creationId="{00000000-0000-0000-0000-000000000000}"/>
          </ac:spMkLst>
        </pc:spChg>
        <pc:spChg chg="mod ord">
          <ac:chgData name="Eileen Fleming Suse" userId="S::efs3844@ads.northwestern.edu::725c94ef-d051-42d7-9d33-8572765d592b" providerId="AD" clId="Web-{BFC87AA7-C8F9-9EFC-19DD-EB23F26608F3}" dt="2023-11-16T22:48:43.386" v="0"/>
          <ac:spMkLst>
            <pc:docMk/>
            <pc:sldMk cId="1549218491" sldId="697"/>
            <ac:spMk id="5" creationId="{00000000-0000-0000-0000-000000000000}"/>
          </ac:spMkLst>
        </pc:spChg>
        <pc:spChg chg="mod">
          <ac:chgData name="Eileen Fleming Suse" userId="S::efs3844@ads.northwestern.edu::725c94ef-d051-42d7-9d33-8572765d592b" providerId="AD" clId="Web-{BFC87AA7-C8F9-9EFC-19DD-EB23F26608F3}" dt="2023-11-16T22:48:43.386" v="0"/>
          <ac:spMkLst>
            <pc:docMk/>
            <pc:sldMk cId="1549218491" sldId="697"/>
            <ac:spMk id="10" creationId="{00000000-0000-0000-0000-000000000000}"/>
          </ac:spMkLst>
        </pc:spChg>
        <pc:spChg chg="add">
          <ac:chgData name="Eileen Fleming Suse" userId="S::efs3844@ads.northwestern.edu::725c94ef-d051-42d7-9d33-8572765d592b" providerId="AD" clId="Web-{BFC87AA7-C8F9-9EFC-19DD-EB23F26608F3}" dt="2023-11-16T22:48:43.386" v="0"/>
          <ac:spMkLst>
            <pc:docMk/>
            <pc:sldMk cId="1549218491" sldId="697"/>
            <ac:spMk id="16" creationId="{73C994B4-9721-4148-9EEC-6793CECDE8DD}"/>
          </ac:spMkLst>
        </pc:spChg>
        <pc:spChg chg="add">
          <ac:chgData name="Eileen Fleming Suse" userId="S::efs3844@ads.northwestern.edu::725c94ef-d051-42d7-9d33-8572765d592b" providerId="AD" clId="Web-{BFC87AA7-C8F9-9EFC-19DD-EB23F26608F3}" dt="2023-11-16T22:48:43.386" v="0"/>
          <ac:spMkLst>
            <pc:docMk/>
            <pc:sldMk cId="1549218491" sldId="697"/>
            <ac:spMk id="18" creationId="{F9D95E49-763A-4886-B038-82F734740554}"/>
          </ac:spMkLst>
        </pc:spChg>
        <pc:spChg chg="add">
          <ac:chgData name="Eileen Fleming Suse" userId="S::efs3844@ads.northwestern.edu::725c94ef-d051-42d7-9d33-8572765d592b" providerId="AD" clId="Web-{BFC87AA7-C8F9-9EFC-19DD-EB23F26608F3}" dt="2023-11-16T22:48:43.386" v="0"/>
          <ac:spMkLst>
            <pc:docMk/>
            <pc:sldMk cId="1549218491" sldId="697"/>
            <ac:spMk id="20" creationId="{9999CF8B-CF36-4D83-8D39-AFC5726036F9}"/>
          </ac:spMkLst>
        </pc:spChg>
        <pc:spChg chg="add">
          <ac:chgData name="Eileen Fleming Suse" userId="S::efs3844@ads.northwestern.edu::725c94ef-d051-42d7-9d33-8572765d592b" providerId="AD" clId="Web-{BFC87AA7-C8F9-9EFC-19DD-EB23F26608F3}" dt="2023-11-16T22:48:43.386" v="0"/>
          <ac:spMkLst>
            <pc:docMk/>
            <pc:sldMk cId="1549218491" sldId="697"/>
            <ac:spMk id="22" creationId="{91F6D5B9-3D1A-4091-825E-F687A58ADD3F}"/>
          </ac:spMkLst>
        </pc:spChg>
        <pc:picChg chg="add">
          <ac:chgData name="Eileen Fleming Suse" userId="S::efs3844@ads.northwestern.edu::725c94ef-d051-42d7-9d33-8572765d592b" providerId="AD" clId="Web-{BFC87AA7-C8F9-9EFC-19DD-EB23F26608F3}" dt="2023-11-16T22:48:43.386" v="0"/>
          <ac:picMkLst>
            <pc:docMk/>
            <pc:sldMk cId="1549218491" sldId="697"/>
            <ac:picMk id="12" creationId="{ADA65492-88D0-2A8E-83EE-B00D4D4CD6D0}"/>
          </ac:picMkLst>
        </pc:picChg>
        <pc:cxnChg chg="add">
          <ac:chgData name="Eileen Fleming Suse" userId="S::efs3844@ads.northwestern.edu::725c94ef-d051-42d7-9d33-8572765d592b" providerId="AD" clId="Web-{BFC87AA7-C8F9-9EFC-19DD-EB23F26608F3}" dt="2023-11-16T22:48:43.386" v="0"/>
          <ac:cxnSpMkLst>
            <pc:docMk/>
            <pc:sldMk cId="1549218491" sldId="697"/>
            <ac:cxnSpMk id="24" creationId="{F085D7B9-E066-4923-8CB7-294BF306296A}"/>
          </ac:cxnSpMkLst>
        </pc:cxnChg>
        <pc:cxnChg chg="add">
          <ac:chgData name="Eileen Fleming Suse" userId="S::efs3844@ads.northwestern.edu::725c94ef-d051-42d7-9d33-8572765d592b" providerId="AD" clId="Web-{BFC87AA7-C8F9-9EFC-19DD-EB23F26608F3}" dt="2023-11-16T22:48:43.386" v="0"/>
          <ac:cxnSpMkLst>
            <pc:docMk/>
            <pc:sldMk cId="1549218491" sldId="697"/>
            <ac:cxnSpMk id="26" creationId="{25443840-A796-4C43-8DC1-1B738EFEC522}"/>
          </ac:cxnSpMkLst>
        </pc:cxnChg>
      </pc:sldChg>
    </pc:docChg>
  </pc:docChgLst>
  <pc:docChgLst>
    <pc:chgData name="Eileen Fleming Suse" userId="S::efs3844@ads.northwestern.edu::725c94ef-d051-42d7-9d33-8572765d592b" providerId="AD" clId="Web-{61DCECB8-FCC4-463F-180A-DE94BEA715D4}"/>
    <pc:docChg chg="addSld delSld modSld">
      <pc:chgData name="Eileen Fleming Suse" userId="S::efs3844@ads.northwestern.edu::725c94ef-d051-42d7-9d33-8572765d592b" providerId="AD" clId="Web-{61DCECB8-FCC4-463F-180A-DE94BEA715D4}" dt="2023-10-30T22:49:41.685" v="398" actId="20577"/>
      <pc:docMkLst>
        <pc:docMk/>
      </pc:docMkLst>
      <pc:sldChg chg="modSp">
        <pc:chgData name="Eileen Fleming Suse" userId="S::efs3844@ads.northwestern.edu::725c94ef-d051-42d7-9d33-8572765d592b" providerId="AD" clId="Web-{61DCECB8-FCC4-463F-180A-DE94BEA715D4}" dt="2023-10-30T20:17:56.590" v="268" actId="1076"/>
        <pc:sldMkLst>
          <pc:docMk/>
          <pc:sldMk cId="4044691067" sldId="283"/>
        </pc:sldMkLst>
        <pc:spChg chg="mod">
          <ac:chgData name="Eileen Fleming Suse" userId="S::efs3844@ads.northwestern.edu::725c94ef-d051-42d7-9d33-8572765d592b" providerId="AD" clId="Web-{61DCECB8-FCC4-463F-180A-DE94BEA715D4}" dt="2023-10-30T20:17:22.746" v="261" actId="1076"/>
          <ac:spMkLst>
            <pc:docMk/>
            <pc:sldMk cId="4044691067" sldId="283"/>
            <ac:spMk id="2" creationId="{00000000-0000-0000-0000-000000000000}"/>
          </ac:spMkLst>
        </pc:spChg>
        <pc:spChg chg="mod">
          <ac:chgData name="Eileen Fleming Suse" userId="S::efs3844@ads.northwestern.edu::725c94ef-d051-42d7-9d33-8572765d592b" providerId="AD" clId="Web-{61DCECB8-FCC4-463F-180A-DE94BEA715D4}" dt="2023-10-30T20:17:54.262" v="267" actId="20577"/>
          <ac:spMkLst>
            <pc:docMk/>
            <pc:sldMk cId="4044691067" sldId="283"/>
            <ac:spMk id="3" creationId="{00000000-0000-0000-0000-000000000000}"/>
          </ac:spMkLst>
        </pc:spChg>
        <pc:spChg chg="mod">
          <ac:chgData name="Eileen Fleming Suse" userId="S::efs3844@ads.northwestern.edu::725c94ef-d051-42d7-9d33-8572765d592b" providerId="AD" clId="Web-{61DCECB8-FCC4-463F-180A-DE94BEA715D4}" dt="2023-10-30T20:17:56.590" v="268" actId="1076"/>
          <ac:spMkLst>
            <pc:docMk/>
            <pc:sldMk cId="4044691067" sldId="283"/>
            <ac:spMk id="16387" creationId="{00000000-0000-0000-0000-000000000000}"/>
          </ac:spMkLst>
        </pc:spChg>
      </pc:sldChg>
      <pc:sldChg chg="addSp delSp modSp del">
        <pc:chgData name="Eileen Fleming Suse" userId="S::efs3844@ads.northwestern.edu::725c94ef-d051-42d7-9d33-8572765d592b" providerId="AD" clId="Web-{61DCECB8-FCC4-463F-180A-DE94BEA715D4}" dt="2023-10-30T22:38:32.619" v="293"/>
        <pc:sldMkLst>
          <pc:docMk/>
          <pc:sldMk cId="2351229145" sldId="544"/>
        </pc:sldMkLst>
        <pc:spChg chg="add del mod">
          <ac:chgData name="Eileen Fleming Suse" userId="S::efs3844@ads.northwestern.edu::725c94ef-d051-42d7-9d33-8572765d592b" providerId="AD" clId="Web-{61DCECB8-FCC4-463F-180A-DE94BEA715D4}" dt="2023-10-30T20:36:38.882" v="271"/>
          <ac:spMkLst>
            <pc:docMk/>
            <pc:sldMk cId="2351229145" sldId="544"/>
            <ac:spMk id="4" creationId="{30128E86-7FC0-DAF8-2B3B-BC30C65B2BC6}"/>
          </ac:spMkLst>
        </pc:spChg>
      </pc:sldChg>
      <pc:sldChg chg="addSp delSp modSp mod setBg">
        <pc:chgData name="Eileen Fleming Suse" userId="S::efs3844@ads.northwestern.edu::725c94ef-d051-42d7-9d33-8572765d592b" providerId="AD" clId="Web-{61DCECB8-FCC4-463F-180A-DE94BEA715D4}" dt="2023-10-30T22:41:05.686" v="304"/>
        <pc:sldMkLst>
          <pc:docMk/>
          <pc:sldMk cId="3635595752" sldId="545"/>
        </pc:sldMkLst>
        <pc:spChg chg="mod">
          <ac:chgData name="Eileen Fleming Suse" userId="S::efs3844@ads.northwestern.edu::725c94ef-d051-42d7-9d33-8572765d592b" providerId="AD" clId="Web-{61DCECB8-FCC4-463F-180A-DE94BEA715D4}" dt="2023-10-30T22:40:13.497" v="300"/>
          <ac:spMkLst>
            <pc:docMk/>
            <pc:sldMk cId="3635595752" sldId="545"/>
            <ac:spMk id="2" creationId="{39AAB3FF-760A-B654-5F1B-78AD5BEB6B57}"/>
          </ac:spMkLst>
        </pc:spChg>
        <pc:spChg chg="mod">
          <ac:chgData name="Eileen Fleming Suse" userId="S::efs3844@ads.northwestern.edu::725c94ef-d051-42d7-9d33-8572765d592b" providerId="AD" clId="Web-{61DCECB8-FCC4-463F-180A-DE94BEA715D4}" dt="2023-10-30T22:40:13.497" v="300"/>
          <ac:spMkLst>
            <pc:docMk/>
            <pc:sldMk cId="3635595752" sldId="545"/>
            <ac:spMk id="3" creationId="{BFE56240-A306-0E11-425A-7323821A42F2}"/>
          </ac:spMkLst>
        </pc:spChg>
        <pc:spChg chg="add">
          <ac:chgData name="Eileen Fleming Suse" userId="S::efs3844@ads.northwestern.edu::725c94ef-d051-42d7-9d33-8572765d592b" providerId="AD" clId="Web-{61DCECB8-FCC4-463F-180A-DE94BEA715D4}" dt="2023-10-30T22:40:13.497" v="300"/>
          <ac:spMkLst>
            <pc:docMk/>
            <pc:sldMk cId="3635595752" sldId="545"/>
            <ac:spMk id="9" creationId="{4FA4E651-C3D8-4DB8-A026-E8531C6AFACC}"/>
          </ac:spMkLst>
        </pc:spChg>
        <pc:picChg chg="add mod">
          <ac:chgData name="Eileen Fleming Suse" userId="S::efs3844@ads.northwestern.edu::725c94ef-d051-42d7-9d33-8572765d592b" providerId="AD" clId="Web-{61DCECB8-FCC4-463F-180A-DE94BEA715D4}" dt="2023-10-30T22:40:13.497" v="300"/>
          <ac:picMkLst>
            <pc:docMk/>
            <pc:sldMk cId="3635595752" sldId="545"/>
            <ac:picMk id="4" creationId="{6982FC6C-870A-2D17-4241-681C88EEE4A9}"/>
          </ac:picMkLst>
        </pc:picChg>
        <pc:picChg chg="add del mod">
          <ac:chgData name="Eileen Fleming Suse" userId="S::efs3844@ads.northwestern.edu::725c94ef-d051-42d7-9d33-8572765d592b" providerId="AD" clId="Web-{61DCECB8-FCC4-463F-180A-DE94BEA715D4}" dt="2023-10-30T22:41:05.686" v="304"/>
          <ac:picMkLst>
            <pc:docMk/>
            <pc:sldMk cId="3635595752" sldId="545"/>
            <ac:picMk id="5" creationId="{1419DCC6-DC00-7882-A9B3-86F4E9C29BF1}"/>
          </ac:picMkLst>
        </pc:picChg>
      </pc:sldChg>
      <pc:sldChg chg="addSp modSp mod setBg addAnim">
        <pc:chgData name="Eileen Fleming Suse" userId="S::efs3844@ads.northwestern.edu::725c94ef-d051-42d7-9d33-8572765d592b" providerId="AD" clId="Web-{61DCECB8-FCC4-463F-180A-DE94BEA715D4}" dt="2023-10-30T22:47:53.463" v="364" actId="20577"/>
        <pc:sldMkLst>
          <pc:docMk/>
          <pc:sldMk cId="1036043289" sldId="546"/>
        </pc:sldMkLst>
        <pc:spChg chg="mod">
          <ac:chgData name="Eileen Fleming Suse" userId="S::efs3844@ads.northwestern.edu::725c94ef-d051-42d7-9d33-8572765d592b" providerId="AD" clId="Web-{61DCECB8-FCC4-463F-180A-DE94BEA715D4}" dt="2023-10-30T22:46:29.367" v="353"/>
          <ac:spMkLst>
            <pc:docMk/>
            <pc:sldMk cId="1036043289" sldId="546"/>
            <ac:spMk id="2" creationId="{67E16CF5-47C8-BEAD-25F8-81514DC0AF8B}"/>
          </ac:spMkLst>
        </pc:spChg>
        <pc:spChg chg="mod">
          <ac:chgData name="Eileen Fleming Suse" userId="S::efs3844@ads.northwestern.edu::725c94ef-d051-42d7-9d33-8572765d592b" providerId="AD" clId="Web-{61DCECB8-FCC4-463F-180A-DE94BEA715D4}" dt="2023-10-30T22:47:53.463" v="364" actId="20577"/>
          <ac:spMkLst>
            <pc:docMk/>
            <pc:sldMk cId="1036043289" sldId="546"/>
            <ac:spMk id="3" creationId="{BACE41BD-1CAE-1299-918F-5B1678DE12B4}"/>
          </ac:spMkLst>
        </pc:spChg>
        <pc:spChg chg="add">
          <ac:chgData name="Eileen Fleming Suse" userId="S::efs3844@ads.northwestern.edu::725c94ef-d051-42d7-9d33-8572765d592b" providerId="AD" clId="Web-{61DCECB8-FCC4-463F-180A-DE94BEA715D4}" dt="2023-10-30T22:46:29.367" v="353"/>
          <ac:spMkLst>
            <pc:docMk/>
            <pc:sldMk cId="1036043289" sldId="546"/>
            <ac:spMk id="9" creationId="{E91DC736-0EF8-4F87-9146-EBF1D2EE4D3D}"/>
          </ac:spMkLst>
        </pc:spChg>
        <pc:spChg chg="add">
          <ac:chgData name="Eileen Fleming Suse" userId="S::efs3844@ads.northwestern.edu::725c94ef-d051-42d7-9d33-8572765d592b" providerId="AD" clId="Web-{61DCECB8-FCC4-463F-180A-DE94BEA715D4}" dt="2023-10-30T22:46:29.367" v="353"/>
          <ac:spMkLst>
            <pc:docMk/>
            <pc:sldMk cId="1036043289" sldId="546"/>
            <ac:spMk id="11" creationId="{097CD68E-23E3-4007-8847-CD0944C4F7BE}"/>
          </ac:spMkLst>
        </pc:spChg>
        <pc:spChg chg="add">
          <ac:chgData name="Eileen Fleming Suse" userId="S::efs3844@ads.northwestern.edu::725c94ef-d051-42d7-9d33-8572765d592b" providerId="AD" clId="Web-{61DCECB8-FCC4-463F-180A-DE94BEA715D4}" dt="2023-10-30T22:46:29.367" v="353"/>
          <ac:spMkLst>
            <pc:docMk/>
            <pc:sldMk cId="1036043289" sldId="546"/>
            <ac:spMk id="13" creationId="{AF2F604E-43BE-4DC3-B983-E071523364F8}"/>
          </ac:spMkLst>
        </pc:spChg>
        <pc:spChg chg="add">
          <ac:chgData name="Eileen Fleming Suse" userId="S::efs3844@ads.northwestern.edu::725c94ef-d051-42d7-9d33-8572765d592b" providerId="AD" clId="Web-{61DCECB8-FCC4-463F-180A-DE94BEA715D4}" dt="2023-10-30T22:46:29.367" v="353"/>
          <ac:spMkLst>
            <pc:docMk/>
            <pc:sldMk cId="1036043289" sldId="546"/>
            <ac:spMk id="15" creationId="{08C9B587-E65E-4B52-B37C-ABEBB6E87928}"/>
          </ac:spMkLst>
        </pc:spChg>
        <pc:picChg chg="add mod ord">
          <ac:chgData name="Eileen Fleming Suse" userId="S::efs3844@ads.northwestern.edu::725c94ef-d051-42d7-9d33-8572765d592b" providerId="AD" clId="Web-{61DCECB8-FCC4-463F-180A-DE94BEA715D4}" dt="2023-10-30T22:46:29.367" v="353"/>
          <ac:picMkLst>
            <pc:docMk/>
            <pc:sldMk cId="1036043289" sldId="546"/>
            <ac:picMk id="4" creationId="{9E0544A9-5CC0-A8B3-0447-4C7A5380BF18}"/>
          </ac:picMkLst>
        </pc:picChg>
      </pc:sldChg>
      <pc:sldChg chg="modSp">
        <pc:chgData name="Eileen Fleming Suse" userId="S::efs3844@ads.northwestern.edu::725c94ef-d051-42d7-9d33-8572765d592b" providerId="AD" clId="Web-{61DCECB8-FCC4-463F-180A-DE94BEA715D4}" dt="2023-10-30T20:06:03.401" v="185" actId="1076"/>
        <pc:sldMkLst>
          <pc:docMk/>
          <pc:sldMk cId="3472964082" sldId="550"/>
        </pc:sldMkLst>
        <pc:spChg chg="mod">
          <ac:chgData name="Eileen Fleming Suse" userId="S::efs3844@ads.northwestern.edu::725c94ef-d051-42d7-9d33-8572765d592b" providerId="AD" clId="Web-{61DCECB8-FCC4-463F-180A-DE94BEA715D4}" dt="2023-10-30T20:06:03.401" v="185" actId="1076"/>
          <ac:spMkLst>
            <pc:docMk/>
            <pc:sldMk cId="3472964082" sldId="550"/>
            <ac:spMk id="14" creationId="{00000000-0000-0000-0000-000000000000}"/>
          </ac:spMkLst>
        </pc:spChg>
      </pc:sldChg>
      <pc:sldChg chg="modSp">
        <pc:chgData name="Eileen Fleming Suse" userId="S::efs3844@ads.northwestern.edu::725c94ef-d051-42d7-9d33-8572765d592b" providerId="AD" clId="Web-{61DCECB8-FCC4-463F-180A-DE94BEA715D4}" dt="2023-10-30T20:05:10.400" v="170" actId="1076"/>
        <pc:sldMkLst>
          <pc:docMk/>
          <pc:sldMk cId="2562283095" sldId="551"/>
        </pc:sldMkLst>
        <pc:spChg chg="mod">
          <ac:chgData name="Eileen Fleming Suse" userId="S::efs3844@ads.northwestern.edu::725c94ef-d051-42d7-9d33-8572765d592b" providerId="AD" clId="Web-{61DCECB8-FCC4-463F-180A-DE94BEA715D4}" dt="2023-10-30T20:05:10.400" v="170" actId="1076"/>
          <ac:spMkLst>
            <pc:docMk/>
            <pc:sldMk cId="2562283095" sldId="551"/>
            <ac:spMk id="14" creationId="{00000000-0000-0000-0000-000000000000}"/>
          </ac:spMkLst>
        </pc:spChg>
        <pc:spChg chg="mod">
          <ac:chgData name="Eileen Fleming Suse" userId="S::efs3844@ads.northwestern.edu::725c94ef-d051-42d7-9d33-8572765d592b" providerId="AD" clId="Web-{61DCECB8-FCC4-463F-180A-DE94BEA715D4}" dt="2023-10-30T20:02:45.475" v="115" actId="20577"/>
          <ac:spMkLst>
            <pc:docMk/>
            <pc:sldMk cId="2562283095" sldId="551"/>
            <ac:spMk id="53" creationId="{00000000-0000-0000-0000-000000000000}"/>
          </ac:spMkLst>
        </pc:spChg>
      </pc:sldChg>
      <pc:sldChg chg="modSp">
        <pc:chgData name="Eileen Fleming Suse" userId="S::efs3844@ads.northwestern.edu::725c94ef-d051-42d7-9d33-8572765d592b" providerId="AD" clId="Web-{61DCECB8-FCC4-463F-180A-DE94BEA715D4}" dt="2023-10-30T20:12:03.738" v="229"/>
        <pc:sldMkLst>
          <pc:docMk/>
          <pc:sldMk cId="3067427377" sldId="560"/>
        </pc:sldMkLst>
        <pc:spChg chg="mod">
          <ac:chgData name="Eileen Fleming Suse" userId="S::efs3844@ads.northwestern.edu::725c94ef-d051-42d7-9d33-8572765d592b" providerId="AD" clId="Web-{61DCECB8-FCC4-463F-180A-DE94BEA715D4}" dt="2023-10-30T20:12:03.738" v="229"/>
          <ac:spMkLst>
            <pc:docMk/>
            <pc:sldMk cId="3067427377" sldId="560"/>
            <ac:spMk id="2" creationId="{85302686-DF06-3304-66CB-1E21F4D086DC}"/>
          </ac:spMkLst>
        </pc:spChg>
        <pc:spChg chg="mod">
          <ac:chgData name="Eileen Fleming Suse" userId="S::efs3844@ads.northwestern.edu::725c94ef-d051-42d7-9d33-8572765d592b" providerId="AD" clId="Web-{61DCECB8-FCC4-463F-180A-DE94BEA715D4}" dt="2023-10-30T20:09:47.266" v="199" actId="20577"/>
          <ac:spMkLst>
            <pc:docMk/>
            <pc:sldMk cId="3067427377" sldId="560"/>
            <ac:spMk id="3" creationId="{E7ECD19B-85BC-6652-2856-676802964CFA}"/>
          </ac:spMkLst>
        </pc:spChg>
      </pc:sldChg>
      <pc:sldChg chg="modSp">
        <pc:chgData name="Eileen Fleming Suse" userId="S::efs3844@ads.northwestern.edu::725c94ef-d051-42d7-9d33-8572765d592b" providerId="AD" clId="Web-{61DCECB8-FCC4-463F-180A-DE94BEA715D4}" dt="2023-10-30T20:15:17.508" v="249" actId="1076"/>
        <pc:sldMkLst>
          <pc:docMk/>
          <pc:sldMk cId="1141815353" sldId="562"/>
        </pc:sldMkLst>
        <pc:spChg chg="mod">
          <ac:chgData name="Eileen Fleming Suse" userId="S::efs3844@ads.northwestern.edu::725c94ef-d051-42d7-9d33-8572765d592b" providerId="AD" clId="Web-{61DCECB8-FCC4-463F-180A-DE94BEA715D4}" dt="2023-10-30T20:15:17.508" v="249" actId="1076"/>
          <ac:spMkLst>
            <pc:docMk/>
            <pc:sldMk cId="1141815353" sldId="562"/>
            <ac:spMk id="13" creationId="{2FC08365-C48A-7DB8-BBA6-D9EB552FFD55}"/>
          </ac:spMkLst>
        </pc:spChg>
      </pc:sldChg>
      <pc:sldChg chg="modSp">
        <pc:chgData name="Eileen Fleming Suse" userId="S::efs3844@ads.northwestern.edu::725c94ef-d051-42d7-9d33-8572765d592b" providerId="AD" clId="Web-{61DCECB8-FCC4-463F-180A-DE94BEA715D4}" dt="2023-10-30T19:48:03.501" v="41" actId="1076"/>
        <pc:sldMkLst>
          <pc:docMk/>
          <pc:sldMk cId="3845418986" sldId="563"/>
        </pc:sldMkLst>
        <pc:spChg chg="mod">
          <ac:chgData name="Eileen Fleming Suse" userId="S::efs3844@ads.northwestern.edu::725c94ef-d051-42d7-9d33-8572765d592b" providerId="AD" clId="Web-{61DCECB8-FCC4-463F-180A-DE94BEA715D4}" dt="2023-10-30T19:48:03.501" v="41" actId="1076"/>
          <ac:spMkLst>
            <pc:docMk/>
            <pc:sldMk cId="3845418986" sldId="563"/>
            <ac:spMk id="49" creationId="{4FD6BDF7-E6F5-6DC8-9332-E3E0DB7057F0}"/>
          </ac:spMkLst>
        </pc:spChg>
        <pc:spChg chg="mod">
          <ac:chgData name="Eileen Fleming Suse" userId="S::efs3844@ads.northwestern.edu::725c94ef-d051-42d7-9d33-8572765d592b" providerId="AD" clId="Web-{61DCECB8-FCC4-463F-180A-DE94BEA715D4}" dt="2023-10-30T19:47:58.329" v="39" actId="1076"/>
          <ac:spMkLst>
            <pc:docMk/>
            <pc:sldMk cId="3845418986" sldId="563"/>
            <ac:spMk id="51" creationId="{233EFC40-2641-E728-F412-79899FC6D0D7}"/>
          </ac:spMkLst>
        </pc:spChg>
        <pc:spChg chg="mod">
          <ac:chgData name="Eileen Fleming Suse" userId="S::efs3844@ads.northwestern.edu::725c94ef-d051-42d7-9d33-8572765d592b" providerId="AD" clId="Web-{61DCECB8-FCC4-463F-180A-DE94BEA715D4}" dt="2023-10-30T19:47:53.204" v="38" actId="1076"/>
          <ac:spMkLst>
            <pc:docMk/>
            <pc:sldMk cId="3845418986" sldId="563"/>
            <ac:spMk id="53" creationId="{66360ABF-1F2C-C63A-9187-17E2573B3DEB}"/>
          </ac:spMkLst>
        </pc:spChg>
      </pc:sldChg>
      <pc:sldChg chg="modSp">
        <pc:chgData name="Eileen Fleming Suse" userId="S::efs3844@ads.northwestern.edu::725c94ef-d051-42d7-9d33-8572765d592b" providerId="AD" clId="Web-{61DCECB8-FCC4-463F-180A-DE94BEA715D4}" dt="2023-10-30T19:47:07.218" v="36" actId="1076"/>
        <pc:sldMkLst>
          <pc:docMk/>
          <pc:sldMk cId="1536434647" sldId="564"/>
        </pc:sldMkLst>
        <pc:spChg chg="mod">
          <ac:chgData name="Eileen Fleming Suse" userId="S::efs3844@ads.northwestern.edu::725c94ef-d051-42d7-9d33-8572765d592b" providerId="AD" clId="Web-{61DCECB8-FCC4-463F-180A-DE94BEA715D4}" dt="2023-10-30T19:47:07.218" v="36" actId="1076"/>
          <ac:spMkLst>
            <pc:docMk/>
            <pc:sldMk cId="1536434647" sldId="564"/>
            <ac:spMk id="51" creationId="{DADB789B-D1D8-A439-C1FC-0121F131E706}"/>
          </ac:spMkLst>
        </pc:spChg>
        <pc:spChg chg="mod">
          <ac:chgData name="Eileen Fleming Suse" userId="S::efs3844@ads.northwestern.edu::725c94ef-d051-42d7-9d33-8572765d592b" providerId="AD" clId="Web-{61DCECB8-FCC4-463F-180A-DE94BEA715D4}" dt="2023-10-30T19:47:03.874" v="34" actId="1076"/>
          <ac:spMkLst>
            <pc:docMk/>
            <pc:sldMk cId="1536434647" sldId="564"/>
            <ac:spMk id="53" creationId="{7AA1F7FA-AA52-FED3-1784-BE66C8A7FBFC}"/>
          </ac:spMkLst>
        </pc:spChg>
        <pc:spChg chg="mod">
          <ac:chgData name="Eileen Fleming Suse" userId="S::efs3844@ads.northwestern.edu::725c94ef-d051-42d7-9d33-8572765d592b" providerId="AD" clId="Web-{61DCECB8-FCC4-463F-180A-DE94BEA715D4}" dt="2023-10-30T19:47:01.156" v="33" actId="1076"/>
          <ac:spMkLst>
            <pc:docMk/>
            <pc:sldMk cId="1536434647" sldId="564"/>
            <ac:spMk id="55" creationId="{20BABE46-A93F-751A-4C5F-3AC294D73230}"/>
          </ac:spMkLst>
        </pc:spChg>
      </pc:sldChg>
      <pc:sldChg chg="modSp">
        <pc:chgData name="Eileen Fleming Suse" userId="S::efs3844@ads.northwestern.edu::725c94ef-d051-42d7-9d33-8572765d592b" providerId="AD" clId="Web-{61DCECB8-FCC4-463F-180A-DE94BEA715D4}" dt="2023-10-30T22:49:24.356" v="387" actId="20577"/>
        <pc:sldMkLst>
          <pc:docMk/>
          <pc:sldMk cId="3870927286" sldId="583"/>
        </pc:sldMkLst>
        <pc:spChg chg="mod">
          <ac:chgData name="Eileen Fleming Suse" userId="S::efs3844@ads.northwestern.edu::725c94ef-d051-42d7-9d33-8572765d592b" providerId="AD" clId="Web-{61DCECB8-FCC4-463F-180A-DE94BEA715D4}" dt="2023-10-30T22:47:53.713" v="367" actId="1076"/>
          <ac:spMkLst>
            <pc:docMk/>
            <pc:sldMk cId="3870927286" sldId="583"/>
            <ac:spMk id="2" creationId="{00000000-0000-0000-0000-000000000000}"/>
          </ac:spMkLst>
        </pc:spChg>
        <pc:spChg chg="mod">
          <ac:chgData name="Eileen Fleming Suse" userId="S::efs3844@ads.northwestern.edu::725c94ef-d051-42d7-9d33-8572765d592b" providerId="AD" clId="Web-{61DCECB8-FCC4-463F-180A-DE94BEA715D4}" dt="2023-10-30T22:49:24.356" v="387" actId="20577"/>
          <ac:spMkLst>
            <pc:docMk/>
            <pc:sldMk cId="3870927286" sldId="583"/>
            <ac:spMk id="13" creationId="{00000000-0000-0000-0000-000000000000}"/>
          </ac:spMkLst>
        </pc:spChg>
        <pc:spChg chg="mod">
          <ac:chgData name="Eileen Fleming Suse" userId="S::efs3844@ads.northwestern.edu::725c94ef-d051-42d7-9d33-8572765d592b" providerId="AD" clId="Web-{61DCECB8-FCC4-463F-180A-DE94BEA715D4}" dt="2023-10-30T22:48:44.855" v="383" actId="1076"/>
          <ac:spMkLst>
            <pc:docMk/>
            <pc:sldMk cId="3870927286" sldId="583"/>
            <ac:spMk id="14" creationId="{00000000-0000-0000-0000-000000000000}"/>
          </ac:spMkLst>
        </pc:spChg>
        <pc:spChg chg="mod">
          <ac:chgData name="Eileen Fleming Suse" userId="S::efs3844@ads.northwestern.edu::725c94ef-d051-42d7-9d33-8572765d592b" providerId="AD" clId="Web-{61DCECB8-FCC4-463F-180A-DE94BEA715D4}" dt="2023-10-30T22:47:53.869" v="373" actId="1076"/>
          <ac:spMkLst>
            <pc:docMk/>
            <pc:sldMk cId="3870927286" sldId="583"/>
            <ac:spMk id="39" creationId="{00000000-0000-0000-0000-000000000000}"/>
          </ac:spMkLst>
        </pc:spChg>
        <pc:spChg chg="mod">
          <ac:chgData name="Eileen Fleming Suse" userId="S::efs3844@ads.northwestern.edu::725c94ef-d051-42d7-9d33-8572765d592b" providerId="AD" clId="Web-{61DCECB8-FCC4-463F-180A-DE94BEA715D4}" dt="2023-10-30T22:47:53.885" v="374" actId="1076"/>
          <ac:spMkLst>
            <pc:docMk/>
            <pc:sldMk cId="3870927286" sldId="583"/>
            <ac:spMk id="40" creationId="{00000000-0000-0000-0000-000000000000}"/>
          </ac:spMkLst>
        </pc:spChg>
        <pc:spChg chg="mod">
          <ac:chgData name="Eileen Fleming Suse" userId="S::efs3844@ads.northwestern.edu::725c94ef-d051-42d7-9d33-8572765d592b" providerId="AD" clId="Web-{61DCECB8-FCC4-463F-180A-DE94BEA715D4}" dt="2023-10-30T22:47:53.900" v="375" actId="1076"/>
          <ac:spMkLst>
            <pc:docMk/>
            <pc:sldMk cId="3870927286" sldId="583"/>
            <ac:spMk id="41" creationId="{00000000-0000-0000-0000-000000000000}"/>
          </ac:spMkLst>
        </pc:spChg>
        <pc:spChg chg="mod">
          <ac:chgData name="Eileen Fleming Suse" userId="S::efs3844@ads.northwestern.edu::725c94ef-d051-42d7-9d33-8572765d592b" providerId="AD" clId="Web-{61DCECB8-FCC4-463F-180A-DE94BEA715D4}" dt="2023-10-30T22:47:53.744" v="368" actId="1076"/>
          <ac:spMkLst>
            <pc:docMk/>
            <pc:sldMk cId="3870927286" sldId="583"/>
            <ac:spMk id="51" creationId="{00000000-0000-0000-0000-000000000000}"/>
          </ac:spMkLst>
        </pc:spChg>
        <pc:grpChg chg="mod">
          <ac:chgData name="Eileen Fleming Suse" userId="S::efs3844@ads.northwestern.edu::725c94ef-d051-42d7-9d33-8572765d592b" providerId="AD" clId="Web-{61DCECB8-FCC4-463F-180A-DE94BEA715D4}" dt="2023-10-30T22:48:23.542" v="380" actId="14100"/>
          <ac:grpSpMkLst>
            <pc:docMk/>
            <pc:sldMk cId="3870927286" sldId="583"/>
            <ac:grpSpMk id="3" creationId="{00000000-0000-0000-0000-000000000000}"/>
          </ac:grpSpMkLst>
        </pc:grpChg>
        <pc:grpChg chg="mod">
          <ac:chgData name="Eileen Fleming Suse" userId="S::efs3844@ads.northwestern.edu::725c94ef-d051-42d7-9d33-8572765d592b" providerId="AD" clId="Web-{61DCECB8-FCC4-463F-180A-DE94BEA715D4}" dt="2023-10-30T22:48:35.464" v="381" actId="1076"/>
          <ac:grpSpMkLst>
            <pc:docMk/>
            <pc:sldMk cId="3870927286" sldId="583"/>
            <ac:grpSpMk id="6" creationId="{00000000-0000-0000-0000-000000000000}"/>
          </ac:grpSpMkLst>
        </pc:grpChg>
        <pc:grpChg chg="mod">
          <ac:chgData name="Eileen Fleming Suse" userId="S::efs3844@ads.northwestern.edu::725c94ef-d051-42d7-9d33-8572765d592b" providerId="AD" clId="Web-{61DCECB8-FCC4-463F-180A-DE94BEA715D4}" dt="2023-10-30T22:48:36.042" v="382" actId="1076"/>
          <ac:grpSpMkLst>
            <pc:docMk/>
            <pc:sldMk cId="3870927286" sldId="583"/>
            <ac:grpSpMk id="9" creationId="{00000000-0000-0000-0000-000000000000}"/>
          </ac:grpSpMkLst>
        </pc:grpChg>
        <pc:grpChg chg="mod">
          <ac:chgData name="Eileen Fleming Suse" userId="S::efs3844@ads.northwestern.edu::725c94ef-d051-42d7-9d33-8572765d592b" providerId="AD" clId="Web-{61DCECB8-FCC4-463F-180A-DE94BEA715D4}" dt="2023-10-30T22:48:54.965" v="384" actId="14100"/>
          <ac:grpSpMkLst>
            <pc:docMk/>
            <pc:sldMk cId="3870927286" sldId="583"/>
            <ac:grpSpMk id="15" creationId="{00000000-0000-0000-0000-000000000000}"/>
          </ac:grpSpMkLst>
        </pc:grpChg>
        <pc:grpChg chg="mod">
          <ac:chgData name="Eileen Fleming Suse" userId="S::efs3844@ads.northwestern.edu::725c94ef-d051-42d7-9d33-8572765d592b" providerId="AD" clId="Web-{61DCECB8-FCC4-463F-180A-DE94BEA715D4}" dt="2023-10-30T22:49:04.090" v="385" actId="14100"/>
          <ac:grpSpMkLst>
            <pc:docMk/>
            <pc:sldMk cId="3870927286" sldId="583"/>
            <ac:grpSpMk id="21" creationId="{00000000-0000-0000-0000-000000000000}"/>
          </ac:grpSpMkLst>
        </pc:grpChg>
        <pc:grpChg chg="mod">
          <ac:chgData name="Eileen Fleming Suse" userId="S::efs3844@ads.northwestern.edu::725c94ef-d051-42d7-9d33-8572765d592b" providerId="AD" clId="Web-{61DCECB8-FCC4-463F-180A-DE94BEA715D4}" dt="2023-10-30T22:48:03.635" v="377" actId="14100"/>
          <ac:grpSpMkLst>
            <pc:docMk/>
            <pc:sldMk cId="3870927286" sldId="583"/>
            <ac:grpSpMk id="30" creationId="{00000000-0000-0000-0000-000000000000}"/>
          </ac:grpSpMkLst>
        </pc:grpChg>
        <pc:grpChg chg="mod">
          <ac:chgData name="Eileen Fleming Suse" userId="S::efs3844@ads.northwestern.edu::725c94ef-d051-42d7-9d33-8572765d592b" providerId="AD" clId="Web-{61DCECB8-FCC4-463F-180A-DE94BEA715D4}" dt="2023-10-30T22:48:13.416" v="378" actId="1076"/>
          <ac:grpSpMkLst>
            <pc:docMk/>
            <pc:sldMk cId="3870927286" sldId="583"/>
            <ac:grpSpMk id="33" creationId="{00000000-0000-0000-0000-000000000000}"/>
          </ac:grpSpMkLst>
        </pc:grpChg>
        <pc:grpChg chg="mod">
          <ac:chgData name="Eileen Fleming Suse" userId="S::efs3844@ads.northwestern.edu::725c94ef-d051-42d7-9d33-8572765d592b" providerId="AD" clId="Web-{61DCECB8-FCC4-463F-180A-DE94BEA715D4}" dt="2023-10-30T22:47:53.869" v="372" actId="1076"/>
          <ac:grpSpMkLst>
            <pc:docMk/>
            <pc:sldMk cId="3870927286" sldId="583"/>
            <ac:grpSpMk id="36" creationId="{00000000-0000-0000-0000-000000000000}"/>
          </ac:grpSpMkLst>
        </pc:grpChg>
        <pc:picChg chg="mod">
          <ac:chgData name="Eileen Fleming Suse" userId="S::efs3844@ads.northwestern.edu::725c94ef-d051-42d7-9d33-8572765d592b" providerId="AD" clId="Web-{61DCECB8-FCC4-463F-180A-DE94BEA715D4}" dt="2023-10-30T22:47:53.791" v="369" actId="1076"/>
          <ac:picMkLst>
            <pc:docMk/>
            <pc:sldMk cId="3870927286" sldId="583"/>
            <ac:picMk id="18" creationId="{1199796C-BA73-A007-E570-EBC0C69CD679}"/>
          </ac:picMkLst>
        </pc:picChg>
      </pc:sldChg>
      <pc:sldChg chg="modSp">
        <pc:chgData name="Eileen Fleming Suse" userId="S::efs3844@ads.northwestern.edu::725c94ef-d051-42d7-9d33-8572765d592b" providerId="AD" clId="Web-{61DCECB8-FCC4-463F-180A-DE94BEA715D4}" dt="2023-10-30T20:02:49.334" v="116" actId="20577"/>
        <pc:sldMkLst>
          <pc:docMk/>
          <pc:sldMk cId="3561966490" sldId="585"/>
        </pc:sldMkLst>
        <pc:spChg chg="mod">
          <ac:chgData name="Eileen Fleming Suse" userId="S::efs3844@ads.northwestern.edu::725c94ef-d051-42d7-9d33-8572765d592b" providerId="AD" clId="Web-{61DCECB8-FCC4-463F-180A-DE94BEA715D4}" dt="2023-10-30T20:02:49.334" v="116" actId="20577"/>
          <ac:spMkLst>
            <pc:docMk/>
            <pc:sldMk cId="3561966490" sldId="585"/>
            <ac:spMk id="7" creationId="{00000000-0000-0000-0000-000000000000}"/>
          </ac:spMkLst>
        </pc:spChg>
      </pc:sldChg>
      <pc:sldChg chg="modSp">
        <pc:chgData name="Eileen Fleming Suse" userId="S::efs3844@ads.northwestern.edu::725c94ef-d051-42d7-9d33-8572765d592b" providerId="AD" clId="Web-{61DCECB8-FCC4-463F-180A-DE94BEA715D4}" dt="2023-10-30T19:53:05.930" v="77" actId="14100"/>
        <pc:sldMkLst>
          <pc:docMk/>
          <pc:sldMk cId="3809547791" sldId="586"/>
        </pc:sldMkLst>
        <pc:spChg chg="mod">
          <ac:chgData name="Eileen Fleming Suse" userId="S::efs3844@ads.northwestern.edu::725c94ef-d051-42d7-9d33-8572765d592b" providerId="AD" clId="Web-{61DCECB8-FCC4-463F-180A-DE94BEA715D4}" dt="2023-10-30T19:53:05.930" v="77" actId="14100"/>
          <ac:spMkLst>
            <pc:docMk/>
            <pc:sldMk cId="3809547791" sldId="586"/>
            <ac:spMk id="45" creationId="{C77E478B-4FF6-99F3-8EF6-9EC4CBF20CDC}"/>
          </ac:spMkLst>
        </pc:spChg>
        <pc:spChg chg="mod">
          <ac:chgData name="Eileen Fleming Suse" userId="S::efs3844@ads.northwestern.edu::725c94ef-d051-42d7-9d33-8572765d592b" providerId="AD" clId="Web-{61DCECB8-FCC4-463F-180A-DE94BEA715D4}" dt="2023-10-30T19:52:21.335" v="74" actId="1076"/>
          <ac:spMkLst>
            <pc:docMk/>
            <pc:sldMk cId="3809547791" sldId="586"/>
            <ac:spMk id="47" creationId="{B8E0B5F5-B6A2-711D-2F6F-422E5E01B221}"/>
          </ac:spMkLst>
        </pc:spChg>
      </pc:sldChg>
      <pc:sldChg chg="modSp">
        <pc:chgData name="Eileen Fleming Suse" userId="S::efs3844@ads.northwestern.edu::725c94ef-d051-42d7-9d33-8572765d592b" providerId="AD" clId="Web-{61DCECB8-FCC4-463F-180A-DE94BEA715D4}" dt="2023-10-30T19:52:12.554" v="72" actId="1076"/>
        <pc:sldMkLst>
          <pc:docMk/>
          <pc:sldMk cId="1598854783" sldId="587"/>
        </pc:sldMkLst>
        <pc:spChg chg="mod">
          <ac:chgData name="Eileen Fleming Suse" userId="S::efs3844@ads.northwestern.edu::725c94ef-d051-42d7-9d33-8572765d592b" providerId="AD" clId="Web-{61DCECB8-FCC4-463F-180A-DE94BEA715D4}" dt="2023-10-30T19:52:12.554" v="72" actId="1076"/>
          <ac:spMkLst>
            <pc:docMk/>
            <pc:sldMk cId="1598854783" sldId="587"/>
            <ac:spMk id="49" creationId="{E2210AC7-88E9-3DF2-B6FD-284390179A81}"/>
          </ac:spMkLst>
        </pc:spChg>
        <pc:spChg chg="mod">
          <ac:chgData name="Eileen Fleming Suse" userId="S::efs3844@ads.northwestern.edu::725c94ef-d051-42d7-9d33-8572765d592b" providerId="AD" clId="Web-{61DCECB8-FCC4-463F-180A-DE94BEA715D4}" dt="2023-10-30T19:50:46.880" v="70" actId="1076"/>
          <ac:spMkLst>
            <pc:docMk/>
            <pc:sldMk cId="1598854783" sldId="587"/>
            <ac:spMk id="51" creationId="{24A2DEC9-4CC0-CBF0-5D9A-524D9EFAEE1C}"/>
          </ac:spMkLst>
        </pc:spChg>
        <pc:spChg chg="mod">
          <ac:chgData name="Eileen Fleming Suse" userId="S::efs3844@ads.northwestern.edu::725c94ef-d051-42d7-9d33-8572765d592b" providerId="AD" clId="Web-{61DCECB8-FCC4-463F-180A-DE94BEA715D4}" dt="2023-10-30T19:50:45.505" v="69" actId="1076"/>
          <ac:spMkLst>
            <pc:docMk/>
            <pc:sldMk cId="1598854783" sldId="587"/>
            <ac:spMk id="53" creationId="{0E0706BB-4123-83DA-E93A-66A50F4484A3}"/>
          </ac:spMkLst>
        </pc:spChg>
      </pc:sldChg>
      <pc:sldChg chg="modSp">
        <pc:chgData name="Eileen Fleming Suse" userId="S::efs3844@ads.northwestern.edu::725c94ef-d051-42d7-9d33-8572765d592b" providerId="AD" clId="Web-{61DCECB8-FCC4-463F-180A-DE94BEA715D4}" dt="2023-10-30T19:56:42.544" v="104" actId="1076"/>
        <pc:sldMkLst>
          <pc:docMk/>
          <pc:sldMk cId="3832963388" sldId="588"/>
        </pc:sldMkLst>
        <pc:spChg chg="mod">
          <ac:chgData name="Eileen Fleming Suse" userId="S::efs3844@ads.northwestern.edu::725c94ef-d051-42d7-9d33-8572765d592b" providerId="AD" clId="Web-{61DCECB8-FCC4-463F-180A-DE94BEA715D4}" dt="2023-10-30T19:56:42.544" v="104" actId="1076"/>
          <ac:spMkLst>
            <pc:docMk/>
            <pc:sldMk cId="3832963388" sldId="588"/>
            <ac:spMk id="27" creationId="{00000000-0000-0000-0000-000000000000}"/>
          </ac:spMkLst>
        </pc:spChg>
        <pc:spChg chg="mod">
          <ac:chgData name="Eileen Fleming Suse" userId="S::efs3844@ads.northwestern.edu::725c94ef-d051-42d7-9d33-8572765d592b" providerId="AD" clId="Web-{61DCECB8-FCC4-463F-180A-DE94BEA715D4}" dt="2023-10-30T19:56:12.966" v="102" actId="1076"/>
          <ac:spMkLst>
            <pc:docMk/>
            <pc:sldMk cId="3832963388" sldId="588"/>
            <ac:spMk id="32" creationId="{00000000-0000-0000-0000-000000000000}"/>
          </ac:spMkLst>
        </pc:spChg>
        <pc:spChg chg="mod">
          <ac:chgData name="Eileen Fleming Suse" userId="S::efs3844@ads.northwestern.edu::725c94ef-d051-42d7-9d33-8572765d592b" providerId="AD" clId="Web-{61DCECB8-FCC4-463F-180A-DE94BEA715D4}" dt="2023-10-30T19:50:22.270" v="62" actId="14100"/>
          <ac:spMkLst>
            <pc:docMk/>
            <pc:sldMk cId="3832963388" sldId="588"/>
            <ac:spMk id="36" creationId="{3EFC5C80-E693-6C51-4DEF-583812BEAB54}"/>
          </ac:spMkLst>
        </pc:spChg>
        <pc:spChg chg="mod">
          <ac:chgData name="Eileen Fleming Suse" userId="S::efs3844@ads.northwestern.edu::725c94ef-d051-42d7-9d33-8572765d592b" providerId="AD" clId="Web-{61DCECB8-FCC4-463F-180A-DE94BEA715D4}" dt="2023-10-30T19:50:16.801" v="59" actId="1076"/>
          <ac:spMkLst>
            <pc:docMk/>
            <pc:sldMk cId="3832963388" sldId="588"/>
            <ac:spMk id="38" creationId="{9B32A794-89CE-3CF7-CCFB-FB03BB567C6D}"/>
          </ac:spMkLst>
        </pc:spChg>
      </pc:sldChg>
      <pc:sldChg chg="modSp">
        <pc:chgData name="Eileen Fleming Suse" userId="S::efs3844@ads.northwestern.edu::725c94ef-d051-42d7-9d33-8572765d592b" providerId="AD" clId="Web-{61DCECB8-FCC4-463F-180A-DE94BEA715D4}" dt="2023-10-30T19:56:26.903" v="103" actId="20577"/>
        <pc:sldMkLst>
          <pc:docMk/>
          <pc:sldMk cId="435998680" sldId="589"/>
        </pc:sldMkLst>
        <pc:spChg chg="mod">
          <ac:chgData name="Eileen Fleming Suse" userId="S::efs3844@ads.northwestern.edu::725c94ef-d051-42d7-9d33-8572765d592b" providerId="AD" clId="Web-{61DCECB8-FCC4-463F-180A-DE94BEA715D4}" dt="2023-10-30T19:54:21.947" v="86" actId="1076"/>
          <ac:spMkLst>
            <pc:docMk/>
            <pc:sldMk cId="435998680" sldId="589"/>
            <ac:spMk id="3" creationId="{00000000-0000-0000-0000-000000000000}"/>
          </ac:spMkLst>
        </pc:spChg>
        <pc:spChg chg="mod">
          <ac:chgData name="Eileen Fleming Suse" userId="S::efs3844@ads.northwestern.edu::725c94ef-d051-42d7-9d33-8572765d592b" providerId="AD" clId="Web-{61DCECB8-FCC4-463F-180A-DE94BEA715D4}" dt="2023-10-30T19:55:39.215" v="99" actId="1076"/>
          <ac:spMkLst>
            <pc:docMk/>
            <pc:sldMk cId="435998680" sldId="589"/>
            <ac:spMk id="8" creationId="{00000000-0000-0000-0000-000000000000}"/>
          </ac:spMkLst>
        </pc:spChg>
        <pc:spChg chg="mod">
          <ac:chgData name="Eileen Fleming Suse" userId="S::efs3844@ads.northwestern.edu::725c94ef-d051-42d7-9d33-8572765d592b" providerId="AD" clId="Web-{61DCECB8-FCC4-463F-180A-DE94BEA715D4}" dt="2023-10-30T19:54:19.322" v="85" actId="14100"/>
          <ac:spMkLst>
            <pc:docMk/>
            <pc:sldMk cId="435998680" sldId="589"/>
            <ac:spMk id="10" creationId="{00000000-0000-0000-0000-000000000000}"/>
          </ac:spMkLst>
        </pc:spChg>
        <pc:spChg chg="mod">
          <ac:chgData name="Eileen Fleming Suse" userId="S::efs3844@ads.northwestern.edu::725c94ef-d051-42d7-9d33-8572765d592b" providerId="AD" clId="Web-{61DCECB8-FCC4-463F-180A-DE94BEA715D4}" dt="2023-10-30T19:54:08.025" v="83" actId="1076"/>
          <ac:spMkLst>
            <pc:docMk/>
            <pc:sldMk cId="435998680" sldId="589"/>
            <ac:spMk id="13" creationId="{00000000-0000-0000-0000-000000000000}"/>
          </ac:spMkLst>
        </pc:spChg>
        <pc:spChg chg="mod">
          <ac:chgData name="Eileen Fleming Suse" userId="S::efs3844@ads.northwestern.edu::725c94ef-d051-42d7-9d33-8572765d592b" providerId="AD" clId="Web-{61DCECB8-FCC4-463F-180A-DE94BEA715D4}" dt="2023-10-30T19:56:26.903" v="103" actId="20577"/>
          <ac:spMkLst>
            <pc:docMk/>
            <pc:sldMk cId="435998680" sldId="589"/>
            <ac:spMk id="16" creationId="{00000000-0000-0000-0000-000000000000}"/>
          </ac:spMkLst>
        </pc:spChg>
        <pc:spChg chg="mod">
          <ac:chgData name="Eileen Fleming Suse" userId="S::efs3844@ads.northwestern.edu::725c94ef-d051-42d7-9d33-8572765d592b" providerId="AD" clId="Web-{61DCECB8-FCC4-463F-180A-DE94BEA715D4}" dt="2023-10-30T19:54:46.620" v="90" actId="20577"/>
          <ac:spMkLst>
            <pc:docMk/>
            <pc:sldMk cId="435998680" sldId="589"/>
            <ac:spMk id="17" creationId="{00000000-0000-0000-0000-000000000000}"/>
          </ac:spMkLst>
        </pc:spChg>
        <pc:spChg chg="mod">
          <ac:chgData name="Eileen Fleming Suse" userId="S::efs3844@ads.northwestern.edu::725c94ef-d051-42d7-9d33-8572765d592b" providerId="AD" clId="Web-{61DCECB8-FCC4-463F-180A-DE94BEA715D4}" dt="2023-10-30T19:49:42.800" v="52" actId="14100"/>
          <ac:spMkLst>
            <pc:docMk/>
            <pc:sldMk cId="435998680" sldId="589"/>
            <ac:spMk id="19" creationId="{4F38B046-5CD5-F005-45E3-2034830DFD34}"/>
          </ac:spMkLst>
        </pc:spChg>
        <pc:spChg chg="mod">
          <ac:chgData name="Eileen Fleming Suse" userId="S::efs3844@ads.northwestern.edu::725c94ef-d051-42d7-9d33-8572765d592b" providerId="AD" clId="Web-{61DCECB8-FCC4-463F-180A-DE94BEA715D4}" dt="2023-10-30T19:49:51.378" v="55" actId="1076"/>
          <ac:spMkLst>
            <pc:docMk/>
            <pc:sldMk cId="435998680" sldId="589"/>
            <ac:spMk id="21" creationId="{A35E0C3C-CC22-A1A0-8E94-9EEE65798BD1}"/>
          </ac:spMkLst>
        </pc:spChg>
        <pc:spChg chg="mod">
          <ac:chgData name="Eileen Fleming Suse" userId="S::efs3844@ads.northwestern.edu::725c94ef-d051-42d7-9d33-8572765d592b" providerId="AD" clId="Web-{61DCECB8-FCC4-463F-180A-DE94BEA715D4}" dt="2023-10-30T19:48:51.643" v="51" actId="1076"/>
          <ac:spMkLst>
            <pc:docMk/>
            <pc:sldMk cId="435998680" sldId="589"/>
            <ac:spMk id="23" creationId="{4187CCE4-601B-24DB-941F-235B18EDE475}"/>
          </ac:spMkLst>
        </pc:spChg>
        <pc:grpChg chg="mod">
          <ac:chgData name="Eileen Fleming Suse" userId="S::efs3844@ads.northwestern.edu::725c94ef-d051-42d7-9d33-8572765d592b" providerId="AD" clId="Web-{61DCECB8-FCC4-463F-180A-DE94BEA715D4}" dt="2023-10-30T19:54:05.572" v="82" actId="1076"/>
          <ac:grpSpMkLst>
            <pc:docMk/>
            <pc:sldMk cId="435998680" sldId="589"/>
            <ac:grpSpMk id="5" creationId="{00000000-0000-0000-0000-000000000000}"/>
          </ac:grpSpMkLst>
        </pc:grpChg>
      </pc:sldChg>
      <pc:sldChg chg="modSp">
        <pc:chgData name="Eileen Fleming Suse" userId="S::efs3844@ads.northwestern.edu::725c94ef-d051-42d7-9d33-8572765d592b" providerId="AD" clId="Web-{61DCECB8-FCC4-463F-180A-DE94BEA715D4}" dt="2023-10-30T19:53:40.587" v="81" actId="1076"/>
        <pc:sldMkLst>
          <pc:docMk/>
          <pc:sldMk cId="595546358" sldId="590"/>
        </pc:sldMkLst>
        <pc:spChg chg="mod">
          <ac:chgData name="Eileen Fleming Suse" userId="S::efs3844@ads.northwestern.edu::725c94ef-d051-42d7-9d33-8572765d592b" providerId="AD" clId="Web-{61DCECB8-FCC4-463F-180A-DE94BEA715D4}" dt="2023-10-30T19:53:37.665" v="80" actId="1076"/>
          <ac:spMkLst>
            <pc:docMk/>
            <pc:sldMk cId="595546358" sldId="590"/>
            <ac:spMk id="26" creationId="{00000000-0000-0000-0000-000000000000}"/>
          </ac:spMkLst>
        </pc:spChg>
        <pc:spChg chg="mod">
          <ac:chgData name="Eileen Fleming Suse" userId="S::efs3844@ads.northwestern.edu::725c94ef-d051-42d7-9d33-8572765d592b" providerId="AD" clId="Web-{61DCECB8-FCC4-463F-180A-DE94BEA715D4}" dt="2023-10-30T19:53:22.602" v="79" actId="1076"/>
          <ac:spMkLst>
            <pc:docMk/>
            <pc:sldMk cId="595546358" sldId="590"/>
            <ac:spMk id="30" creationId="{53721EF8-C35D-834E-9339-D65FFE7AFF9A}"/>
          </ac:spMkLst>
        </pc:spChg>
        <pc:spChg chg="mod">
          <ac:chgData name="Eileen Fleming Suse" userId="S::efs3844@ads.northwestern.edu::725c94ef-d051-42d7-9d33-8572765d592b" providerId="AD" clId="Web-{61DCECB8-FCC4-463F-180A-DE94BEA715D4}" dt="2023-10-30T19:53:20.774" v="78" actId="1076"/>
          <ac:spMkLst>
            <pc:docMk/>
            <pc:sldMk cId="595546358" sldId="590"/>
            <ac:spMk id="32" creationId="{F1AED984-C21E-AA63-E34E-DA61BCE8401F}"/>
          </ac:spMkLst>
        </pc:spChg>
        <pc:spChg chg="mod">
          <ac:chgData name="Eileen Fleming Suse" userId="S::efs3844@ads.northwestern.edu::725c94ef-d051-42d7-9d33-8572765d592b" providerId="AD" clId="Web-{61DCECB8-FCC4-463F-180A-DE94BEA715D4}" dt="2023-10-30T19:48:30.908" v="45" actId="1076"/>
          <ac:spMkLst>
            <pc:docMk/>
            <pc:sldMk cId="595546358" sldId="590"/>
            <ac:spMk id="34" creationId="{6A9EBE99-61D6-2DC0-EB79-B633C9D91DD8}"/>
          </ac:spMkLst>
        </pc:spChg>
        <pc:grpChg chg="mod">
          <ac:chgData name="Eileen Fleming Suse" userId="S::efs3844@ads.northwestern.edu::725c94ef-d051-42d7-9d33-8572765d592b" providerId="AD" clId="Web-{61DCECB8-FCC4-463F-180A-DE94BEA715D4}" dt="2023-10-30T19:53:40.587" v="81" actId="1076"/>
          <ac:grpSpMkLst>
            <pc:docMk/>
            <pc:sldMk cId="595546358" sldId="590"/>
            <ac:grpSpMk id="11" creationId="{00000000-0000-0000-0000-000000000000}"/>
          </ac:grpSpMkLst>
        </pc:grpChg>
      </pc:sldChg>
      <pc:sldChg chg="modSp">
        <pc:chgData name="Eileen Fleming Suse" userId="S::efs3844@ads.northwestern.edu::725c94ef-d051-42d7-9d33-8572765d592b" providerId="AD" clId="Web-{61DCECB8-FCC4-463F-180A-DE94BEA715D4}" dt="2023-10-30T19:48:08.470" v="42" actId="1076"/>
        <pc:sldMkLst>
          <pc:docMk/>
          <pc:sldMk cId="629433230" sldId="591"/>
        </pc:sldMkLst>
        <pc:spChg chg="mod">
          <ac:chgData name="Eileen Fleming Suse" userId="S::efs3844@ads.northwestern.edu::725c94ef-d051-42d7-9d33-8572765d592b" providerId="AD" clId="Web-{61DCECB8-FCC4-463F-180A-DE94BEA715D4}" dt="2023-10-30T19:46:46.702" v="31" actId="1076"/>
          <ac:spMkLst>
            <pc:docMk/>
            <pc:sldMk cId="629433230" sldId="591"/>
            <ac:spMk id="24" creationId="{82DED22A-2957-2107-97D2-7694FF88F0A5}"/>
          </ac:spMkLst>
        </pc:spChg>
        <pc:spChg chg="mod">
          <ac:chgData name="Eileen Fleming Suse" userId="S::efs3844@ads.northwestern.edu::725c94ef-d051-42d7-9d33-8572765d592b" providerId="AD" clId="Web-{61DCECB8-FCC4-463F-180A-DE94BEA715D4}" dt="2023-10-30T19:48:08.470" v="42" actId="1076"/>
          <ac:spMkLst>
            <pc:docMk/>
            <pc:sldMk cId="629433230" sldId="591"/>
            <ac:spMk id="26" creationId="{7ADA2A22-B85F-E8A9-52B3-7FA1A111EB25}"/>
          </ac:spMkLst>
        </pc:spChg>
      </pc:sldChg>
      <pc:sldChg chg="del mod modShow">
        <pc:chgData name="Eileen Fleming Suse" userId="S::efs3844@ads.northwestern.edu::725c94ef-d051-42d7-9d33-8572765d592b" providerId="AD" clId="Web-{61DCECB8-FCC4-463F-180A-DE94BEA715D4}" dt="2023-10-30T22:38:32.619" v="291"/>
        <pc:sldMkLst>
          <pc:docMk/>
          <pc:sldMk cId="2628065282" sldId="597"/>
        </pc:sldMkLst>
      </pc:sldChg>
      <pc:sldChg chg="del mod modShow">
        <pc:chgData name="Eileen Fleming Suse" userId="S::efs3844@ads.northwestern.edu::725c94ef-d051-42d7-9d33-8572765d592b" providerId="AD" clId="Web-{61DCECB8-FCC4-463F-180A-DE94BEA715D4}" dt="2023-10-30T22:38:32.619" v="292"/>
        <pc:sldMkLst>
          <pc:docMk/>
          <pc:sldMk cId="1478149357" sldId="598"/>
        </pc:sldMkLst>
      </pc:sldChg>
      <pc:sldChg chg="modSp del">
        <pc:chgData name="Eileen Fleming Suse" userId="S::efs3844@ads.northwestern.edu::725c94ef-d051-42d7-9d33-8572765d592b" providerId="AD" clId="Web-{61DCECB8-FCC4-463F-180A-DE94BEA715D4}" dt="2023-10-30T22:38:32.603" v="287"/>
        <pc:sldMkLst>
          <pc:docMk/>
          <pc:sldMk cId="2470795492" sldId="599"/>
        </pc:sldMkLst>
        <pc:spChg chg="mod">
          <ac:chgData name="Eileen Fleming Suse" userId="S::efs3844@ads.northwestern.edu::725c94ef-d051-42d7-9d33-8572765d592b" providerId="AD" clId="Web-{61DCECB8-FCC4-463F-180A-DE94BEA715D4}" dt="2023-10-30T20:16:22.525" v="250"/>
          <ac:spMkLst>
            <pc:docMk/>
            <pc:sldMk cId="2470795492" sldId="599"/>
            <ac:spMk id="16386" creationId="{00000000-0000-0000-0000-000000000000}"/>
          </ac:spMkLst>
        </pc:spChg>
      </pc:sldChg>
      <pc:sldChg chg="modSp del">
        <pc:chgData name="Eileen Fleming Suse" userId="S::efs3844@ads.northwestern.edu::725c94ef-d051-42d7-9d33-8572765d592b" providerId="AD" clId="Web-{61DCECB8-FCC4-463F-180A-DE94BEA715D4}" dt="2023-10-30T22:38:32.603" v="288"/>
        <pc:sldMkLst>
          <pc:docMk/>
          <pc:sldMk cId="2592767400" sldId="600"/>
        </pc:sldMkLst>
        <pc:spChg chg="mod">
          <ac:chgData name="Eileen Fleming Suse" userId="S::efs3844@ads.northwestern.edu::725c94ef-d051-42d7-9d33-8572765d592b" providerId="AD" clId="Web-{61DCECB8-FCC4-463F-180A-DE94BEA715D4}" dt="2023-10-30T20:16:30.104" v="251"/>
          <ac:spMkLst>
            <pc:docMk/>
            <pc:sldMk cId="2592767400" sldId="600"/>
            <ac:spMk id="16386" creationId="{00000000-0000-0000-0000-000000000000}"/>
          </ac:spMkLst>
        </pc:spChg>
      </pc:sldChg>
      <pc:sldChg chg="del">
        <pc:chgData name="Eileen Fleming Suse" userId="S::efs3844@ads.northwestern.edu::725c94ef-d051-42d7-9d33-8572765d592b" providerId="AD" clId="Web-{61DCECB8-FCC4-463F-180A-DE94BEA715D4}" dt="2023-10-30T22:38:32.603" v="289"/>
        <pc:sldMkLst>
          <pc:docMk/>
          <pc:sldMk cId="3023536423" sldId="601"/>
        </pc:sldMkLst>
      </pc:sldChg>
      <pc:sldChg chg="modSp del">
        <pc:chgData name="Eileen Fleming Suse" userId="S::efs3844@ads.northwestern.edu::725c94ef-d051-42d7-9d33-8572765d592b" providerId="AD" clId="Web-{61DCECB8-FCC4-463F-180A-DE94BEA715D4}" dt="2023-10-30T22:38:32.603" v="290"/>
        <pc:sldMkLst>
          <pc:docMk/>
          <pc:sldMk cId="1011826885" sldId="602"/>
        </pc:sldMkLst>
        <pc:spChg chg="mod">
          <ac:chgData name="Eileen Fleming Suse" userId="S::efs3844@ads.northwestern.edu::725c94ef-d051-42d7-9d33-8572765d592b" providerId="AD" clId="Web-{61DCECB8-FCC4-463F-180A-DE94BEA715D4}" dt="2023-10-30T20:16:36.619" v="252"/>
          <ac:spMkLst>
            <pc:docMk/>
            <pc:sldMk cId="1011826885" sldId="602"/>
            <ac:spMk id="16386" creationId="{00000000-0000-0000-0000-000000000000}"/>
          </ac:spMkLst>
        </pc:spChg>
      </pc:sldChg>
      <pc:sldChg chg="del">
        <pc:chgData name="Eileen Fleming Suse" userId="S::efs3844@ads.northwestern.edu::725c94ef-d051-42d7-9d33-8572765d592b" providerId="AD" clId="Web-{61DCECB8-FCC4-463F-180A-DE94BEA715D4}" dt="2023-10-30T22:38:32.587" v="284"/>
        <pc:sldMkLst>
          <pc:docMk/>
          <pc:sldMk cId="600547746" sldId="603"/>
        </pc:sldMkLst>
      </pc:sldChg>
      <pc:sldChg chg="del">
        <pc:chgData name="Eileen Fleming Suse" userId="S::efs3844@ads.northwestern.edu::725c94ef-d051-42d7-9d33-8572765d592b" providerId="AD" clId="Web-{61DCECB8-FCC4-463F-180A-DE94BEA715D4}" dt="2023-10-30T22:38:32.587" v="285"/>
        <pc:sldMkLst>
          <pc:docMk/>
          <pc:sldMk cId="3355787309" sldId="604"/>
        </pc:sldMkLst>
      </pc:sldChg>
      <pc:sldChg chg="del">
        <pc:chgData name="Eileen Fleming Suse" userId="S::efs3844@ads.northwestern.edu::725c94ef-d051-42d7-9d33-8572765d592b" providerId="AD" clId="Web-{61DCECB8-FCC4-463F-180A-DE94BEA715D4}" dt="2023-10-30T22:38:32.587" v="286"/>
        <pc:sldMkLst>
          <pc:docMk/>
          <pc:sldMk cId="1452140663" sldId="605"/>
        </pc:sldMkLst>
      </pc:sldChg>
      <pc:sldChg chg="del">
        <pc:chgData name="Eileen Fleming Suse" userId="S::efs3844@ads.northwestern.edu::725c94ef-d051-42d7-9d33-8572765d592b" providerId="AD" clId="Web-{61DCECB8-FCC4-463F-180A-DE94BEA715D4}" dt="2023-10-30T22:38:32.572" v="280"/>
        <pc:sldMkLst>
          <pc:docMk/>
          <pc:sldMk cId="1937423064" sldId="606"/>
        </pc:sldMkLst>
      </pc:sldChg>
      <pc:sldChg chg="del">
        <pc:chgData name="Eileen Fleming Suse" userId="S::efs3844@ads.northwestern.edu::725c94ef-d051-42d7-9d33-8572765d592b" providerId="AD" clId="Web-{61DCECB8-FCC4-463F-180A-DE94BEA715D4}" dt="2023-10-30T22:38:32.572" v="281"/>
        <pc:sldMkLst>
          <pc:docMk/>
          <pc:sldMk cId="3774016129" sldId="607"/>
        </pc:sldMkLst>
      </pc:sldChg>
      <pc:sldChg chg="del">
        <pc:chgData name="Eileen Fleming Suse" userId="S::efs3844@ads.northwestern.edu::725c94ef-d051-42d7-9d33-8572765d592b" providerId="AD" clId="Web-{61DCECB8-FCC4-463F-180A-DE94BEA715D4}" dt="2023-10-30T22:38:32.572" v="282"/>
        <pc:sldMkLst>
          <pc:docMk/>
          <pc:sldMk cId="3226012611" sldId="608"/>
        </pc:sldMkLst>
      </pc:sldChg>
      <pc:sldChg chg="del">
        <pc:chgData name="Eileen Fleming Suse" userId="S::efs3844@ads.northwestern.edu::725c94ef-d051-42d7-9d33-8572765d592b" providerId="AD" clId="Web-{61DCECB8-FCC4-463F-180A-DE94BEA715D4}" dt="2023-10-30T22:38:32.587" v="283"/>
        <pc:sldMkLst>
          <pc:docMk/>
          <pc:sldMk cId="2003568291" sldId="609"/>
        </pc:sldMkLst>
      </pc:sldChg>
      <pc:sldChg chg="modSp">
        <pc:chgData name="Eileen Fleming Suse" userId="S::efs3844@ads.northwestern.edu::725c94ef-d051-42d7-9d33-8572765d592b" providerId="AD" clId="Web-{61DCECB8-FCC4-463F-180A-DE94BEA715D4}" dt="2023-10-30T19:46:03.186" v="29" actId="20577"/>
        <pc:sldMkLst>
          <pc:docMk/>
          <pc:sldMk cId="3850125703" sldId="622"/>
        </pc:sldMkLst>
        <pc:spChg chg="mod">
          <ac:chgData name="Eileen Fleming Suse" userId="S::efs3844@ads.northwestern.edu::725c94ef-d051-42d7-9d33-8572765d592b" providerId="AD" clId="Web-{61DCECB8-FCC4-463F-180A-DE94BEA715D4}" dt="2023-10-30T19:45:47.826" v="6" actId="20577"/>
          <ac:spMkLst>
            <pc:docMk/>
            <pc:sldMk cId="3850125703" sldId="622"/>
            <ac:spMk id="12" creationId="{00000000-0000-0000-0000-000000000000}"/>
          </ac:spMkLst>
        </pc:spChg>
        <pc:spChg chg="mod">
          <ac:chgData name="Eileen Fleming Suse" userId="S::efs3844@ads.northwestern.edu::725c94ef-d051-42d7-9d33-8572765d592b" providerId="AD" clId="Web-{61DCECB8-FCC4-463F-180A-DE94BEA715D4}" dt="2023-10-30T19:45:56.310" v="22" actId="20577"/>
          <ac:spMkLst>
            <pc:docMk/>
            <pc:sldMk cId="3850125703" sldId="622"/>
            <ac:spMk id="27" creationId="{00000000-0000-0000-0000-000000000000}"/>
          </ac:spMkLst>
        </pc:spChg>
        <pc:spChg chg="mod">
          <ac:chgData name="Eileen Fleming Suse" userId="S::efs3844@ads.northwestern.edu::725c94ef-d051-42d7-9d33-8572765d592b" providerId="AD" clId="Web-{61DCECB8-FCC4-463F-180A-DE94BEA715D4}" dt="2023-10-30T19:45:49.076" v="8" actId="20577"/>
          <ac:spMkLst>
            <pc:docMk/>
            <pc:sldMk cId="3850125703" sldId="622"/>
            <ac:spMk id="39" creationId="{00000000-0000-0000-0000-000000000000}"/>
          </ac:spMkLst>
        </pc:spChg>
        <pc:spChg chg="mod">
          <ac:chgData name="Eileen Fleming Suse" userId="S::efs3844@ads.northwestern.edu::725c94ef-d051-42d7-9d33-8572765d592b" providerId="AD" clId="Web-{61DCECB8-FCC4-463F-180A-DE94BEA715D4}" dt="2023-10-30T19:46:03.186" v="29" actId="20577"/>
          <ac:spMkLst>
            <pc:docMk/>
            <pc:sldMk cId="3850125703" sldId="622"/>
            <ac:spMk id="48" creationId="{00000000-0000-0000-0000-000000000000}"/>
          </ac:spMkLst>
        </pc:spChg>
      </pc:sldChg>
      <pc:sldChg chg="del">
        <pc:chgData name="Eileen Fleming Suse" userId="S::efs3844@ads.northwestern.edu::725c94ef-d051-42d7-9d33-8572765d592b" providerId="AD" clId="Web-{61DCECB8-FCC4-463F-180A-DE94BEA715D4}" dt="2023-10-30T22:38:32.572" v="278"/>
        <pc:sldMkLst>
          <pc:docMk/>
          <pc:sldMk cId="1987746666" sldId="623"/>
        </pc:sldMkLst>
      </pc:sldChg>
      <pc:sldChg chg="del">
        <pc:chgData name="Eileen Fleming Suse" userId="S::efs3844@ads.northwestern.edu::725c94ef-d051-42d7-9d33-8572765d592b" providerId="AD" clId="Web-{61DCECB8-FCC4-463F-180A-DE94BEA715D4}" dt="2023-10-30T22:38:32.572" v="279"/>
        <pc:sldMkLst>
          <pc:docMk/>
          <pc:sldMk cId="924990962" sldId="625"/>
        </pc:sldMkLst>
      </pc:sldChg>
      <pc:sldChg chg="del">
        <pc:chgData name="Eileen Fleming Suse" userId="S::efs3844@ads.northwestern.edu::725c94ef-d051-42d7-9d33-8572765d592b" providerId="AD" clId="Web-{61DCECB8-FCC4-463F-180A-DE94BEA715D4}" dt="2023-10-30T22:38:32.541" v="272"/>
        <pc:sldMkLst>
          <pc:docMk/>
          <pc:sldMk cId="3004443360" sldId="626"/>
        </pc:sldMkLst>
      </pc:sldChg>
      <pc:sldChg chg="del">
        <pc:chgData name="Eileen Fleming Suse" userId="S::efs3844@ads.northwestern.edu::725c94ef-d051-42d7-9d33-8572765d592b" providerId="AD" clId="Web-{61DCECB8-FCC4-463F-180A-DE94BEA715D4}" dt="2023-10-30T22:38:32.556" v="274"/>
        <pc:sldMkLst>
          <pc:docMk/>
          <pc:sldMk cId="53107998" sldId="627"/>
        </pc:sldMkLst>
      </pc:sldChg>
      <pc:sldChg chg="del">
        <pc:chgData name="Eileen Fleming Suse" userId="S::efs3844@ads.northwestern.edu::725c94ef-d051-42d7-9d33-8572765d592b" providerId="AD" clId="Web-{61DCECB8-FCC4-463F-180A-DE94BEA715D4}" dt="2023-10-30T22:38:32.556" v="276"/>
        <pc:sldMkLst>
          <pc:docMk/>
          <pc:sldMk cId="534784336" sldId="628"/>
        </pc:sldMkLst>
      </pc:sldChg>
      <pc:sldChg chg="del">
        <pc:chgData name="Eileen Fleming Suse" userId="S::efs3844@ads.northwestern.edu::725c94ef-d051-42d7-9d33-8572765d592b" providerId="AD" clId="Web-{61DCECB8-FCC4-463F-180A-DE94BEA715D4}" dt="2023-10-30T22:38:32.556" v="277"/>
        <pc:sldMkLst>
          <pc:docMk/>
          <pc:sldMk cId="2981412015" sldId="629"/>
        </pc:sldMkLst>
      </pc:sldChg>
      <pc:sldChg chg="del">
        <pc:chgData name="Eileen Fleming Suse" userId="S::efs3844@ads.northwestern.edu::725c94ef-d051-42d7-9d33-8572765d592b" providerId="AD" clId="Web-{61DCECB8-FCC4-463F-180A-DE94BEA715D4}" dt="2023-10-30T22:38:32.541" v="273"/>
        <pc:sldMkLst>
          <pc:docMk/>
          <pc:sldMk cId="411397640" sldId="635"/>
        </pc:sldMkLst>
      </pc:sldChg>
      <pc:sldChg chg="del">
        <pc:chgData name="Eileen Fleming Suse" userId="S::efs3844@ads.northwestern.edu::725c94ef-d051-42d7-9d33-8572765d592b" providerId="AD" clId="Web-{61DCECB8-FCC4-463F-180A-DE94BEA715D4}" dt="2023-10-30T22:38:32.556" v="275"/>
        <pc:sldMkLst>
          <pc:docMk/>
          <pc:sldMk cId="975286347" sldId="636"/>
        </pc:sldMkLst>
      </pc:sldChg>
      <pc:sldChg chg="del">
        <pc:chgData name="Eileen Fleming Suse" userId="S::efs3844@ads.northwestern.edu::725c94ef-d051-42d7-9d33-8572765d592b" providerId="AD" clId="Web-{61DCECB8-FCC4-463F-180A-DE94BEA715D4}" dt="2023-10-30T22:39:33.089" v="297"/>
        <pc:sldMkLst>
          <pc:docMk/>
          <pc:sldMk cId="3321596273" sldId="640"/>
        </pc:sldMkLst>
      </pc:sldChg>
      <pc:sldChg chg="del">
        <pc:chgData name="Eileen Fleming Suse" userId="S::efs3844@ads.northwestern.edu::725c94ef-d051-42d7-9d33-8572765d592b" providerId="AD" clId="Web-{61DCECB8-FCC4-463F-180A-DE94BEA715D4}" dt="2023-10-30T22:47:53.494" v="365"/>
        <pc:sldMkLst>
          <pc:docMk/>
          <pc:sldMk cId="2460321206" sldId="641"/>
        </pc:sldMkLst>
      </pc:sldChg>
      <pc:sldChg chg="modSp">
        <pc:chgData name="Eileen Fleming Suse" userId="S::efs3844@ads.northwestern.edu::725c94ef-d051-42d7-9d33-8572765d592b" providerId="AD" clId="Web-{61DCECB8-FCC4-463F-180A-DE94BEA715D4}" dt="2023-10-30T22:49:41.685" v="398" actId="20577"/>
        <pc:sldMkLst>
          <pc:docMk/>
          <pc:sldMk cId="113281680" sldId="642"/>
        </pc:sldMkLst>
        <pc:spChg chg="mod">
          <ac:chgData name="Eileen Fleming Suse" userId="S::efs3844@ads.northwestern.edu::725c94ef-d051-42d7-9d33-8572765d592b" providerId="AD" clId="Web-{61DCECB8-FCC4-463F-180A-DE94BEA715D4}" dt="2023-10-30T22:49:41.685" v="398" actId="20577"/>
          <ac:spMkLst>
            <pc:docMk/>
            <pc:sldMk cId="113281680" sldId="642"/>
            <ac:spMk id="2" creationId="{F4AFEDD1-1B2F-10C8-9EFB-EFBD0CAB6989}"/>
          </ac:spMkLst>
        </pc:spChg>
      </pc:sldChg>
      <pc:sldChg chg="addSp delSp modSp add replId">
        <pc:chgData name="Eileen Fleming Suse" userId="S::efs3844@ads.northwestern.edu::725c94ef-d051-42d7-9d33-8572765d592b" providerId="AD" clId="Web-{61DCECB8-FCC4-463F-180A-DE94BEA715D4}" dt="2023-10-30T22:45:26.052" v="333" actId="1076"/>
        <pc:sldMkLst>
          <pc:docMk/>
          <pc:sldMk cId="2443892533" sldId="643"/>
        </pc:sldMkLst>
        <pc:spChg chg="mod">
          <ac:chgData name="Eileen Fleming Suse" userId="S::efs3844@ads.northwestern.edu::725c94ef-d051-42d7-9d33-8572765d592b" providerId="AD" clId="Web-{61DCECB8-FCC4-463F-180A-DE94BEA715D4}" dt="2023-10-30T20:11:56.425" v="228"/>
          <ac:spMkLst>
            <pc:docMk/>
            <pc:sldMk cId="2443892533" sldId="643"/>
            <ac:spMk id="2" creationId="{85302686-DF06-3304-66CB-1E21F4D086DC}"/>
          </ac:spMkLst>
        </pc:spChg>
        <pc:spChg chg="mod">
          <ac:chgData name="Eileen Fleming Suse" userId="S::efs3844@ads.northwestern.edu::725c94ef-d051-42d7-9d33-8572765d592b" providerId="AD" clId="Web-{61DCECB8-FCC4-463F-180A-DE94BEA715D4}" dt="2023-10-30T22:44:31.473" v="326" actId="1076"/>
          <ac:spMkLst>
            <pc:docMk/>
            <pc:sldMk cId="2443892533" sldId="643"/>
            <ac:spMk id="3" creationId="{E7ECD19B-85BC-6652-2856-676802964CFA}"/>
          </ac:spMkLst>
        </pc:spChg>
        <pc:spChg chg="add mod">
          <ac:chgData name="Eileen Fleming Suse" userId="S::efs3844@ads.northwestern.edu::725c94ef-d051-42d7-9d33-8572765d592b" providerId="AD" clId="Web-{61DCECB8-FCC4-463F-180A-DE94BEA715D4}" dt="2023-10-30T22:45:26.052" v="333" actId="1076"/>
          <ac:spMkLst>
            <pc:docMk/>
            <pc:sldMk cId="2443892533" sldId="643"/>
            <ac:spMk id="10" creationId="{F7DE78CF-32A6-61A0-EEC5-F837E089D3A4}"/>
          </ac:spMkLst>
        </pc:spChg>
        <pc:picChg chg="add mod">
          <ac:chgData name="Eileen Fleming Suse" userId="S::efs3844@ads.northwestern.edu::725c94ef-d051-42d7-9d33-8572765d592b" providerId="AD" clId="Web-{61DCECB8-FCC4-463F-180A-DE94BEA715D4}" dt="2023-10-30T22:44:40.629" v="327" actId="1076"/>
          <ac:picMkLst>
            <pc:docMk/>
            <pc:sldMk cId="2443892533" sldId="643"/>
            <ac:picMk id="6" creationId="{3066B4FD-BDBD-74CF-7224-C3F9CDFF7807}"/>
          </ac:picMkLst>
        </pc:picChg>
        <pc:picChg chg="add mod">
          <ac:chgData name="Eileen Fleming Suse" userId="S::efs3844@ads.northwestern.edu::725c94ef-d051-42d7-9d33-8572765d592b" providerId="AD" clId="Web-{61DCECB8-FCC4-463F-180A-DE94BEA715D4}" dt="2023-10-30T22:44:49.645" v="328" actId="1076"/>
          <ac:picMkLst>
            <pc:docMk/>
            <pc:sldMk cId="2443892533" sldId="643"/>
            <ac:picMk id="7" creationId="{8561AC10-C045-61C5-C572-29E58C8EEF9B}"/>
          </ac:picMkLst>
        </pc:picChg>
        <pc:picChg chg="add del mod">
          <ac:chgData name="Eileen Fleming Suse" userId="S::efs3844@ads.northwestern.edu::725c94ef-d051-42d7-9d33-8572765d592b" providerId="AD" clId="Web-{61DCECB8-FCC4-463F-180A-DE94BEA715D4}" dt="2023-10-30T22:42:02.500" v="309"/>
          <ac:picMkLst>
            <pc:docMk/>
            <pc:sldMk cId="2443892533" sldId="643"/>
            <ac:picMk id="8" creationId="{56E0414E-9ADF-67F2-0036-4AC949F0B367}"/>
          </ac:picMkLst>
        </pc:picChg>
        <pc:picChg chg="add mod">
          <ac:chgData name="Eileen Fleming Suse" userId="S::efs3844@ads.northwestern.edu::725c94ef-d051-42d7-9d33-8572765d592b" providerId="AD" clId="Web-{61DCECB8-FCC4-463F-180A-DE94BEA715D4}" dt="2023-10-30T22:45:16.927" v="332" actId="14100"/>
          <ac:picMkLst>
            <pc:docMk/>
            <pc:sldMk cId="2443892533" sldId="643"/>
            <ac:picMk id="9" creationId="{EBD31F80-F4AE-0A76-9CD2-E23AD71C79DA}"/>
          </ac:picMkLst>
        </pc:picChg>
      </pc:sldChg>
    </pc:docChg>
  </pc:docChgLst>
  <pc:docChgLst>
    <pc:chgData name="Alana Rivera" userId="S::arg3669@ads.northwestern.edu::fc8b707a-b7e9-4f2a-8d71-2d76819b7881" providerId="AD" clId="Web-{64CA3CFC-DFB9-4EB2-185A-94BBCF197F69}"/>
    <pc:docChg chg="addSld modSld sldOrd">
      <pc:chgData name="Alana Rivera" userId="S::arg3669@ads.northwestern.edu::fc8b707a-b7e9-4f2a-8d71-2d76819b7881" providerId="AD" clId="Web-{64CA3CFC-DFB9-4EB2-185A-94BBCF197F69}" dt="2023-10-31T18:53:06.815" v="72"/>
      <pc:docMkLst>
        <pc:docMk/>
      </pc:docMkLst>
      <pc:sldChg chg="ord">
        <pc:chgData name="Alana Rivera" userId="S::arg3669@ads.northwestern.edu::fc8b707a-b7e9-4f2a-8d71-2d76819b7881" providerId="AD" clId="Web-{64CA3CFC-DFB9-4EB2-185A-94BBCF197F69}" dt="2023-10-31T18:53:06.815" v="72"/>
        <pc:sldMkLst>
          <pc:docMk/>
          <pc:sldMk cId="3127921386" sldId="280"/>
        </pc:sldMkLst>
      </pc:sldChg>
      <pc:sldChg chg="modNotes">
        <pc:chgData name="Alana Rivera" userId="S::arg3669@ads.northwestern.edu::fc8b707a-b7e9-4f2a-8d71-2d76819b7881" providerId="AD" clId="Web-{64CA3CFC-DFB9-4EB2-185A-94BBCF197F69}" dt="2023-10-31T18:45:22.517" v="8"/>
        <pc:sldMkLst>
          <pc:docMk/>
          <pc:sldMk cId="3067427377" sldId="560"/>
        </pc:sldMkLst>
      </pc:sldChg>
      <pc:sldChg chg="modSp">
        <pc:chgData name="Alana Rivera" userId="S::arg3669@ads.northwestern.edu::fc8b707a-b7e9-4f2a-8d71-2d76819b7881" providerId="AD" clId="Web-{64CA3CFC-DFB9-4EB2-185A-94BBCF197F69}" dt="2023-10-31T18:43:53.855" v="2"/>
        <pc:sldMkLst>
          <pc:docMk/>
          <pc:sldMk cId="3030449316" sldId="579"/>
        </pc:sldMkLst>
        <pc:spChg chg="mod">
          <ac:chgData name="Alana Rivera" userId="S::arg3669@ads.northwestern.edu::fc8b707a-b7e9-4f2a-8d71-2d76819b7881" providerId="AD" clId="Web-{64CA3CFC-DFB9-4EB2-185A-94BBCF197F69}" dt="2023-10-31T18:43:53.855" v="2"/>
          <ac:spMkLst>
            <pc:docMk/>
            <pc:sldMk cId="3030449316" sldId="579"/>
            <ac:spMk id="44" creationId="{00000000-0000-0000-0000-000000000000}"/>
          </ac:spMkLst>
        </pc:spChg>
        <pc:spChg chg="mod">
          <ac:chgData name="Alana Rivera" userId="S::arg3669@ads.northwestern.edu::fc8b707a-b7e9-4f2a-8d71-2d76819b7881" providerId="AD" clId="Web-{64CA3CFC-DFB9-4EB2-185A-94BBCF197F69}" dt="2023-10-31T18:43:35.901" v="1" actId="1076"/>
          <ac:spMkLst>
            <pc:docMk/>
            <pc:sldMk cId="3030449316" sldId="579"/>
            <ac:spMk id="46" creationId="{00000000-0000-0000-0000-000000000000}"/>
          </ac:spMkLst>
        </pc:spChg>
      </pc:sldChg>
      <pc:sldChg chg="modSp modNotes">
        <pc:chgData name="Alana Rivera" userId="S::arg3669@ads.northwestern.edu::fc8b707a-b7e9-4f2a-8d71-2d76819b7881" providerId="AD" clId="Web-{64CA3CFC-DFB9-4EB2-185A-94BBCF197F69}" dt="2023-10-31T18:44:53.640" v="7"/>
        <pc:sldMkLst>
          <pc:docMk/>
          <pc:sldMk cId="3809547791" sldId="586"/>
        </pc:sldMkLst>
        <pc:spChg chg="mod">
          <ac:chgData name="Alana Rivera" userId="S::arg3669@ads.northwestern.edu::fc8b707a-b7e9-4f2a-8d71-2d76819b7881" providerId="AD" clId="Web-{64CA3CFC-DFB9-4EB2-185A-94BBCF197F69}" dt="2023-10-31T18:44:42.343" v="6" actId="1076"/>
          <ac:spMkLst>
            <pc:docMk/>
            <pc:sldMk cId="3809547791" sldId="586"/>
            <ac:spMk id="39" creationId="{00000000-0000-0000-0000-000000000000}"/>
          </ac:spMkLst>
        </pc:spChg>
        <pc:grpChg chg="mod">
          <ac:chgData name="Alana Rivera" userId="S::arg3669@ads.northwestern.edu::fc8b707a-b7e9-4f2a-8d71-2d76819b7881" providerId="AD" clId="Web-{64CA3CFC-DFB9-4EB2-185A-94BBCF197F69}" dt="2023-10-31T18:44:27.482" v="5" actId="14100"/>
          <ac:grpSpMkLst>
            <pc:docMk/>
            <pc:sldMk cId="3809547791" sldId="586"/>
            <ac:grpSpMk id="20" creationId="{00000000-0000-0000-0000-000000000000}"/>
          </ac:grpSpMkLst>
        </pc:grpChg>
      </pc:sldChg>
      <pc:sldChg chg="modNotes">
        <pc:chgData name="Alana Rivera" userId="S::arg3669@ads.northwestern.edu::fc8b707a-b7e9-4f2a-8d71-2d76819b7881" providerId="AD" clId="Web-{64CA3CFC-DFB9-4EB2-185A-94BBCF197F69}" dt="2023-10-31T18:41:46.987" v="0"/>
        <pc:sldMkLst>
          <pc:docMk/>
          <pc:sldMk cId="629433230" sldId="591"/>
        </pc:sldMkLst>
      </pc:sldChg>
      <pc:sldChg chg="modNotes">
        <pc:chgData name="Alana Rivera" userId="S::arg3669@ads.northwestern.edu::fc8b707a-b7e9-4f2a-8d71-2d76819b7881" providerId="AD" clId="Web-{64CA3CFC-DFB9-4EB2-185A-94BBCF197F69}" dt="2023-10-31T18:46:56.883" v="66"/>
        <pc:sldMkLst>
          <pc:docMk/>
          <pc:sldMk cId="2443892533" sldId="643"/>
        </pc:sldMkLst>
      </pc:sldChg>
      <pc:sldChg chg="ord">
        <pc:chgData name="Alana Rivera" userId="S::arg3669@ads.northwestern.edu::fc8b707a-b7e9-4f2a-8d71-2d76819b7881" providerId="AD" clId="Web-{64CA3CFC-DFB9-4EB2-185A-94BBCF197F69}" dt="2023-10-31T18:52:01.904" v="70"/>
        <pc:sldMkLst>
          <pc:docMk/>
          <pc:sldMk cId="641611787" sldId="648"/>
        </pc:sldMkLst>
      </pc:sldChg>
      <pc:sldChg chg="new ord">
        <pc:chgData name="Alana Rivera" userId="S::arg3669@ads.northwestern.edu::fc8b707a-b7e9-4f2a-8d71-2d76819b7881" providerId="AD" clId="Web-{64CA3CFC-DFB9-4EB2-185A-94BBCF197F69}" dt="2023-10-31T18:49:12.533" v="68"/>
        <pc:sldMkLst>
          <pc:docMk/>
          <pc:sldMk cId="1112761221" sldId="649"/>
        </pc:sldMkLst>
      </pc:sldChg>
    </pc:docChg>
  </pc:docChgLst>
  <pc:docChgLst>
    <pc:chgData name="Eileen Fleming Suse" userId="S::efs3844@ads.northwestern.edu::725c94ef-d051-42d7-9d33-8572765d592b" providerId="AD" clId="Web-{C766F19B-0830-AB8B-3618-23EF0AC64A24}"/>
    <pc:docChg chg="modSld">
      <pc:chgData name="Eileen Fleming Suse" userId="S::efs3844@ads.northwestern.edu::725c94ef-d051-42d7-9d33-8572765d592b" providerId="AD" clId="Web-{C766F19B-0830-AB8B-3618-23EF0AC64A24}" dt="2023-10-30T15:49:33.394" v="37"/>
      <pc:docMkLst>
        <pc:docMk/>
      </pc:docMkLst>
      <pc:sldChg chg="addSp delSp modSp">
        <pc:chgData name="Eileen Fleming Suse" userId="S::efs3844@ads.northwestern.edu::725c94ef-d051-42d7-9d33-8572765d592b" providerId="AD" clId="Web-{C766F19B-0830-AB8B-3618-23EF0AC64A24}" dt="2023-10-30T15:49:33.394" v="37"/>
        <pc:sldMkLst>
          <pc:docMk/>
          <pc:sldMk cId="3472964082" sldId="550"/>
        </pc:sldMkLst>
        <pc:spChg chg="mod">
          <ac:chgData name="Eileen Fleming Suse" userId="S::efs3844@ads.northwestern.edu::725c94ef-d051-42d7-9d33-8572765d592b" providerId="AD" clId="Web-{C766F19B-0830-AB8B-3618-23EF0AC64A24}" dt="2023-10-30T15:48:12.563" v="25" actId="20577"/>
          <ac:spMkLst>
            <pc:docMk/>
            <pc:sldMk cId="3472964082" sldId="550"/>
            <ac:spMk id="20" creationId="{00000000-0000-0000-0000-000000000000}"/>
          </ac:spMkLst>
        </pc:spChg>
        <pc:spChg chg="del">
          <ac:chgData name="Eileen Fleming Suse" userId="S::efs3844@ads.northwestern.edu::725c94ef-d051-42d7-9d33-8572765d592b" providerId="AD" clId="Web-{C766F19B-0830-AB8B-3618-23EF0AC64A24}" dt="2023-10-30T15:48:44.971" v="28"/>
          <ac:spMkLst>
            <pc:docMk/>
            <pc:sldMk cId="3472964082" sldId="550"/>
            <ac:spMk id="21" creationId="{00000000-0000-0000-0000-000000000000}"/>
          </ac:spMkLst>
        </pc:spChg>
        <pc:spChg chg="mod">
          <ac:chgData name="Eileen Fleming Suse" userId="S::efs3844@ads.northwestern.edu::725c94ef-d051-42d7-9d33-8572765d592b" providerId="AD" clId="Web-{C766F19B-0830-AB8B-3618-23EF0AC64A24}" dt="2023-10-30T15:48:45.111" v="30" actId="20577"/>
          <ac:spMkLst>
            <pc:docMk/>
            <pc:sldMk cId="3472964082" sldId="550"/>
            <ac:spMk id="23" creationId="{00000000-0000-0000-0000-000000000000}"/>
          </ac:spMkLst>
        </pc:spChg>
        <pc:spChg chg="del">
          <ac:chgData name="Eileen Fleming Suse" userId="S::efs3844@ads.northwestern.edu::725c94ef-d051-42d7-9d33-8572765d592b" providerId="AD" clId="Web-{C766F19B-0830-AB8B-3618-23EF0AC64A24}" dt="2023-10-30T15:48:45.330" v="31"/>
          <ac:spMkLst>
            <pc:docMk/>
            <pc:sldMk cId="3472964082" sldId="550"/>
            <ac:spMk id="24" creationId="{00000000-0000-0000-0000-000000000000}"/>
          </ac:spMkLst>
        </pc:spChg>
        <pc:spChg chg="add del">
          <ac:chgData name="Eileen Fleming Suse" userId="S::efs3844@ads.northwestern.edu::725c94ef-d051-42d7-9d33-8572765d592b" providerId="AD" clId="Web-{C766F19B-0830-AB8B-3618-23EF0AC64A24}" dt="2023-10-30T15:49:33.394" v="37"/>
          <ac:spMkLst>
            <pc:docMk/>
            <pc:sldMk cId="3472964082" sldId="550"/>
            <ac:spMk id="31" creationId="{00000000-0000-0000-0000-000000000000}"/>
          </ac:spMkLst>
        </pc:spChg>
        <pc:spChg chg="mod">
          <ac:chgData name="Eileen Fleming Suse" userId="S::efs3844@ads.northwestern.edu::725c94ef-d051-42d7-9d33-8572765d592b" providerId="AD" clId="Web-{C766F19B-0830-AB8B-3618-23EF0AC64A24}" dt="2023-10-30T15:48:22.704" v="26" actId="20577"/>
          <ac:spMkLst>
            <pc:docMk/>
            <pc:sldMk cId="3472964082" sldId="550"/>
            <ac:spMk id="51" creationId="{00000000-0000-0000-0000-000000000000}"/>
          </ac:spMkLst>
        </pc:spChg>
        <pc:spChg chg="del">
          <ac:chgData name="Eileen Fleming Suse" userId="S::efs3844@ads.northwestern.edu::725c94ef-d051-42d7-9d33-8572765d592b" providerId="AD" clId="Web-{C766F19B-0830-AB8B-3618-23EF0AC64A24}" dt="2023-10-30T15:48:34.767" v="27"/>
          <ac:spMkLst>
            <pc:docMk/>
            <pc:sldMk cId="3472964082" sldId="550"/>
            <ac:spMk id="52" creationId="{00000000-0000-0000-0000-000000000000}"/>
          </ac:spMkLst>
        </pc:spChg>
        <pc:spChg chg="mod">
          <ac:chgData name="Eileen Fleming Suse" userId="S::efs3844@ads.northwestern.edu::725c94ef-d051-42d7-9d33-8572765d592b" providerId="AD" clId="Web-{C766F19B-0830-AB8B-3618-23EF0AC64A24}" dt="2023-10-30T15:49:04.456" v="33" actId="20577"/>
          <ac:spMkLst>
            <pc:docMk/>
            <pc:sldMk cId="3472964082" sldId="550"/>
            <ac:spMk id="53" creationId="{00000000-0000-0000-0000-000000000000}"/>
          </ac:spMkLst>
        </pc:spChg>
        <pc:spChg chg="del mod">
          <ac:chgData name="Eileen Fleming Suse" userId="S::efs3844@ads.northwestern.edu::725c94ef-d051-42d7-9d33-8572765d592b" providerId="AD" clId="Web-{C766F19B-0830-AB8B-3618-23EF0AC64A24}" dt="2023-10-30T15:49:33.300" v="35"/>
          <ac:spMkLst>
            <pc:docMk/>
            <pc:sldMk cId="3472964082" sldId="550"/>
            <ac:spMk id="54" creationId="{00000000-0000-0000-0000-000000000000}"/>
          </ac:spMkLst>
        </pc:spChg>
      </pc:sldChg>
      <pc:sldChg chg="addSp delSp modSp">
        <pc:chgData name="Eileen Fleming Suse" userId="S::efs3844@ads.northwestern.edu::725c94ef-d051-42d7-9d33-8572765d592b" providerId="AD" clId="Web-{C766F19B-0830-AB8B-3618-23EF0AC64A24}" dt="2023-10-30T15:48:02.782" v="23"/>
        <pc:sldMkLst>
          <pc:docMk/>
          <pc:sldMk cId="2562283095" sldId="551"/>
        </pc:sldMkLst>
        <pc:spChg chg="mod">
          <ac:chgData name="Eileen Fleming Suse" userId="S::efs3844@ads.northwestern.edu::725c94ef-d051-42d7-9d33-8572765d592b" providerId="AD" clId="Web-{C766F19B-0830-AB8B-3618-23EF0AC64A24}" dt="2023-10-30T15:46:33.904" v="3" actId="20577"/>
          <ac:spMkLst>
            <pc:docMk/>
            <pc:sldMk cId="2562283095" sldId="551"/>
            <ac:spMk id="20" creationId="{00000000-0000-0000-0000-000000000000}"/>
          </ac:spMkLst>
        </pc:spChg>
        <pc:spChg chg="del">
          <ac:chgData name="Eileen Fleming Suse" userId="S::efs3844@ads.northwestern.edu::725c94ef-d051-42d7-9d33-8572765d592b" providerId="AD" clId="Web-{C766F19B-0830-AB8B-3618-23EF0AC64A24}" dt="2023-10-30T15:46:34.139" v="4"/>
          <ac:spMkLst>
            <pc:docMk/>
            <pc:sldMk cId="2562283095" sldId="551"/>
            <ac:spMk id="21" creationId="{00000000-0000-0000-0000-000000000000}"/>
          </ac:spMkLst>
        </pc:spChg>
        <pc:spChg chg="mod">
          <ac:chgData name="Eileen Fleming Suse" userId="S::efs3844@ads.northwestern.edu::725c94ef-d051-42d7-9d33-8572765d592b" providerId="AD" clId="Web-{C766F19B-0830-AB8B-3618-23EF0AC64A24}" dt="2023-10-30T15:46:45.264" v="13" actId="20577"/>
          <ac:spMkLst>
            <pc:docMk/>
            <pc:sldMk cId="2562283095" sldId="551"/>
            <ac:spMk id="23" creationId="{00000000-0000-0000-0000-000000000000}"/>
          </ac:spMkLst>
        </pc:spChg>
        <pc:spChg chg="add del mod">
          <ac:chgData name="Eileen Fleming Suse" userId="S::efs3844@ads.northwestern.edu::725c94ef-d051-42d7-9d33-8572765d592b" providerId="AD" clId="Web-{C766F19B-0830-AB8B-3618-23EF0AC64A24}" dt="2023-10-30T15:47:13.812" v="15"/>
          <ac:spMkLst>
            <pc:docMk/>
            <pc:sldMk cId="2562283095" sldId="551"/>
            <ac:spMk id="24" creationId="{00000000-0000-0000-0000-000000000000}"/>
          </ac:spMkLst>
        </pc:spChg>
        <pc:spChg chg="mod">
          <ac:chgData name="Eileen Fleming Suse" userId="S::efs3844@ads.northwestern.edu::725c94ef-d051-42d7-9d33-8572765d592b" providerId="AD" clId="Web-{C766F19B-0830-AB8B-3618-23EF0AC64A24}" dt="2023-10-30T15:47:42.781" v="22" actId="20577"/>
          <ac:spMkLst>
            <pc:docMk/>
            <pc:sldMk cId="2562283095" sldId="551"/>
            <ac:spMk id="31" creationId="{00000000-0000-0000-0000-000000000000}"/>
          </ac:spMkLst>
        </pc:spChg>
        <pc:spChg chg="del">
          <ac:chgData name="Eileen Fleming Suse" userId="S::efs3844@ads.northwestern.edu::725c94ef-d051-42d7-9d33-8572765d592b" providerId="AD" clId="Web-{C766F19B-0830-AB8B-3618-23EF0AC64A24}" dt="2023-10-30T15:48:02.782" v="23"/>
          <ac:spMkLst>
            <pc:docMk/>
            <pc:sldMk cId="2562283095" sldId="551"/>
            <ac:spMk id="32" creationId="{00000000-0000-0000-0000-000000000000}"/>
          </ac:spMkLst>
        </pc:spChg>
        <pc:spChg chg="mod">
          <ac:chgData name="Eileen Fleming Suse" userId="S::efs3844@ads.northwestern.edu::725c94ef-d051-42d7-9d33-8572765d592b" providerId="AD" clId="Web-{C766F19B-0830-AB8B-3618-23EF0AC64A24}" dt="2023-10-30T15:46:34.373" v="6" actId="20577"/>
          <ac:spMkLst>
            <pc:docMk/>
            <pc:sldMk cId="2562283095" sldId="551"/>
            <ac:spMk id="51" creationId="{00000000-0000-0000-0000-000000000000}"/>
          </ac:spMkLst>
        </pc:spChg>
        <pc:spChg chg="del">
          <ac:chgData name="Eileen Fleming Suse" userId="S::efs3844@ads.northwestern.edu::725c94ef-d051-42d7-9d33-8572765d592b" providerId="AD" clId="Web-{C766F19B-0830-AB8B-3618-23EF0AC64A24}" dt="2023-10-30T15:46:34.482" v="7"/>
          <ac:spMkLst>
            <pc:docMk/>
            <pc:sldMk cId="2562283095" sldId="551"/>
            <ac:spMk id="52" creationId="{00000000-0000-0000-0000-000000000000}"/>
          </ac:spMkLst>
        </pc:spChg>
        <pc:spChg chg="mod">
          <ac:chgData name="Eileen Fleming Suse" userId="S::efs3844@ads.northwestern.edu::725c94ef-d051-42d7-9d33-8572765d592b" providerId="AD" clId="Web-{C766F19B-0830-AB8B-3618-23EF0AC64A24}" dt="2023-10-30T15:47:14.015" v="18" actId="20577"/>
          <ac:spMkLst>
            <pc:docMk/>
            <pc:sldMk cId="2562283095" sldId="551"/>
            <ac:spMk id="53" creationId="{00000000-0000-0000-0000-000000000000}"/>
          </ac:spMkLst>
        </pc:spChg>
        <pc:spChg chg="del">
          <ac:chgData name="Eileen Fleming Suse" userId="S::efs3844@ads.northwestern.edu::725c94ef-d051-42d7-9d33-8572765d592b" providerId="AD" clId="Web-{C766F19B-0830-AB8B-3618-23EF0AC64A24}" dt="2023-10-30T15:47:33.031" v="19"/>
          <ac:spMkLst>
            <pc:docMk/>
            <pc:sldMk cId="2562283095" sldId="551"/>
            <ac:spMk id="54" creationId="{00000000-0000-0000-0000-000000000000}"/>
          </ac:spMkLst>
        </pc:spChg>
      </pc:sldChg>
    </pc:docChg>
  </pc:docChgLst>
  <pc:docChgLst>
    <pc:chgData name="Caldarelli, Leslie" userId="S::lcaldarelli_luriechildrens.org#ext#@nuwildcat.onmicrosoft.com::cd79b54d-c14e-4199-a04a-39c6f592e710" providerId="AD" clId="Web-{3A3E4FEE-6F9B-7EC3-B167-3C31BBE96824}"/>
    <pc:docChg chg="modSld">
      <pc:chgData name="Caldarelli, Leslie" userId="S::lcaldarelli_luriechildrens.org#ext#@nuwildcat.onmicrosoft.com::cd79b54d-c14e-4199-a04a-39c6f592e710" providerId="AD" clId="Web-{3A3E4FEE-6F9B-7EC3-B167-3C31BBE96824}" dt="2023-10-31T16:46:24.002" v="562"/>
      <pc:docMkLst>
        <pc:docMk/>
      </pc:docMkLst>
      <pc:sldChg chg="modSp">
        <pc:chgData name="Caldarelli, Leslie" userId="S::lcaldarelli_luriechildrens.org#ext#@nuwildcat.onmicrosoft.com::cd79b54d-c14e-4199-a04a-39c6f592e710" providerId="AD" clId="Web-{3A3E4FEE-6F9B-7EC3-B167-3C31BBE96824}" dt="2023-10-31T15:32:47.201" v="7" actId="20577"/>
        <pc:sldMkLst>
          <pc:docMk/>
          <pc:sldMk cId="3127921386" sldId="280"/>
        </pc:sldMkLst>
        <pc:spChg chg="mod">
          <ac:chgData name="Caldarelli, Leslie" userId="S::lcaldarelli_luriechildrens.org#ext#@nuwildcat.onmicrosoft.com::cd79b54d-c14e-4199-a04a-39c6f592e710" providerId="AD" clId="Web-{3A3E4FEE-6F9B-7EC3-B167-3C31BBE96824}" dt="2023-10-31T15:32:47.201" v="7" actId="20577"/>
          <ac:spMkLst>
            <pc:docMk/>
            <pc:sldMk cId="3127921386" sldId="280"/>
            <ac:spMk id="9" creationId="{7F20A429-9947-F447-2DF2-A5C17B5C6EC1}"/>
          </ac:spMkLst>
        </pc:spChg>
      </pc:sldChg>
      <pc:sldChg chg="modSp">
        <pc:chgData name="Caldarelli, Leslie" userId="S::lcaldarelli_luriechildrens.org#ext#@nuwildcat.onmicrosoft.com::cd79b54d-c14e-4199-a04a-39c6f592e710" providerId="AD" clId="Web-{3A3E4FEE-6F9B-7EC3-B167-3C31BBE96824}" dt="2023-10-31T15:41:06.250" v="123" actId="1076"/>
        <pc:sldMkLst>
          <pc:docMk/>
          <pc:sldMk cId="3635595752" sldId="545"/>
        </pc:sldMkLst>
        <pc:spChg chg="mod">
          <ac:chgData name="Caldarelli, Leslie" userId="S::lcaldarelli_luriechildrens.org#ext#@nuwildcat.onmicrosoft.com::cd79b54d-c14e-4199-a04a-39c6f592e710" providerId="AD" clId="Web-{3A3E4FEE-6F9B-7EC3-B167-3C31BBE96824}" dt="2023-10-31T15:41:06.250" v="123" actId="1076"/>
          <ac:spMkLst>
            <pc:docMk/>
            <pc:sldMk cId="3635595752" sldId="545"/>
            <ac:spMk id="2" creationId="{39AAB3FF-760A-B654-5F1B-78AD5BEB6B57}"/>
          </ac:spMkLst>
        </pc:spChg>
      </pc:sldChg>
      <pc:sldChg chg="modNotes">
        <pc:chgData name="Caldarelli, Leslie" userId="S::lcaldarelli_luriechildrens.org#ext#@nuwildcat.onmicrosoft.com::cd79b54d-c14e-4199-a04a-39c6f592e710" providerId="AD" clId="Web-{3A3E4FEE-6F9B-7EC3-B167-3C31BBE96824}" dt="2023-10-31T16:30:46.170" v="461"/>
        <pc:sldMkLst>
          <pc:docMk/>
          <pc:sldMk cId="3745706804" sldId="548"/>
        </pc:sldMkLst>
      </pc:sldChg>
      <pc:sldChg chg="addSp delSp modSp mod setBg addAnim delAnim setClrOvrMap">
        <pc:chgData name="Caldarelli, Leslie" userId="S::lcaldarelli_luriechildrens.org#ext#@nuwildcat.onmicrosoft.com::cd79b54d-c14e-4199-a04a-39c6f592e710" providerId="AD" clId="Web-{3A3E4FEE-6F9B-7EC3-B167-3C31BBE96824}" dt="2023-10-31T16:35:55.119" v="485" actId="20577"/>
        <pc:sldMkLst>
          <pc:docMk/>
          <pc:sldMk cId="3962270618" sldId="549"/>
        </pc:sldMkLst>
        <pc:spChg chg="mod">
          <ac:chgData name="Caldarelli, Leslie" userId="S::lcaldarelli_luriechildrens.org#ext#@nuwildcat.onmicrosoft.com::cd79b54d-c14e-4199-a04a-39c6f592e710" providerId="AD" clId="Web-{3A3E4FEE-6F9B-7EC3-B167-3C31BBE96824}" dt="2023-10-31T16:35:55.119" v="485" actId="20577"/>
          <ac:spMkLst>
            <pc:docMk/>
            <pc:sldMk cId="3962270618" sldId="549"/>
            <ac:spMk id="2" creationId="{D2A51686-B2DC-CDBE-63AE-C97B6B0DBD66}"/>
          </ac:spMkLst>
        </pc:spChg>
        <pc:spChg chg="mod">
          <ac:chgData name="Caldarelli, Leslie" userId="S::lcaldarelli_luriechildrens.org#ext#@nuwildcat.onmicrosoft.com::cd79b54d-c14e-4199-a04a-39c6f592e710" providerId="AD" clId="Web-{3A3E4FEE-6F9B-7EC3-B167-3C31BBE96824}" dt="2023-10-31T16:35:19.696" v="483"/>
          <ac:spMkLst>
            <pc:docMk/>
            <pc:sldMk cId="3962270618" sldId="549"/>
            <ac:spMk id="3" creationId="{CBB95935-58B8-573E-DAFB-D9AE51F0FF09}"/>
          </ac:spMkLst>
        </pc:spChg>
        <pc:spChg chg="add del">
          <ac:chgData name="Caldarelli, Leslie" userId="S::lcaldarelli_luriechildrens.org#ext#@nuwildcat.onmicrosoft.com::cd79b54d-c14e-4199-a04a-39c6f592e710" providerId="AD" clId="Web-{3A3E4FEE-6F9B-7EC3-B167-3C31BBE96824}" dt="2023-10-31T16:34:44.820" v="470"/>
          <ac:spMkLst>
            <pc:docMk/>
            <pc:sldMk cId="3962270618" sldId="549"/>
            <ac:spMk id="9" creationId="{C1DD1A8A-57D5-4A81-AD04-532B043C5611}"/>
          </ac:spMkLst>
        </pc:spChg>
        <pc:spChg chg="add del">
          <ac:chgData name="Caldarelli, Leslie" userId="S::lcaldarelli_luriechildrens.org#ext#@nuwildcat.onmicrosoft.com::cd79b54d-c14e-4199-a04a-39c6f592e710" providerId="AD" clId="Web-{3A3E4FEE-6F9B-7EC3-B167-3C31BBE96824}" dt="2023-10-31T16:34:44.820" v="470"/>
          <ac:spMkLst>
            <pc:docMk/>
            <pc:sldMk cId="3962270618" sldId="549"/>
            <ac:spMk id="11" creationId="{007891EC-4501-44ED-A8C8-B11B6DB767AB}"/>
          </ac:spMkLst>
        </pc:spChg>
        <pc:spChg chg="add del">
          <ac:chgData name="Caldarelli, Leslie" userId="S::lcaldarelli_luriechildrens.org#ext#@nuwildcat.onmicrosoft.com::cd79b54d-c14e-4199-a04a-39c6f592e710" providerId="AD" clId="Web-{3A3E4FEE-6F9B-7EC3-B167-3C31BBE96824}" dt="2023-10-31T16:34:55.773" v="474"/>
          <ac:spMkLst>
            <pc:docMk/>
            <pc:sldMk cId="3962270618" sldId="549"/>
            <ac:spMk id="13" creationId="{71B2258F-86CA-4D4D-8270-BC05FCDEBFB3}"/>
          </ac:spMkLst>
        </pc:spChg>
        <pc:spChg chg="add del">
          <ac:chgData name="Caldarelli, Leslie" userId="S::lcaldarelli_luriechildrens.org#ext#@nuwildcat.onmicrosoft.com::cd79b54d-c14e-4199-a04a-39c6f592e710" providerId="AD" clId="Web-{3A3E4FEE-6F9B-7EC3-B167-3C31BBE96824}" dt="2023-10-31T16:35:07.935" v="478"/>
          <ac:spMkLst>
            <pc:docMk/>
            <pc:sldMk cId="3962270618" sldId="549"/>
            <ac:spMk id="16" creationId="{C1DD1A8A-57D5-4A81-AD04-532B043C5611}"/>
          </ac:spMkLst>
        </pc:spChg>
        <pc:spChg chg="add del">
          <ac:chgData name="Caldarelli, Leslie" userId="S::lcaldarelli_luriechildrens.org#ext#@nuwildcat.onmicrosoft.com::cd79b54d-c14e-4199-a04a-39c6f592e710" providerId="AD" clId="Web-{3A3E4FEE-6F9B-7EC3-B167-3C31BBE96824}" dt="2023-10-31T16:35:07.935" v="478"/>
          <ac:spMkLst>
            <pc:docMk/>
            <pc:sldMk cId="3962270618" sldId="549"/>
            <ac:spMk id="18" creationId="{007891EC-4501-44ED-A8C8-B11B6DB767AB}"/>
          </ac:spMkLst>
        </pc:spChg>
        <pc:spChg chg="add del">
          <ac:chgData name="Caldarelli, Leslie" userId="S::lcaldarelli_luriechildrens.org#ext#@nuwildcat.onmicrosoft.com::cd79b54d-c14e-4199-a04a-39c6f592e710" providerId="AD" clId="Web-{3A3E4FEE-6F9B-7EC3-B167-3C31BBE96824}" dt="2023-10-31T16:35:19.633" v="482"/>
          <ac:spMkLst>
            <pc:docMk/>
            <pc:sldMk cId="3962270618" sldId="549"/>
            <ac:spMk id="20" creationId="{71B2258F-86CA-4D4D-8270-BC05FCDEBFB3}"/>
          </ac:spMkLst>
        </pc:spChg>
        <pc:spChg chg="add">
          <ac:chgData name="Caldarelli, Leslie" userId="S::lcaldarelli_luriechildrens.org#ext#@nuwildcat.onmicrosoft.com::cd79b54d-c14e-4199-a04a-39c6f592e710" providerId="AD" clId="Web-{3A3E4FEE-6F9B-7EC3-B167-3C31BBE96824}" dt="2023-10-31T16:35:19.696" v="483"/>
          <ac:spMkLst>
            <pc:docMk/>
            <pc:sldMk cId="3962270618" sldId="549"/>
            <ac:spMk id="23" creationId="{C1DD1A8A-57D5-4A81-AD04-532B043C5611}"/>
          </ac:spMkLst>
        </pc:spChg>
        <pc:spChg chg="add">
          <ac:chgData name="Caldarelli, Leslie" userId="S::lcaldarelli_luriechildrens.org#ext#@nuwildcat.onmicrosoft.com::cd79b54d-c14e-4199-a04a-39c6f592e710" providerId="AD" clId="Web-{3A3E4FEE-6F9B-7EC3-B167-3C31BBE96824}" dt="2023-10-31T16:35:19.696" v="483"/>
          <ac:spMkLst>
            <pc:docMk/>
            <pc:sldMk cId="3962270618" sldId="549"/>
            <ac:spMk id="25" creationId="{007891EC-4501-44ED-A8C8-B11B6DB767AB}"/>
          </ac:spMkLst>
        </pc:spChg>
        <pc:picChg chg="add del">
          <ac:chgData name="Caldarelli, Leslie" userId="S::lcaldarelli_luriechildrens.org#ext#@nuwildcat.onmicrosoft.com::cd79b54d-c14e-4199-a04a-39c6f592e710" providerId="AD" clId="Web-{3A3E4FEE-6F9B-7EC3-B167-3C31BBE96824}" dt="2023-10-31T16:34:44.820" v="470"/>
          <ac:picMkLst>
            <pc:docMk/>
            <pc:sldMk cId="3962270618" sldId="549"/>
            <ac:picMk id="5" creationId="{9234C1D4-BF95-D24C-8A69-890193E28AB4}"/>
          </ac:picMkLst>
        </pc:picChg>
        <pc:picChg chg="add del">
          <ac:chgData name="Caldarelli, Leslie" userId="S::lcaldarelli_luriechildrens.org#ext#@nuwildcat.onmicrosoft.com::cd79b54d-c14e-4199-a04a-39c6f592e710" providerId="AD" clId="Web-{3A3E4FEE-6F9B-7EC3-B167-3C31BBE96824}" dt="2023-10-31T16:34:55.773" v="474"/>
          <ac:picMkLst>
            <pc:docMk/>
            <pc:sldMk cId="3962270618" sldId="549"/>
            <ac:picMk id="14" creationId="{D567A817-6C54-F3A2-6BCD-40C724D6CB5B}"/>
          </ac:picMkLst>
        </pc:picChg>
        <pc:picChg chg="add del">
          <ac:chgData name="Caldarelli, Leslie" userId="S::lcaldarelli_luriechildrens.org#ext#@nuwildcat.onmicrosoft.com::cd79b54d-c14e-4199-a04a-39c6f592e710" providerId="AD" clId="Web-{3A3E4FEE-6F9B-7EC3-B167-3C31BBE96824}" dt="2023-10-31T16:35:07.935" v="478"/>
          <ac:picMkLst>
            <pc:docMk/>
            <pc:sldMk cId="3962270618" sldId="549"/>
            <ac:picMk id="17" creationId="{4F03DE1D-DDB8-CDA0-8B03-FFAB4111BF40}"/>
          </ac:picMkLst>
        </pc:picChg>
        <pc:picChg chg="add del">
          <ac:chgData name="Caldarelli, Leslie" userId="S::lcaldarelli_luriechildrens.org#ext#@nuwildcat.onmicrosoft.com::cd79b54d-c14e-4199-a04a-39c6f592e710" providerId="AD" clId="Web-{3A3E4FEE-6F9B-7EC3-B167-3C31BBE96824}" dt="2023-10-31T16:35:19.633" v="482"/>
          <ac:picMkLst>
            <pc:docMk/>
            <pc:sldMk cId="3962270618" sldId="549"/>
            <ac:picMk id="21" creationId="{D567A817-6C54-F3A2-6BCD-40C724D6CB5B}"/>
          </ac:picMkLst>
        </pc:picChg>
        <pc:picChg chg="add">
          <ac:chgData name="Caldarelli, Leslie" userId="S::lcaldarelli_luriechildrens.org#ext#@nuwildcat.onmicrosoft.com::cd79b54d-c14e-4199-a04a-39c6f592e710" providerId="AD" clId="Web-{3A3E4FEE-6F9B-7EC3-B167-3C31BBE96824}" dt="2023-10-31T16:35:19.696" v="483"/>
          <ac:picMkLst>
            <pc:docMk/>
            <pc:sldMk cId="3962270618" sldId="549"/>
            <ac:picMk id="24" creationId="{4F03DE1D-DDB8-CDA0-8B03-FFAB4111BF40}"/>
          </ac:picMkLst>
        </pc:picChg>
      </pc:sldChg>
      <pc:sldChg chg="modSp">
        <pc:chgData name="Caldarelli, Leslie" userId="S::lcaldarelli_luriechildrens.org#ext#@nuwildcat.onmicrosoft.com::cd79b54d-c14e-4199-a04a-39c6f592e710" providerId="AD" clId="Web-{3A3E4FEE-6F9B-7EC3-B167-3C31BBE96824}" dt="2023-10-31T16:34:30.288" v="468" actId="1076"/>
        <pc:sldMkLst>
          <pc:docMk/>
          <pc:sldMk cId="3472964082" sldId="550"/>
        </pc:sldMkLst>
        <pc:spChg chg="mod">
          <ac:chgData name="Caldarelli, Leslie" userId="S::lcaldarelli_luriechildrens.org#ext#@nuwildcat.onmicrosoft.com::cd79b54d-c14e-4199-a04a-39c6f592e710" providerId="AD" clId="Web-{3A3E4FEE-6F9B-7EC3-B167-3C31BBE96824}" dt="2023-10-31T16:34:30.288" v="468" actId="1076"/>
          <ac:spMkLst>
            <pc:docMk/>
            <pc:sldMk cId="3472964082" sldId="550"/>
            <ac:spMk id="14" creationId="{00000000-0000-0000-0000-000000000000}"/>
          </ac:spMkLst>
        </pc:spChg>
      </pc:sldChg>
      <pc:sldChg chg="modSp modNotes">
        <pc:chgData name="Caldarelli, Leslie" userId="S::lcaldarelli_luriechildrens.org#ext#@nuwildcat.onmicrosoft.com::cd79b54d-c14e-4199-a04a-39c6f592e710" providerId="AD" clId="Web-{3A3E4FEE-6F9B-7EC3-B167-3C31BBE96824}" dt="2023-10-31T16:33:34.098" v="466" actId="1076"/>
        <pc:sldMkLst>
          <pc:docMk/>
          <pc:sldMk cId="2562283095" sldId="551"/>
        </pc:sldMkLst>
        <pc:spChg chg="mod">
          <ac:chgData name="Caldarelli, Leslie" userId="S::lcaldarelli_luriechildrens.org#ext#@nuwildcat.onmicrosoft.com::cd79b54d-c14e-4199-a04a-39c6f592e710" providerId="AD" clId="Web-{3A3E4FEE-6F9B-7EC3-B167-3C31BBE96824}" dt="2023-10-31T16:32:28.205" v="464" actId="1076"/>
          <ac:spMkLst>
            <pc:docMk/>
            <pc:sldMk cId="2562283095" sldId="551"/>
            <ac:spMk id="14" creationId="{00000000-0000-0000-0000-000000000000}"/>
          </ac:spMkLst>
        </pc:spChg>
        <pc:spChg chg="mod">
          <ac:chgData name="Caldarelli, Leslie" userId="S::lcaldarelli_luriechildrens.org#ext#@nuwildcat.onmicrosoft.com::cd79b54d-c14e-4199-a04a-39c6f592e710" providerId="AD" clId="Web-{3A3E4FEE-6F9B-7EC3-B167-3C31BBE96824}" dt="2023-10-31T16:33:29.832" v="465" actId="1076"/>
          <ac:spMkLst>
            <pc:docMk/>
            <pc:sldMk cId="2562283095" sldId="551"/>
            <ac:spMk id="53" creationId="{00000000-0000-0000-0000-000000000000}"/>
          </ac:spMkLst>
        </pc:spChg>
        <pc:grpChg chg="mod">
          <ac:chgData name="Caldarelli, Leslie" userId="S::lcaldarelli_luriechildrens.org#ext#@nuwildcat.onmicrosoft.com::cd79b54d-c14e-4199-a04a-39c6f592e710" providerId="AD" clId="Web-{3A3E4FEE-6F9B-7EC3-B167-3C31BBE96824}" dt="2023-10-31T16:33:34.098" v="466" actId="1076"/>
          <ac:grpSpMkLst>
            <pc:docMk/>
            <pc:sldMk cId="2562283095" sldId="551"/>
            <ac:grpSpMk id="44" creationId="{00000000-0000-0000-0000-000000000000}"/>
          </ac:grpSpMkLst>
        </pc:grpChg>
      </pc:sldChg>
      <pc:sldChg chg="modSp">
        <pc:chgData name="Caldarelli, Leslie" userId="S::lcaldarelli_luriechildrens.org#ext#@nuwildcat.onmicrosoft.com::cd79b54d-c14e-4199-a04a-39c6f592e710" providerId="AD" clId="Web-{3A3E4FEE-6F9B-7EC3-B167-3C31BBE96824}" dt="2023-10-31T15:37:36.618" v="67" actId="1076"/>
        <pc:sldMkLst>
          <pc:docMk/>
          <pc:sldMk cId="714682852" sldId="552"/>
        </pc:sldMkLst>
        <pc:spChg chg="mod">
          <ac:chgData name="Caldarelli, Leslie" userId="S::lcaldarelli_luriechildrens.org#ext#@nuwildcat.onmicrosoft.com::cd79b54d-c14e-4199-a04a-39c6f592e710" providerId="AD" clId="Web-{3A3E4FEE-6F9B-7EC3-B167-3C31BBE96824}" dt="2023-10-31T15:37:36.618" v="67" actId="1076"/>
          <ac:spMkLst>
            <pc:docMk/>
            <pc:sldMk cId="714682852" sldId="552"/>
            <ac:spMk id="19" creationId="{8F56D947-B18E-6292-FB32-17E6BBE1C7B7}"/>
          </ac:spMkLst>
        </pc:spChg>
      </pc:sldChg>
      <pc:sldChg chg="modSp">
        <pc:chgData name="Caldarelli, Leslie" userId="S::lcaldarelli_luriechildrens.org#ext#@nuwildcat.onmicrosoft.com::cd79b54d-c14e-4199-a04a-39c6f592e710" providerId="AD" clId="Web-{3A3E4FEE-6F9B-7EC3-B167-3C31BBE96824}" dt="2023-10-31T15:39:37.794" v="95" actId="14100"/>
        <pc:sldMkLst>
          <pc:docMk/>
          <pc:sldMk cId="1522616096" sldId="555"/>
        </pc:sldMkLst>
        <pc:spChg chg="mod">
          <ac:chgData name="Caldarelli, Leslie" userId="S::lcaldarelli_luriechildrens.org#ext#@nuwildcat.onmicrosoft.com::cd79b54d-c14e-4199-a04a-39c6f592e710" providerId="AD" clId="Web-{3A3E4FEE-6F9B-7EC3-B167-3C31BBE96824}" dt="2023-10-31T15:39:37.794" v="95" actId="14100"/>
          <ac:spMkLst>
            <pc:docMk/>
            <pc:sldMk cId="1522616096" sldId="555"/>
            <ac:spMk id="2" creationId="{F40AE700-1499-46B3-C70A-C723802CD680}"/>
          </ac:spMkLst>
        </pc:spChg>
      </pc:sldChg>
      <pc:sldChg chg="modSp modNotes">
        <pc:chgData name="Caldarelli, Leslie" userId="S::lcaldarelli_luriechildrens.org#ext#@nuwildcat.onmicrosoft.com::cd79b54d-c14e-4199-a04a-39c6f592e710" providerId="AD" clId="Web-{3A3E4FEE-6F9B-7EC3-B167-3C31BBE96824}" dt="2023-10-31T15:36:18.880" v="66"/>
        <pc:sldMkLst>
          <pc:docMk/>
          <pc:sldMk cId="1514756035" sldId="556"/>
        </pc:sldMkLst>
        <pc:spChg chg="mod">
          <ac:chgData name="Caldarelli, Leslie" userId="S::lcaldarelli_luriechildrens.org#ext#@nuwildcat.onmicrosoft.com::cd79b54d-c14e-4199-a04a-39c6f592e710" providerId="AD" clId="Web-{3A3E4FEE-6F9B-7EC3-B167-3C31BBE96824}" dt="2023-10-31T15:34:46.736" v="60" actId="20577"/>
          <ac:spMkLst>
            <pc:docMk/>
            <pc:sldMk cId="1514756035" sldId="556"/>
            <ac:spMk id="48" creationId="{9DA002CE-213B-0EFE-03DC-C3DB65BCF003}"/>
          </ac:spMkLst>
        </pc:spChg>
      </pc:sldChg>
      <pc:sldChg chg="modSp">
        <pc:chgData name="Caldarelli, Leslie" userId="S::lcaldarelli_luriechildrens.org#ext#@nuwildcat.onmicrosoft.com::cd79b54d-c14e-4199-a04a-39c6f592e710" providerId="AD" clId="Web-{3A3E4FEE-6F9B-7EC3-B167-3C31BBE96824}" dt="2023-10-31T15:42:29.409" v="146" actId="20577"/>
        <pc:sldMkLst>
          <pc:docMk/>
          <pc:sldMk cId="773696652" sldId="558"/>
        </pc:sldMkLst>
        <pc:spChg chg="mod">
          <ac:chgData name="Caldarelli, Leslie" userId="S::lcaldarelli_luriechildrens.org#ext#@nuwildcat.onmicrosoft.com::cd79b54d-c14e-4199-a04a-39c6f592e710" providerId="AD" clId="Web-{3A3E4FEE-6F9B-7EC3-B167-3C31BBE96824}" dt="2023-10-31T15:42:29.409" v="146" actId="20577"/>
          <ac:spMkLst>
            <pc:docMk/>
            <pc:sldMk cId="773696652" sldId="558"/>
            <ac:spMk id="2" creationId="{F40AE700-1499-46B3-C70A-C723802CD680}"/>
          </ac:spMkLst>
        </pc:spChg>
      </pc:sldChg>
      <pc:sldChg chg="modSp">
        <pc:chgData name="Caldarelli, Leslie" userId="S::lcaldarelli_luriechildrens.org#ext#@nuwildcat.onmicrosoft.com::cd79b54d-c14e-4199-a04a-39c6f592e710" providerId="AD" clId="Web-{3A3E4FEE-6F9B-7EC3-B167-3C31BBE96824}" dt="2023-10-31T16:36:35.433" v="487" actId="20577"/>
        <pc:sldMkLst>
          <pc:docMk/>
          <pc:sldMk cId="3067427377" sldId="560"/>
        </pc:sldMkLst>
        <pc:spChg chg="mod">
          <ac:chgData name="Caldarelli, Leslie" userId="S::lcaldarelli_luriechildrens.org#ext#@nuwildcat.onmicrosoft.com::cd79b54d-c14e-4199-a04a-39c6f592e710" providerId="AD" clId="Web-{3A3E4FEE-6F9B-7EC3-B167-3C31BBE96824}" dt="2023-10-31T16:36:35.433" v="487" actId="20577"/>
          <ac:spMkLst>
            <pc:docMk/>
            <pc:sldMk cId="3067427377" sldId="560"/>
            <ac:spMk id="2" creationId="{85302686-DF06-3304-66CB-1E21F4D086DC}"/>
          </ac:spMkLst>
        </pc:spChg>
      </pc:sldChg>
      <pc:sldChg chg="modSp">
        <pc:chgData name="Caldarelli, Leslie" userId="S::lcaldarelli_luriechildrens.org#ext#@nuwildcat.onmicrosoft.com::cd79b54d-c14e-4199-a04a-39c6f592e710" providerId="AD" clId="Web-{3A3E4FEE-6F9B-7EC3-B167-3C31BBE96824}" dt="2023-10-31T15:57:10.707" v="211" actId="1076"/>
        <pc:sldMkLst>
          <pc:docMk/>
          <pc:sldMk cId="3845418986" sldId="563"/>
        </pc:sldMkLst>
        <pc:spChg chg="mod">
          <ac:chgData name="Caldarelli, Leslie" userId="S::lcaldarelli_luriechildrens.org#ext#@nuwildcat.onmicrosoft.com::cd79b54d-c14e-4199-a04a-39c6f592e710" providerId="AD" clId="Web-{3A3E4FEE-6F9B-7EC3-B167-3C31BBE96824}" dt="2023-10-31T15:57:10.707" v="211" actId="1076"/>
          <ac:spMkLst>
            <pc:docMk/>
            <pc:sldMk cId="3845418986" sldId="563"/>
            <ac:spMk id="51" creationId="{233EFC40-2641-E728-F412-79899FC6D0D7}"/>
          </ac:spMkLst>
        </pc:spChg>
      </pc:sldChg>
      <pc:sldChg chg="modSp">
        <pc:chgData name="Caldarelli, Leslie" userId="S::lcaldarelli_luriechildrens.org#ext#@nuwildcat.onmicrosoft.com::cd79b54d-c14e-4199-a04a-39c6f592e710" providerId="AD" clId="Web-{3A3E4FEE-6F9B-7EC3-B167-3C31BBE96824}" dt="2023-10-31T16:06:34.337" v="245" actId="1076"/>
        <pc:sldMkLst>
          <pc:docMk/>
          <pc:sldMk cId="3419957415" sldId="577"/>
        </pc:sldMkLst>
        <pc:spChg chg="mod">
          <ac:chgData name="Caldarelli, Leslie" userId="S::lcaldarelli_luriechildrens.org#ext#@nuwildcat.onmicrosoft.com::cd79b54d-c14e-4199-a04a-39c6f592e710" providerId="AD" clId="Web-{3A3E4FEE-6F9B-7EC3-B167-3C31BBE96824}" dt="2023-10-31T15:55:30.219" v="210" actId="1076"/>
          <ac:spMkLst>
            <pc:docMk/>
            <pc:sldMk cId="3419957415" sldId="577"/>
            <ac:spMk id="23" creationId="{00000000-0000-0000-0000-000000000000}"/>
          </ac:spMkLst>
        </pc:spChg>
        <pc:spChg chg="mod">
          <ac:chgData name="Caldarelli, Leslie" userId="S::lcaldarelli_luriechildrens.org#ext#@nuwildcat.onmicrosoft.com::cd79b54d-c14e-4199-a04a-39c6f592e710" providerId="AD" clId="Web-{3A3E4FEE-6F9B-7EC3-B167-3C31BBE96824}" dt="2023-10-31T16:06:34.337" v="245" actId="1076"/>
          <ac:spMkLst>
            <pc:docMk/>
            <pc:sldMk cId="3419957415" sldId="577"/>
            <ac:spMk id="65" creationId="{28CD4543-B35F-C7BE-C5DB-7DF0067C551A}"/>
          </ac:spMkLst>
        </pc:spChg>
      </pc:sldChg>
      <pc:sldChg chg="modSp">
        <pc:chgData name="Caldarelli, Leslie" userId="S::lcaldarelli_luriechildrens.org#ext#@nuwildcat.onmicrosoft.com::cd79b54d-c14e-4199-a04a-39c6f592e710" providerId="AD" clId="Web-{3A3E4FEE-6F9B-7EC3-B167-3C31BBE96824}" dt="2023-10-31T16:22:43.293" v="377" actId="1076"/>
        <pc:sldMkLst>
          <pc:docMk/>
          <pc:sldMk cId="785115983" sldId="578"/>
        </pc:sldMkLst>
        <pc:spChg chg="mod">
          <ac:chgData name="Caldarelli, Leslie" userId="S::lcaldarelli_luriechildrens.org#ext#@nuwildcat.onmicrosoft.com::cd79b54d-c14e-4199-a04a-39c6f592e710" providerId="AD" clId="Web-{3A3E4FEE-6F9B-7EC3-B167-3C31BBE96824}" dt="2023-10-31T16:22:43.293" v="377" actId="1076"/>
          <ac:spMkLst>
            <pc:docMk/>
            <pc:sldMk cId="785115983" sldId="578"/>
            <ac:spMk id="54" creationId="{3719DC3C-330E-96DC-F3E0-D6B8EE5E5A3C}"/>
          </ac:spMkLst>
        </pc:spChg>
      </pc:sldChg>
      <pc:sldChg chg="modSp modNotes">
        <pc:chgData name="Caldarelli, Leslie" userId="S::lcaldarelli_luriechildrens.org#ext#@nuwildcat.onmicrosoft.com::cd79b54d-c14e-4199-a04a-39c6f592e710" providerId="AD" clId="Web-{3A3E4FEE-6F9B-7EC3-B167-3C31BBE96824}" dt="2023-10-31T16:19:01.207" v="317"/>
        <pc:sldMkLst>
          <pc:docMk/>
          <pc:sldMk cId="3030449316" sldId="579"/>
        </pc:sldMkLst>
        <pc:spChg chg="mod">
          <ac:chgData name="Caldarelli, Leslie" userId="S::lcaldarelli_luriechildrens.org#ext#@nuwildcat.onmicrosoft.com::cd79b54d-c14e-4199-a04a-39c6f592e710" providerId="AD" clId="Web-{3A3E4FEE-6F9B-7EC3-B167-3C31BBE96824}" dt="2023-10-31T16:18:25.362" v="289" actId="20577"/>
          <ac:spMkLst>
            <pc:docMk/>
            <pc:sldMk cId="3030449316" sldId="579"/>
            <ac:spMk id="50" creationId="{00000000-0000-0000-0000-000000000000}"/>
          </ac:spMkLst>
        </pc:spChg>
        <pc:spChg chg="mod">
          <ac:chgData name="Caldarelli, Leslie" userId="S::lcaldarelli_luriechildrens.org#ext#@nuwildcat.onmicrosoft.com::cd79b54d-c14e-4199-a04a-39c6f592e710" providerId="AD" clId="Web-{3A3E4FEE-6F9B-7EC3-B167-3C31BBE96824}" dt="2023-10-31T16:15:55.341" v="280" actId="1076"/>
          <ac:spMkLst>
            <pc:docMk/>
            <pc:sldMk cId="3030449316" sldId="579"/>
            <ac:spMk id="56" creationId="{AB0F7BDF-C613-8BB0-BFCB-8F26B40EC06E}"/>
          </ac:spMkLst>
        </pc:spChg>
      </pc:sldChg>
      <pc:sldChg chg="modSp">
        <pc:chgData name="Caldarelli, Leslie" userId="S::lcaldarelli_luriechildrens.org#ext#@nuwildcat.onmicrosoft.com::cd79b54d-c14e-4199-a04a-39c6f592e710" providerId="AD" clId="Web-{3A3E4FEE-6F9B-7EC3-B167-3C31BBE96824}" dt="2023-10-31T16:05:55.132" v="238" actId="14100"/>
        <pc:sldMkLst>
          <pc:docMk/>
          <pc:sldMk cId="4283907660" sldId="580"/>
        </pc:sldMkLst>
        <pc:spChg chg="mod">
          <ac:chgData name="Caldarelli, Leslie" userId="S::lcaldarelli_luriechildrens.org#ext#@nuwildcat.onmicrosoft.com::cd79b54d-c14e-4199-a04a-39c6f592e710" providerId="AD" clId="Web-{3A3E4FEE-6F9B-7EC3-B167-3C31BBE96824}" dt="2023-10-31T16:05:55.132" v="238" actId="14100"/>
          <ac:spMkLst>
            <pc:docMk/>
            <pc:sldMk cId="4283907660" sldId="580"/>
            <ac:spMk id="71" creationId="{755536B4-F5C2-3697-61E6-0681DE0C12BD}"/>
          </ac:spMkLst>
        </pc:spChg>
      </pc:sldChg>
      <pc:sldChg chg="modSp">
        <pc:chgData name="Caldarelli, Leslie" userId="S::lcaldarelli_luriechildrens.org#ext#@nuwildcat.onmicrosoft.com::cd79b54d-c14e-4199-a04a-39c6f592e710" providerId="AD" clId="Web-{3A3E4FEE-6F9B-7EC3-B167-3C31BBE96824}" dt="2023-10-31T16:06:16.117" v="242" actId="1076"/>
        <pc:sldMkLst>
          <pc:docMk/>
          <pc:sldMk cId="3429940818" sldId="581"/>
        </pc:sldMkLst>
        <pc:spChg chg="mod">
          <ac:chgData name="Caldarelli, Leslie" userId="S::lcaldarelli_luriechildrens.org#ext#@nuwildcat.onmicrosoft.com::cd79b54d-c14e-4199-a04a-39c6f592e710" providerId="AD" clId="Web-{3A3E4FEE-6F9B-7EC3-B167-3C31BBE96824}" dt="2023-10-31T15:59:33.212" v="212" actId="1076"/>
          <ac:spMkLst>
            <pc:docMk/>
            <pc:sldMk cId="3429940818" sldId="581"/>
            <ac:spMk id="68" creationId="{00000000-0000-0000-0000-000000000000}"/>
          </ac:spMkLst>
        </pc:spChg>
        <pc:spChg chg="mod">
          <ac:chgData name="Caldarelli, Leslie" userId="S::lcaldarelli_luriechildrens.org#ext#@nuwildcat.onmicrosoft.com::cd79b54d-c14e-4199-a04a-39c6f592e710" providerId="AD" clId="Web-{3A3E4FEE-6F9B-7EC3-B167-3C31BBE96824}" dt="2023-10-31T16:06:16.117" v="242" actId="1076"/>
          <ac:spMkLst>
            <pc:docMk/>
            <pc:sldMk cId="3429940818" sldId="581"/>
            <ac:spMk id="75" creationId="{20D2DCD7-9B15-FB75-E33B-CECC88A394B8}"/>
          </ac:spMkLst>
        </pc:spChg>
      </pc:sldChg>
      <pc:sldChg chg="modNotes">
        <pc:chgData name="Caldarelli, Leslie" userId="S::lcaldarelli_luriechildrens.org#ext#@nuwildcat.onmicrosoft.com::cd79b54d-c14e-4199-a04a-39c6f592e710" providerId="AD" clId="Web-{3A3E4FEE-6F9B-7EC3-B167-3C31BBE96824}" dt="2023-10-31T15:44:25.335" v="147"/>
        <pc:sldMkLst>
          <pc:docMk/>
          <pc:sldMk cId="3870927286" sldId="583"/>
        </pc:sldMkLst>
      </pc:sldChg>
      <pc:sldChg chg="modSp">
        <pc:chgData name="Caldarelli, Leslie" userId="S::lcaldarelli_luriechildrens.org#ext#@nuwildcat.onmicrosoft.com::cd79b54d-c14e-4199-a04a-39c6f592e710" providerId="AD" clId="Web-{3A3E4FEE-6F9B-7EC3-B167-3C31BBE96824}" dt="2023-10-31T16:04:27.769" v="228" actId="20577"/>
        <pc:sldMkLst>
          <pc:docMk/>
          <pc:sldMk cId="3573947264" sldId="584"/>
        </pc:sldMkLst>
        <pc:spChg chg="mod">
          <ac:chgData name="Caldarelli, Leslie" userId="S::lcaldarelli_luriechildrens.org#ext#@nuwildcat.onmicrosoft.com::cd79b54d-c14e-4199-a04a-39c6f592e710" providerId="AD" clId="Web-{3A3E4FEE-6F9B-7EC3-B167-3C31BBE96824}" dt="2023-10-31T16:04:27.769" v="228" actId="20577"/>
          <ac:spMkLst>
            <pc:docMk/>
            <pc:sldMk cId="3573947264" sldId="584"/>
            <ac:spMk id="42" creationId="{E9E3C6CF-96AA-68D8-0977-EC06066DAB15}"/>
          </ac:spMkLst>
        </pc:spChg>
      </pc:sldChg>
      <pc:sldChg chg="modSp modNotes">
        <pc:chgData name="Caldarelli, Leslie" userId="S::lcaldarelli_luriechildrens.org#ext#@nuwildcat.onmicrosoft.com::cd79b54d-c14e-4199-a04a-39c6f592e710" providerId="AD" clId="Web-{3A3E4FEE-6F9B-7EC3-B167-3C31BBE96824}" dt="2023-10-31T16:30:34.998" v="460" actId="1076"/>
        <pc:sldMkLst>
          <pc:docMk/>
          <pc:sldMk cId="3561966490" sldId="585"/>
        </pc:sldMkLst>
        <pc:spChg chg="mod">
          <ac:chgData name="Caldarelli, Leslie" userId="S::lcaldarelli_luriechildrens.org#ext#@nuwildcat.onmicrosoft.com::cd79b54d-c14e-4199-a04a-39c6f592e710" providerId="AD" clId="Web-{3A3E4FEE-6F9B-7EC3-B167-3C31BBE96824}" dt="2023-10-31T16:25:13.768" v="380" actId="20577"/>
          <ac:spMkLst>
            <pc:docMk/>
            <pc:sldMk cId="3561966490" sldId="585"/>
            <ac:spMk id="10" creationId="{00000000-0000-0000-0000-000000000000}"/>
          </ac:spMkLst>
        </pc:spChg>
        <pc:spChg chg="mod">
          <ac:chgData name="Caldarelli, Leslie" userId="S::lcaldarelli_luriechildrens.org#ext#@nuwildcat.onmicrosoft.com::cd79b54d-c14e-4199-a04a-39c6f592e710" providerId="AD" clId="Web-{3A3E4FEE-6F9B-7EC3-B167-3C31BBE96824}" dt="2023-10-31T16:30:34.998" v="460" actId="1076"/>
          <ac:spMkLst>
            <pc:docMk/>
            <pc:sldMk cId="3561966490" sldId="585"/>
            <ac:spMk id="19" creationId="{00000000-0000-0000-0000-000000000000}"/>
          </ac:spMkLst>
        </pc:spChg>
        <pc:spChg chg="mod">
          <ac:chgData name="Caldarelli, Leslie" userId="S::lcaldarelli_luriechildrens.org#ext#@nuwildcat.onmicrosoft.com::cd79b54d-c14e-4199-a04a-39c6f592e710" providerId="AD" clId="Web-{3A3E4FEE-6F9B-7EC3-B167-3C31BBE96824}" dt="2023-10-31T16:25:17.846" v="382" actId="20577"/>
          <ac:spMkLst>
            <pc:docMk/>
            <pc:sldMk cId="3561966490" sldId="585"/>
            <ac:spMk id="20" creationId="{00000000-0000-0000-0000-000000000000}"/>
          </ac:spMkLst>
        </pc:spChg>
        <pc:spChg chg="mod">
          <ac:chgData name="Caldarelli, Leslie" userId="S::lcaldarelli_luriechildrens.org#ext#@nuwildcat.onmicrosoft.com::cd79b54d-c14e-4199-a04a-39c6f592e710" providerId="AD" clId="Web-{3A3E4FEE-6F9B-7EC3-B167-3C31BBE96824}" dt="2023-10-31T16:25:25.331" v="384" actId="20577"/>
          <ac:spMkLst>
            <pc:docMk/>
            <pc:sldMk cId="3561966490" sldId="585"/>
            <ac:spMk id="21" creationId="{00000000-0000-0000-0000-000000000000}"/>
          </ac:spMkLst>
        </pc:spChg>
        <pc:spChg chg="mod">
          <ac:chgData name="Caldarelli, Leslie" userId="S::lcaldarelli_luriechildrens.org#ext#@nuwildcat.onmicrosoft.com::cd79b54d-c14e-4199-a04a-39c6f592e710" providerId="AD" clId="Web-{3A3E4FEE-6F9B-7EC3-B167-3C31BBE96824}" dt="2023-10-31T16:30:08.481" v="459" actId="20577"/>
          <ac:spMkLst>
            <pc:docMk/>
            <pc:sldMk cId="3561966490" sldId="585"/>
            <ac:spMk id="22" creationId="{00000000-0000-0000-0000-000000000000}"/>
          </ac:spMkLst>
        </pc:spChg>
      </pc:sldChg>
      <pc:sldChg chg="modSp modNotes">
        <pc:chgData name="Caldarelli, Leslie" userId="S::lcaldarelli_luriechildrens.org#ext#@nuwildcat.onmicrosoft.com::cd79b54d-c14e-4199-a04a-39c6f592e710" providerId="AD" clId="Web-{3A3E4FEE-6F9B-7EC3-B167-3C31BBE96824}" dt="2023-10-31T16:22:00.792" v="370"/>
        <pc:sldMkLst>
          <pc:docMk/>
          <pc:sldMk cId="3809547791" sldId="586"/>
        </pc:sldMkLst>
        <pc:spChg chg="mod">
          <ac:chgData name="Caldarelli, Leslie" userId="S::lcaldarelli_luriechildrens.org#ext#@nuwildcat.onmicrosoft.com::cd79b54d-c14e-4199-a04a-39c6f592e710" providerId="AD" clId="Web-{3A3E4FEE-6F9B-7EC3-B167-3C31BBE96824}" dt="2023-10-31T16:21:04.915" v="357" actId="14100"/>
          <ac:spMkLst>
            <pc:docMk/>
            <pc:sldMk cId="3809547791" sldId="586"/>
            <ac:spMk id="39" creationId="{00000000-0000-0000-0000-000000000000}"/>
          </ac:spMkLst>
        </pc:spChg>
        <pc:spChg chg="mod">
          <ac:chgData name="Caldarelli, Leslie" userId="S::lcaldarelli_luriechildrens.org#ext#@nuwildcat.onmicrosoft.com::cd79b54d-c14e-4199-a04a-39c6f592e710" providerId="AD" clId="Web-{3A3E4FEE-6F9B-7EC3-B167-3C31BBE96824}" dt="2023-10-31T16:20:34.726" v="349" actId="20577"/>
          <ac:spMkLst>
            <pc:docMk/>
            <pc:sldMk cId="3809547791" sldId="586"/>
            <ac:spMk id="42"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15:17.887" v="273" actId="20577"/>
        <pc:sldMkLst>
          <pc:docMk/>
          <pc:sldMk cId="1598854783" sldId="587"/>
        </pc:sldMkLst>
        <pc:spChg chg="mod">
          <ac:chgData name="Caldarelli, Leslie" userId="S::lcaldarelli_luriechildrens.org#ext#@nuwildcat.onmicrosoft.com::cd79b54d-c14e-4199-a04a-39c6f592e710" providerId="AD" clId="Web-{3A3E4FEE-6F9B-7EC3-B167-3C31BBE96824}" dt="2023-10-31T16:15:06.464" v="271" actId="20577"/>
          <ac:spMkLst>
            <pc:docMk/>
            <pc:sldMk cId="1598854783" sldId="587"/>
            <ac:spMk id="37" creationId="{00000000-0000-0000-0000-000000000000}"/>
          </ac:spMkLst>
        </pc:spChg>
        <pc:spChg chg="mod">
          <ac:chgData name="Caldarelli, Leslie" userId="S::lcaldarelli_luriechildrens.org#ext#@nuwildcat.onmicrosoft.com::cd79b54d-c14e-4199-a04a-39c6f592e710" providerId="AD" clId="Web-{3A3E4FEE-6F9B-7EC3-B167-3C31BBE96824}" dt="2023-10-31T16:14:11.994" v="267" actId="20577"/>
          <ac:spMkLst>
            <pc:docMk/>
            <pc:sldMk cId="1598854783" sldId="587"/>
            <ac:spMk id="38" creationId="{00000000-0000-0000-0000-000000000000}"/>
          </ac:spMkLst>
        </pc:spChg>
        <pc:spChg chg="mod">
          <ac:chgData name="Caldarelli, Leslie" userId="S::lcaldarelli_luriechildrens.org#ext#@nuwildcat.onmicrosoft.com::cd79b54d-c14e-4199-a04a-39c6f592e710" providerId="AD" clId="Web-{3A3E4FEE-6F9B-7EC3-B167-3C31BBE96824}" dt="2023-10-31T16:15:17.887" v="273" actId="20577"/>
          <ac:spMkLst>
            <pc:docMk/>
            <pc:sldMk cId="1598854783" sldId="587"/>
            <ac:spMk id="39" creationId="{00000000-0000-0000-0000-000000000000}"/>
          </ac:spMkLst>
        </pc:spChg>
        <pc:spChg chg="mod">
          <ac:chgData name="Caldarelli, Leslie" userId="S::lcaldarelli_luriechildrens.org#ext#@nuwildcat.onmicrosoft.com::cd79b54d-c14e-4199-a04a-39c6f592e710" providerId="AD" clId="Web-{3A3E4FEE-6F9B-7EC3-B167-3C31BBE96824}" dt="2023-10-31T16:13:05.398" v="264" actId="20577"/>
          <ac:spMkLst>
            <pc:docMk/>
            <pc:sldMk cId="1598854783" sldId="587"/>
            <ac:spMk id="42"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11:44.067" v="259" actId="20577"/>
        <pc:sldMkLst>
          <pc:docMk/>
          <pc:sldMk cId="3832963388" sldId="588"/>
        </pc:sldMkLst>
        <pc:spChg chg="mod">
          <ac:chgData name="Caldarelli, Leslie" userId="S::lcaldarelli_luriechildrens.org#ext#@nuwildcat.onmicrosoft.com::cd79b54d-c14e-4199-a04a-39c6f592e710" providerId="AD" clId="Web-{3A3E4FEE-6F9B-7EC3-B167-3C31BBE96824}" dt="2023-10-31T16:11:44.067" v="259" actId="20577"/>
          <ac:spMkLst>
            <pc:docMk/>
            <pc:sldMk cId="3832963388" sldId="588"/>
            <ac:spMk id="28"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10:32.517" v="251" actId="20577"/>
        <pc:sldMkLst>
          <pc:docMk/>
          <pc:sldMk cId="435998680" sldId="589"/>
        </pc:sldMkLst>
        <pc:spChg chg="mod">
          <ac:chgData name="Caldarelli, Leslie" userId="S::lcaldarelli_luriechildrens.org#ext#@nuwildcat.onmicrosoft.com::cd79b54d-c14e-4199-a04a-39c6f592e710" providerId="AD" clId="Web-{3A3E4FEE-6F9B-7EC3-B167-3C31BBE96824}" dt="2023-10-31T16:10:32.517" v="251" actId="20577"/>
          <ac:spMkLst>
            <pc:docMk/>
            <pc:sldMk cId="435998680" sldId="589"/>
            <ac:spMk id="13" creationId="{00000000-0000-0000-0000-000000000000}"/>
          </ac:spMkLst>
        </pc:spChg>
        <pc:spChg chg="mod">
          <ac:chgData name="Caldarelli, Leslie" userId="S::lcaldarelli_luriechildrens.org#ext#@nuwildcat.onmicrosoft.com::cd79b54d-c14e-4199-a04a-39c6f592e710" providerId="AD" clId="Web-{3A3E4FEE-6F9B-7EC3-B167-3C31BBE96824}" dt="2023-10-31T16:09:46.297" v="250" actId="20577"/>
          <ac:spMkLst>
            <pc:docMk/>
            <pc:sldMk cId="435998680" sldId="589"/>
            <ac:spMk id="14"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07:59.183" v="247" actId="14100"/>
        <pc:sldMkLst>
          <pc:docMk/>
          <pc:sldMk cId="595546358" sldId="590"/>
        </pc:sldMkLst>
        <pc:spChg chg="mod">
          <ac:chgData name="Caldarelli, Leslie" userId="S::lcaldarelli_luriechildrens.org#ext#@nuwildcat.onmicrosoft.com::cd79b54d-c14e-4199-a04a-39c6f592e710" providerId="AD" clId="Web-{3A3E4FEE-6F9B-7EC3-B167-3C31BBE96824}" dt="2023-10-31T16:07:59.183" v="247" actId="14100"/>
          <ac:spMkLst>
            <pc:docMk/>
            <pc:sldMk cId="595546358" sldId="590"/>
            <ac:spMk id="26" creationId="{00000000-0000-0000-0000-000000000000}"/>
          </ac:spMkLst>
        </pc:spChg>
        <pc:grpChg chg="mod">
          <ac:chgData name="Caldarelli, Leslie" userId="S::lcaldarelli_luriechildrens.org#ext#@nuwildcat.onmicrosoft.com::cd79b54d-c14e-4199-a04a-39c6f592e710" providerId="AD" clId="Web-{3A3E4FEE-6F9B-7EC3-B167-3C31BBE96824}" dt="2023-10-31T16:07:50.371" v="246" actId="1076"/>
          <ac:grpSpMkLst>
            <pc:docMk/>
            <pc:sldMk cId="595546358" sldId="590"/>
            <ac:grpSpMk id="11" creationId="{00000000-0000-0000-0000-000000000000}"/>
          </ac:grpSpMkLst>
        </pc:grpChg>
      </pc:sldChg>
      <pc:sldChg chg="modSp">
        <pc:chgData name="Caldarelli, Leslie" userId="S::lcaldarelli_luriechildrens.org#ext#@nuwildcat.onmicrosoft.com::cd79b54d-c14e-4199-a04a-39c6f592e710" providerId="AD" clId="Web-{3A3E4FEE-6F9B-7EC3-B167-3C31BBE96824}" dt="2023-10-31T16:01:40.623" v="217" actId="14100"/>
        <pc:sldMkLst>
          <pc:docMk/>
          <pc:sldMk cId="629433230" sldId="591"/>
        </pc:sldMkLst>
        <pc:spChg chg="mod">
          <ac:chgData name="Caldarelli, Leslie" userId="S::lcaldarelli_luriechildrens.org#ext#@nuwildcat.onmicrosoft.com::cd79b54d-c14e-4199-a04a-39c6f592e710" providerId="AD" clId="Web-{3A3E4FEE-6F9B-7EC3-B167-3C31BBE96824}" dt="2023-10-31T16:01:40.623" v="217" actId="14100"/>
          <ac:spMkLst>
            <pc:docMk/>
            <pc:sldMk cId="629433230" sldId="591"/>
            <ac:spMk id="20"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04:35.082" v="230" actId="20577"/>
        <pc:sldMkLst>
          <pc:docMk/>
          <pc:sldMk cId="1210022179" sldId="617"/>
        </pc:sldMkLst>
        <pc:spChg chg="mod">
          <ac:chgData name="Caldarelli, Leslie" userId="S::lcaldarelli_luriechildrens.org#ext#@nuwildcat.onmicrosoft.com::cd79b54d-c14e-4199-a04a-39c6f592e710" providerId="AD" clId="Web-{3A3E4FEE-6F9B-7EC3-B167-3C31BBE96824}" dt="2023-10-31T16:04:35.082" v="230" actId="20577"/>
          <ac:spMkLst>
            <pc:docMk/>
            <pc:sldMk cId="1210022179" sldId="617"/>
            <ac:spMk id="42" creationId="{E9E3C6CF-96AA-68D8-0977-EC06066DAB15}"/>
          </ac:spMkLst>
        </pc:spChg>
      </pc:sldChg>
      <pc:sldChg chg="modNotes">
        <pc:chgData name="Caldarelli, Leslie" userId="S::lcaldarelli_luriechildrens.org#ext#@nuwildcat.onmicrosoft.com::cd79b54d-c14e-4199-a04a-39c6f592e710" providerId="AD" clId="Web-{3A3E4FEE-6F9B-7EC3-B167-3C31BBE96824}" dt="2023-10-31T15:54:09.997" v="209"/>
        <pc:sldMkLst>
          <pc:docMk/>
          <pc:sldMk cId="3850125703" sldId="622"/>
        </pc:sldMkLst>
      </pc:sldChg>
      <pc:sldChg chg="modSp">
        <pc:chgData name="Caldarelli, Leslie" userId="S::lcaldarelli_luriechildrens.org#ext#@nuwildcat.onmicrosoft.com::cd79b54d-c14e-4199-a04a-39c6f592e710" providerId="AD" clId="Web-{3A3E4FEE-6F9B-7EC3-B167-3C31BBE96824}" dt="2023-10-31T16:04:40.692" v="231" actId="20577"/>
        <pc:sldMkLst>
          <pc:docMk/>
          <pc:sldMk cId="2561278274" sldId="630"/>
        </pc:sldMkLst>
        <pc:spChg chg="mod">
          <ac:chgData name="Caldarelli, Leslie" userId="S::lcaldarelli_luriechildrens.org#ext#@nuwildcat.onmicrosoft.com::cd79b54d-c14e-4199-a04a-39c6f592e710" providerId="AD" clId="Web-{3A3E4FEE-6F9B-7EC3-B167-3C31BBE96824}" dt="2023-10-31T16:04:40.692" v="231" actId="20577"/>
          <ac:spMkLst>
            <pc:docMk/>
            <pc:sldMk cId="2561278274" sldId="630"/>
            <ac:spMk id="42" creationId="{E9E3C6CF-96AA-68D8-0977-EC06066DAB15}"/>
          </ac:spMkLst>
        </pc:spChg>
      </pc:sldChg>
      <pc:sldChg chg="modSp">
        <pc:chgData name="Caldarelli, Leslie" userId="S::lcaldarelli_luriechildrens.org#ext#@nuwildcat.onmicrosoft.com::cd79b54d-c14e-4199-a04a-39c6f592e710" providerId="AD" clId="Web-{3A3E4FEE-6F9B-7EC3-B167-3C31BBE96824}" dt="2023-10-31T16:04:46.880" v="233" actId="20577"/>
        <pc:sldMkLst>
          <pc:docMk/>
          <pc:sldMk cId="488873692" sldId="631"/>
        </pc:sldMkLst>
        <pc:spChg chg="mod">
          <ac:chgData name="Caldarelli, Leslie" userId="S::lcaldarelli_luriechildrens.org#ext#@nuwildcat.onmicrosoft.com::cd79b54d-c14e-4199-a04a-39c6f592e710" providerId="AD" clId="Web-{3A3E4FEE-6F9B-7EC3-B167-3C31BBE96824}" dt="2023-10-31T16:04:46.880" v="233" actId="20577"/>
          <ac:spMkLst>
            <pc:docMk/>
            <pc:sldMk cId="488873692" sldId="631"/>
            <ac:spMk id="42" creationId="{E9E3C6CF-96AA-68D8-0977-EC06066DAB15}"/>
          </ac:spMkLst>
        </pc:spChg>
      </pc:sldChg>
      <pc:sldChg chg="modSp">
        <pc:chgData name="Caldarelli, Leslie" userId="S::lcaldarelli_luriechildrens.org#ext#@nuwildcat.onmicrosoft.com::cd79b54d-c14e-4199-a04a-39c6f592e710" providerId="AD" clId="Web-{3A3E4FEE-6F9B-7EC3-B167-3C31BBE96824}" dt="2023-10-31T16:15:37.372" v="277" actId="20577"/>
        <pc:sldMkLst>
          <pc:docMk/>
          <pc:sldMk cId="3115055849" sldId="632"/>
        </pc:sldMkLst>
        <pc:spChg chg="mod">
          <ac:chgData name="Caldarelli, Leslie" userId="S::lcaldarelli_luriechildrens.org#ext#@nuwildcat.onmicrosoft.com::cd79b54d-c14e-4199-a04a-39c6f592e710" providerId="AD" clId="Web-{3A3E4FEE-6F9B-7EC3-B167-3C31BBE96824}" dt="2023-10-31T16:15:37.372" v="277" actId="20577"/>
          <ac:spMkLst>
            <pc:docMk/>
            <pc:sldMk cId="3115055849" sldId="632"/>
            <ac:spMk id="42" creationId="{E9E3C6CF-96AA-68D8-0977-EC06066DAB15}"/>
          </ac:spMkLst>
        </pc:spChg>
      </pc:sldChg>
      <pc:sldChg chg="modSp">
        <pc:chgData name="Caldarelli, Leslie" userId="S::lcaldarelli_luriechildrens.org#ext#@nuwildcat.onmicrosoft.com::cd79b54d-c14e-4199-a04a-39c6f592e710" providerId="AD" clId="Web-{3A3E4FEE-6F9B-7EC3-B167-3C31BBE96824}" dt="2023-10-31T16:22:31.574" v="374" actId="20577"/>
        <pc:sldMkLst>
          <pc:docMk/>
          <pc:sldMk cId="3999708931" sldId="633"/>
        </pc:sldMkLst>
        <pc:spChg chg="mod">
          <ac:chgData name="Caldarelli, Leslie" userId="S::lcaldarelli_luriechildrens.org#ext#@nuwildcat.onmicrosoft.com::cd79b54d-c14e-4199-a04a-39c6f592e710" providerId="AD" clId="Web-{3A3E4FEE-6F9B-7EC3-B167-3C31BBE96824}" dt="2023-10-31T16:22:31.574" v="374" actId="20577"/>
          <ac:spMkLst>
            <pc:docMk/>
            <pc:sldMk cId="3999708931" sldId="633"/>
            <ac:spMk id="42" creationId="{E9E3C6CF-96AA-68D8-0977-EC06066DAB15}"/>
          </ac:spMkLst>
        </pc:spChg>
      </pc:sldChg>
      <pc:sldChg chg="modSp">
        <pc:chgData name="Caldarelli, Leslie" userId="S::lcaldarelli_luriechildrens.org#ext#@nuwildcat.onmicrosoft.com::cd79b54d-c14e-4199-a04a-39c6f592e710" providerId="AD" clId="Web-{3A3E4FEE-6F9B-7EC3-B167-3C31BBE96824}" dt="2023-10-31T15:33:52.641" v="54" actId="20577"/>
        <pc:sldMkLst>
          <pc:docMk/>
          <pc:sldMk cId="1271905251" sldId="637"/>
        </pc:sldMkLst>
        <pc:spChg chg="mod">
          <ac:chgData name="Caldarelli, Leslie" userId="S::lcaldarelli_luriechildrens.org#ext#@nuwildcat.onmicrosoft.com::cd79b54d-c14e-4199-a04a-39c6f592e710" providerId="AD" clId="Web-{3A3E4FEE-6F9B-7EC3-B167-3C31BBE96824}" dt="2023-10-31T15:33:52.641" v="54" actId="20577"/>
          <ac:spMkLst>
            <pc:docMk/>
            <pc:sldMk cId="1271905251" sldId="637"/>
            <ac:spMk id="3" creationId="{38BD8A99-C590-643F-CF50-2EEC68347C9C}"/>
          </ac:spMkLst>
        </pc:spChg>
      </pc:sldChg>
      <pc:sldChg chg="addSp delSp modSp mod setBg addAnim setClrOvrMap modNotes">
        <pc:chgData name="Caldarelli, Leslie" userId="S::lcaldarelli_luriechildrens.org#ext#@nuwildcat.onmicrosoft.com::cd79b54d-c14e-4199-a04a-39c6f592e710" providerId="AD" clId="Web-{3A3E4FEE-6F9B-7EC3-B167-3C31BBE96824}" dt="2023-10-31T16:46:24.002" v="562"/>
        <pc:sldMkLst>
          <pc:docMk/>
          <pc:sldMk cId="3557549611" sldId="639"/>
        </pc:sldMkLst>
        <pc:spChg chg="mod">
          <ac:chgData name="Caldarelli, Leslie" userId="S::lcaldarelli_luriechildrens.org#ext#@nuwildcat.onmicrosoft.com::cd79b54d-c14e-4199-a04a-39c6f592e710" providerId="AD" clId="Web-{3A3E4FEE-6F9B-7EC3-B167-3C31BBE96824}" dt="2023-10-31T16:45:57.547" v="552" actId="20577"/>
          <ac:spMkLst>
            <pc:docMk/>
            <pc:sldMk cId="3557549611" sldId="639"/>
            <ac:spMk id="2" creationId="{0BE17DCB-A8F8-6312-7CC0-B9B84CE03C29}"/>
          </ac:spMkLst>
        </pc:spChg>
        <pc:spChg chg="mod">
          <ac:chgData name="Caldarelli, Leslie" userId="S::lcaldarelli_luriechildrens.org#ext#@nuwildcat.onmicrosoft.com::cd79b54d-c14e-4199-a04a-39c6f592e710" providerId="AD" clId="Web-{3A3E4FEE-6F9B-7EC3-B167-3C31BBE96824}" dt="2023-10-31T16:45:23.561" v="547"/>
          <ac:spMkLst>
            <pc:docMk/>
            <pc:sldMk cId="3557549611" sldId="639"/>
            <ac:spMk id="4" creationId="{06276F4D-91A4-D091-2EFE-9A1748660AE2}"/>
          </ac:spMkLst>
        </pc:spChg>
        <pc:spChg chg="mod">
          <ac:chgData name="Caldarelli, Leslie" userId="S::lcaldarelli_luriechildrens.org#ext#@nuwildcat.onmicrosoft.com::cd79b54d-c14e-4199-a04a-39c6f592e710" providerId="AD" clId="Web-{3A3E4FEE-6F9B-7EC3-B167-3C31BBE96824}" dt="2023-10-31T16:45:23.561" v="547"/>
          <ac:spMkLst>
            <pc:docMk/>
            <pc:sldMk cId="3557549611" sldId="639"/>
            <ac:spMk id="5" creationId="{475B4B8E-2C04-6E84-AEFA-610CF3D9D135}"/>
          </ac:spMkLst>
        </pc:spChg>
        <pc:spChg chg="del">
          <ac:chgData name="Caldarelli, Leslie" userId="S::lcaldarelli_luriechildrens.org#ext#@nuwildcat.onmicrosoft.com::cd79b54d-c14e-4199-a04a-39c6f592e710" providerId="AD" clId="Web-{3A3E4FEE-6F9B-7EC3-B167-3C31BBE96824}" dt="2023-10-31T16:44:54.342" v="540"/>
          <ac:spMkLst>
            <pc:docMk/>
            <pc:sldMk cId="3557549611" sldId="639"/>
            <ac:spMk id="11" creationId="{71B2258F-86CA-4D4D-8270-BC05FCDEBFB3}"/>
          </ac:spMkLst>
        </pc:spChg>
        <pc:spChg chg="add del">
          <ac:chgData name="Caldarelli, Leslie" userId="S::lcaldarelli_luriechildrens.org#ext#@nuwildcat.onmicrosoft.com::cd79b54d-c14e-4199-a04a-39c6f592e710" providerId="AD" clId="Web-{3A3E4FEE-6F9B-7EC3-B167-3C31BBE96824}" dt="2023-10-31T16:45:23.561" v="547"/>
          <ac:spMkLst>
            <pc:docMk/>
            <pc:sldMk cId="3557549611" sldId="639"/>
            <ac:spMk id="16" creationId="{27BDFED6-6E33-4606-AFE2-886ADB1C018E}"/>
          </ac:spMkLst>
        </pc:spChg>
        <pc:spChg chg="add del">
          <ac:chgData name="Caldarelli, Leslie" userId="S::lcaldarelli_luriechildrens.org#ext#@nuwildcat.onmicrosoft.com::cd79b54d-c14e-4199-a04a-39c6f592e710" providerId="AD" clId="Web-{3A3E4FEE-6F9B-7EC3-B167-3C31BBE96824}" dt="2023-10-31T16:45:23.561" v="547"/>
          <ac:spMkLst>
            <pc:docMk/>
            <pc:sldMk cId="3557549611" sldId="639"/>
            <ac:spMk id="18" creationId="{890DEF05-784E-4B61-89E4-04C4ECF4E5A0}"/>
          </ac:spMkLst>
        </pc:spChg>
        <pc:spChg chg="add del">
          <ac:chgData name="Caldarelli, Leslie" userId="S::lcaldarelli_luriechildrens.org#ext#@nuwildcat.onmicrosoft.com::cd79b54d-c14e-4199-a04a-39c6f592e710" providerId="AD" clId="Web-{3A3E4FEE-6F9B-7EC3-B167-3C31BBE96824}" dt="2023-10-31T16:45:07.967" v="544"/>
          <ac:spMkLst>
            <pc:docMk/>
            <pc:sldMk cId="3557549611" sldId="639"/>
            <ac:spMk id="25" creationId="{37C89E4B-3C9F-44B9-8B86-D9E3D112D8EC}"/>
          </ac:spMkLst>
        </pc:spChg>
        <pc:spChg chg="add del">
          <ac:chgData name="Caldarelli, Leslie" userId="S::lcaldarelli_luriechildrens.org#ext#@nuwildcat.onmicrosoft.com::cd79b54d-c14e-4199-a04a-39c6f592e710" providerId="AD" clId="Web-{3A3E4FEE-6F9B-7EC3-B167-3C31BBE96824}" dt="2023-10-31T16:45:23.499" v="546"/>
          <ac:spMkLst>
            <pc:docMk/>
            <pc:sldMk cId="3557549611" sldId="639"/>
            <ac:spMk id="31" creationId="{08C9B587-E65E-4B52-B37C-ABEBB6E87928}"/>
          </ac:spMkLst>
        </pc:spChg>
        <pc:spChg chg="add del">
          <ac:chgData name="Caldarelli, Leslie" userId="S::lcaldarelli_luriechildrens.org#ext#@nuwildcat.onmicrosoft.com::cd79b54d-c14e-4199-a04a-39c6f592e710" providerId="AD" clId="Web-{3A3E4FEE-6F9B-7EC3-B167-3C31BBE96824}" dt="2023-10-31T16:45:23.499" v="546"/>
          <ac:spMkLst>
            <pc:docMk/>
            <pc:sldMk cId="3557549611" sldId="639"/>
            <ac:spMk id="32" creationId="{0671A8AE-40A1-4631-A6B8-581AFF065482}"/>
          </ac:spMkLst>
        </pc:spChg>
        <pc:spChg chg="add del">
          <ac:chgData name="Caldarelli, Leslie" userId="S::lcaldarelli_luriechildrens.org#ext#@nuwildcat.onmicrosoft.com::cd79b54d-c14e-4199-a04a-39c6f592e710" providerId="AD" clId="Web-{3A3E4FEE-6F9B-7EC3-B167-3C31BBE96824}" dt="2023-10-31T16:45:23.499" v="546"/>
          <ac:spMkLst>
            <pc:docMk/>
            <pc:sldMk cId="3557549611" sldId="639"/>
            <ac:spMk id="33" creationId="{AB58EF07-17C2-48CF-ABB0-EEF1F17CB8F0}"/>
          </ac:spMkLst>
        </pc:spChg>
        <pc:spChg chg="add del">
          <ac:chgData name="Caldarelli, Leslie" userId="S::lcaldarelli_luriechildrens.org#ext#@nuwildcat.onmicrosoft.com::cd79b54d-c14e-4199-a04a-39c6f592e710" providerId="AD" clId="Web-{3A3E4FEE-6F9B-7EC3-B167-3C31BBE96824}" dt="2023-10-31T16:45:23.499" v="546"/>
          <ac:spMkLst>
            <pc:docMk/>
            <pc:sldMk cId="3557549611" sldId="639"/>
            <ac:spMk id="34" creationId="{AF2F604E-43BE-4DC3-B983-E071523364F8}"/>
          </ac:spMkLst>
        </pc:spChg>
        <pc:spChg chg="add">
          <ac:chgData name="Caldarelli, Leslie" userId="S::lcaldarelli_luriechildrens.org#ext#@nuwildcat.onmicrosoft.com::cd79b54d-c14e-4199-a04a-39c6f592e710" providerId="AD" clId="Web-{3A3E4FEE-6F9B-7EC3-B167-3C31BBE96824}" dt="2023-10-31T16:45:23.561" v="547"/>
          <ac:spMkLst>
            <pc:docMk/>
            <pc:sldMk cId="3557549611" sldId="639"/>
            <ac:spMk id="36" creationId="{71B2258F-86CA-4D4D-8270-BC05FCDEBFB3}"/>
          </ac:spMkLst>
        </pc:spChg>
        <pc:picChg chg="add mod ord">
          <ac:chgData name="Caldarelli, Leslie" userId="S::lcaldarelli_luriechildrens.org#ext#@nuwildcat.onmicrosoft.com::cd79b54d-c14e-4199-a04a-39c6f592e710" providerId="AD" clId="Web-{3A3E4FEE-6F9B-7EC3-B167-3C31BBE96824}" dt="2023-10-31T16:45:23.561" v="547"/>
          <ac:picMkLst>
            <pc:docMk/>
            <pc:sldMk cId="3557549611" sldId="639"/>
            <ac:picMk id="3" creationId="{DAFBE606-7FC7-49C4-35AD-E7F8C66460CB}"/>
          </ac:picMkLst>
        </pc:picChg>
        <pc:picChg chg="del mod">
          <ac:chgData name="Caldarelli, Leslie" userId="S::lcaldarelli_luriechildrens.org#ext#@nuwildcat.onmicrosoft.com::cd79b54d-c14e-4199-a04a-39c6f592e710" providerId="AD" clId="Web-{3A3E4FEE-6F9B-7EC3-B167-3C31BBE96824}" dt="2023-10-31T16:44:58.154" v="542"/>
          <ac:picMkLst>
            <pc:docMk/>
            <pc:sldMk cId="3557549611" sldId="639"/>
            <ac:picMk id="7" creationId="{6B05B810-C788-B059-81CD-37A75C30A63A}"/>
          </ac:picMkLst>
        </pc:picChg>
        <pc:cxnChg chg="add del">
          <ac:chgData name="Caldarelli, Leslie" userId="S::lcaldarelli_luriechildrens.org#ext#@nuwildcat.onmicrosoft.com::cd79b54d-c14e-4199-a04a-39c6f592e710" providerId="AD" clId="Web-{3A3E4FEE-6F9B-7EC3-B167-3C31BBE96824}" dt="2023-10-31T16:45:23.561" v="547"/>
          <ac:cxnSpMkLst>
            <pc:docMk/>
            <pc:sldMk cId="3557549611" sldId="639"/>
            <ac:cxnSpMk id="20" creationId="{C41BAEC7-F7B0-4224-8B18-8F74B7D87F0B}"/>
          </ac:cxnSpMkLst>
        </pc:cxnChg>
        <pc:cxnChg chg="add del">
          <ac:chgData name="Caldarelli, Leslie" userId="S::lcaldarelli_luriechildrens.org#ext#@nuwildcat.onmicrosoft.com::cd79b54d-c14e-4199-a04a-39c6f592e710" providerId="AD" clId="Web-{3A3E4FEE-6F9B-7EC3-B167-3C31BBE96824}" dt="2023-10-31T16:45:07.967" v="544"/>
          <ac:cxnSpMkLst>
            <pc:docMk/>
            <pc:sldMk cId="3557549611" sldId="639"/>
            <ac:cxnSpMk id="27" creationId="{AA2EAA10-076F-46BD-8F0F-B9A2FB77A85C}"/>
          </ac:cxnSpMkLst>
        </pc:cxnChg>
        <pc:cxnChg chg="add del">
          <ac:chgData name="Caldarelli, Leslie" userId="S::lcaldarelli_luriechildrens.org#ext#@nuwildcat.onmicrosoft.com::cd79b54d-c14e-4199-a04a-39c6f592e710" providerId="AD" clId="Web-{3A3E4FEE-6F9B-7EC3-B167-3C31BBE96824}" dt="2023-10-31T16:45:07.967" v="544"/>
          <ac:cxnSpMkLst>
            <pc:docMk/>
            <pc:sldMk cId="3557549611" sldId="639"/>
            <ac:cxnSpMk id="29" creationId="{D891E407-403B-4764-86C9-33A56D3BCAA3}"/>
          </ac:cxnSpMkLst>
        </pc:cxnChg>
      </pc:sldChg>
      <pc:sldChg chg="addSp modSp modNotes">
        <pc:chgData name="Caldarelli, Leslie" userId="S::lcaldarelli_luriechildrens.org#ext#@nuwildcat.onmicrosoft.com::cd79b54d-c14e-4199-a04a-39c6f592e710" providerId="AD" clId="Web-{3A3E4FEE-6F9B-7EC3-B167-3C31BBE96824}" dt="2023-10-31T15:52:03.118" v="208"/>
        <pc:sldMkLst>
          <pc:docMk/>
          <pc:sldMk cId="113281680" sldId="642"/>
        </pc:sldMkLst>
        <pc:spChg chg="mod">
          <ac:chgData name="Caldarelli, Leslie" userId="S::lcaldarelli_luriechildrens.org#ext#@nuwildcat.onmicrosoft.com::cd79b54d-c14e-4199-a04a-39c6f592e710" providerId="AD" clId="Web-{3A3E4FEE-6F9B-7EC3-B167-3C31BBE96824}" dt="2023-10-31T15:50:18.864" v="194" actId="1076"/>
          <ac:spMkLst>
            <pc:docMk/>
            <pc:sldMk cId="113281680" sldId="642"/>
            <ac:spMk id="2" creationId="{F4AFEDD1-1B2F-10C8-9EFB-EFBD0CAB6989}"/>
          </ac:spMkLst>
        </pc:spChg>
        <pc:spChg chg="mod">
          <ac:chgData name="Caldarelli, Leslie" userId="S::lcaldarelli_luriechildrens.org#ext#@nuwildcat.onmicrosoft.com::cd79b54d-c14e-4199-a04a-39c6f592e710" providerId="AD" clId="Web-{3A3E4FEE-6F9B-7EC3-B167-3C31BBE96824}" dt="2023-10-31T15:51:17.319" v="207" actId="20577"/>
          <ac:spMkLst>
            <pc:docMk/>
            <pc:sldMk cId="113281680" sldId="642"/>
            <ac:spMk id="3" creationId="{9038DB7D-70BC-F3BC-5E8D-8CFC7F509BED}"/>
          </ac:spMkLst>
        </pc:spChg>
        <pc:spChg chg="add mod">
          <ac:chgData name="Caldarelli, Leslie" userId="S::lcaldarelli_luriechildrens.org#ext#@nuwildcat.onmicrosoft.com::cd79b54d-c14e-4199-a04a-39c6f592e710" providerId="AD" clId="Web-{3A3E4FEE-6F9B-7EC3-B167-3C31BBE96824}" dt="2023-10-31T15:50:04.085" v="191" actId="1076"/>
          <ac:spMkLst>
            <pc:docMk/>
            <pc:sldMk cId="113281680" sldId="642"/>
            <ac:spMk id="6" creationId="{EB7BD3D8-0E72-993A-2F4C-9CE922B7CC0B}"/>
          </ac:spMkLst>
        </pc:spChg>
        <pc:spChg chg="add mod">
          <ac:chgData name="Caldarelli, Leslie" userId="S::lcaldarelli_luriechildrens.org#ext#@nuwildcat.onmicrosoft.com::cd79b54d-c14e-4199-a04a-39c6f592e710" providerId="AD" clId="Web-{3A3E4FEE-6F9B-7EC3-B167-3C31BBE96824}" dt="2023-10-31T15:50:08.410" v="192" actId="1076"/>
          <ac:spMkLst>
            <pc:docMk/>
            <pc:sldMk cId="113281680" sldId="642"/>
            <ac:spMk id="8" creationId="{9CAE83B1-576A-4BD3-4D30-DC90CF84A4CA}"/>
          </ac:spMkLst>
        </pc:spChg>
      </pc:sldChg>
      <pc:sldChg chg="modSp">
        <pc:chgData name="Caldarelli, Leslie" userId="S::lcaldarelli_luriechildrens.org#ext#@nuwildcat.onmicrosoft.com::cd79b54d-c14e-4199-a04a-39c6f592e710" providerId="AD" clId="Web-{3A3E4FEE-6F9B-7EC3-B167-3C31BBE96824}" dt="2023-10-31T16:37:26.732" v="495" actId="1076"/>
        <pc:sldMkLst>
          <pc:docMk/>
          <pc:sldMk cId="2443892533" sldId="643"/>
        </pc:sldMkLst>
        <pc:spChg chg="mod">
          <ac:chgData name="Caldarelli, Leslie" userId="S::lcaldarelli_luriechildrens.org#ext#@nuwildcat.onmicrosoft.com::cd79b54d-c14e-4199-a04a-39c6f592e710" providerId="AD" clId="Web-{3A3E4FEE-6F9B-7EC3-B167-3C31BBE96824}" dt="2023-10-31T16:37:07.794" v="491" actId="20577"/>
          <ac:spMkLst>
            <pc:docMk/>
            <pc:sldMk cId="2443892533" sldId="643"/>
            <ac:spMk id="2" creationId="{85302686-DF06-3304-66CB-1E21F4D086DC}"/>
          </ac:spMkLst>
        </pc:spChg>
        <pc:spChg chg="mod">
          <ac:chgData name="Caldarelli, Leslie" userId="S::lcaldarelli_luriechildrens.org#ext#@nuwildcat.onmicrosoft.com::cd79b54d-c14e-4199-a04a-39c6f592e710" providerId="AD" clId="Web-{3A3E4FEE-6F9B-7EC3-B167-3C31BBE96824}" dt="2023-10-31T16:37:24.153" v="494" actId="20577"/>
          <ac:spMkLst>
            <pc:docMk/>
            <pc:sldMk cId="2443892533" sldId="643"/>
            <ac:spMk id="3" creationId="{E7ECD19B-85BC-6652-2856-676802964CFA}"/>
          </ac:spMkLst>
        </pc:spChg>
        <pc:picChg chg="mod">
          <ac:chgData name="Caldarelli, Leslie" userId="S::lcaldarelli_luriechildrens.org#ext#@nuwildcat.onmicrosoft.com::cd79b54d-c14e-4199-a04a-39c6f592e710" providerId="AD" clId="Web-{3A3E4FEE-6F9B-7EC3-B167-3C31BBE96824}" dt="2023-10-31T16:37:26.732" v="495" actId="1076"/>
          <ac:picMkLst>
            <pc:docMk/>
            <pc:sldMk cId="2443892533" sldId="643"/>
            <ac:picMk id="7" creationId="{8561AC10-C045-61C5-C572-29E58C8EEF9B}"/>
          </ac:picMkLst>
        </pc:picChg>
      </pc:sldChg>
      <pc:sldChg chg="modSp modNotes">
        <pc:chgData name="Caldarelli, Leslie" userId="S::lcaldarelli_luriechildrens.org#ext#@nuwildcat.onmicrosoft.com::cd79b54d-c14e-4199-a04a-39c6f592e710" providerId="AD" clId="Web-{3A3E4FEE-6F9B-7EC3-B167-3C31BBE96824}" dt="2023-10-31T16:42:54.264" v="528" actId="20577"/>
        <pc:sldMkLst>
          <pc:docMk/>
          <pc:sldMk cId="226321953" sldId="646"/>
        </pc:sldMkLst>
        <pc:spChg chg="mod">
          <ac:chgData name="Caldarelli, Leslie" userId="S::lcaldarelli_luriechildrens.org#ext#@nuwildcat.onmicrosoft.com::cd79b54d-c14e-4199-a04a-39c6f592e710" providerId="AD" clId="Web-{3A3E4FEE-6F9B-7EC3-B167-3C31BBE96824}" dt="2023-10-31T16:42:54.264" v="528" actId="20577"/>
          <ac:spMkLst>
            <pc:docMk/>
            <pc:sldMk cId="226321953" sldId="646"/>
            <ac:spMk id="2" creationId="{966FAC69-62AA-D40E-C4BD-DAD5BF599C69}"/>
          </ac:spMkLst>
        </pc:spChg>
      </pc:sldChg>
      <pc:sldChg chg="modSp modNotes">
        <pc:chgData name="Caldarelli, Leslie" userId="S::lcaldarelli_luriechildrens.org#ext#@nuwildcat.onmicrosoft.com::cd79b54d-c14e-4199-a04a-39c6f592e710" providerId="AD" clId="Web-{3A3E4FEE-6F9B-7EC3-B167-3C31BBE96824}" dt="2023-10-31T16:41:12.349" v="526"/>
        <pc:sldMkLst>
          <pc:docMk/>
          <pc:sldMk cId="1661337475" sldId="647"/>
        </pc:sldMkLst>
        <pc:spChg chg="mod">
          <ac:chgData name="Caldarelli, Leslie" userId="S::lcaldarelli_luriechildrens.org#ext#@nuwildcat.onmicrosoft.com::cd79b54d-c14e-4199-a04a-39c6f592e710" providerId="AD" clId="Web-{3A3E4FEE-6F9B-7EC3-B167-3C31BBE96824}" dt="2023-10-31T16:39:46.581" v="502" actId="1076"/>
          <ac:spMkLst>
            <pc:docMk/>
            <pc:sldMk cId="1661337475" sldId="647"/>
            <ac:spMk id="14" creationId="{00000000-0000-0000-0000-000000000000}"/>
          </ac:spMkLst>
        </pc:spChg>
        <pc:spChg chg="mod">
          <ac:chgData name="Caldarelli, Leslie" userId="S::lcaldarelli_luriechildrens.org#ext#@nuwildcat.onmicrosoft.com::cd79b54d-c14e-4199-a04a-39c6f592e710" providerId="AD" clId="Web-{3A3E4FEE-6F9B-7EC3-B167-3C31BBE96824}" dt="2023-10-31T16:39:36.252" v="500" actId="1076"/>
          <ac:spMkLst>
            <pc:docMk/>
            <pc:sldMk cId="1661337475" sldId="647"/>
            <ac:spMk id="50" creationId="{00000000-0000-0000-0000-000000000000}"/>
          </ac:spMkLst>
        </pc:spChg>
        <pc:spChg chg="mod">
          <ac:chgData name="Caldarelli, Leslie" userId="S::lcaldarelli_luriechildrens.org#ext#@nuwildcat.onmicrosoft.com::cd79b54d-c14e-4199-a04a-39c6f592e710" providerId="AD" clId="Web-{3A3E4FEE-6F9B-7EC3-B167-3C31BBE96824}" dt="2023-10-31T16:39:31.674" v="499" actId="1076"/>
          <ac:spMkLst>
            <pc:docMk/>
            <pc:sldMk cId="1661337475" sldId="647"/>
            <ac:spMk id="53" creationId="{00000000-0000-0000-0000-000000000000}"/>
          </ac:spMkLst>
        </pc:spChg>
        <pc:grpChg chg="mod">
          <ac:chgData name="Caldarelli, Leslie" userId="S::lcaldarelli_luriechildrens.org#ext#@nuwildcat.onmicrosoft.com::cd79b54d-c14e-4199-a04a-39c6f592e710" providerId="AD" clId="Web-{3A3E4FEE-6F9B-7EC3-B167-3C31BBE96824}" dt="2023-10-31T16:39:41.799" v="501" actId="1076"/>
          <ac:grpSpMkLst>
            <pc:docMk/>
            <pc:sldMk cId="1661337475" sldId="647"/>
            <ac:grpSpMk id="44" creationId="{00000000-0000-0000-0000-000000000000}"/>
          </ac:grpSpMkLst>
        </pc:grpChg>
      </pc:sldChg>
      <pc:sldChg chg="modSp">
        <pc:chgData name="Caldarelli, Leslie" userId="S::lcaldarelli_luriechildrens.org#ext#@nuwildcat.onmicrosoft.com::cd79b54d-c14e-4199-a04a-39c6f592e710" providerId="AD" clId="Web-{3A3E4FEE-6F9B-7EC3-B167-3C31BBE96824}" dt="2023-10-31T16:39:52.753" v="503" actId="1076"/>
        <pc:sldMkLst>
          <pc:docMk/>
          <pc:sldMk cId="641611787" sldId="648"/>
        </pc:sldMkLst>
        <pc:spChg chg="mod">
          <ac:chgData name="Caldarelli, Leslie" userId="S::lcaldarelli_luriechildrens.org#ext#@nuwildcat.onmicrosoft.com::cd79b54d-c14e-4199-a04a-39c6f592e710" providerId="AD" clId="Web-{3A3E4FEE-6F9B-7EC3-B167-3C31BBE96824}" dt="2023-10-31T16:39:52.753" v="503" actId="1076"/>
          <ac:spMkLst>
            <pc:docMk/>
            <pc:sldMk cId="641611787" sldId="648"/>
            <ac:spMk id="14" creationId="{00000000-0000-0000-0000-000000000000}"/>
          </ac:spMkLst>
        </pc:spChg>
        <pc:spChg chg="mod">
          <ac:chgData name="Caldarelli, Leslie" userId="S::lcaldarelli_luriechildrens.org#ext#@nuwildcat.onmicrosoft.com::cd79b54d-c14e-4199-a04a-39c6f592e710" providerId="AD" clId="Web-{3A3E4FEE-6F9B-7EC3-B167-3C31BBE96824}" dt="2023-10-31T16:39:19.611" v="497" actId="1076"/>
          <ac:spMkLst>
            <pc:docMk/>
            <pc:sldMk cId="641611787" sldId="648"/>
            <ac:spMk id="53" creationId="{00000000-0000-0000-0000-000000000000}"/>
          </ac:spMkLst>
        </pc:spChg>
      </pc:sldChg>
    </pc:docChg>
  </pc:docChgLst>
  <pc:docChgLst>
    <pc:chgData name="Eileen Fleming Suse" userId="S::efs3844@ads.northwestern.edu::725c94ef-d051-42d7-9d33-8572765d592b" providerId="AD" clId="Web-{9EA480BD-2ABC-0E67-CCB3-672E9005EA21}"/>
    <pc:docChg chg="modSld">
      <pc:chgData name="Eileen Fleming Suse" userId="S::efs3844@ads.northwestern.edu::725c94ef-d051-42d7-9d33-8572765d592b" providerId="AD" clId="Web-{9EA480BD-2ABC-0E67-CCB3-672E9005EA21}" dt="2023-10-31T18:53:54.682" v="108" actId="20577"/>
      <pc:docMkLst>
        <pc:docMk/>
      </pc:docMkLst>
      <pc:sldChg chg="modNotes">
        <pc:chgData name="Eileen Fleming Suse" userId="S::efs3844@ads.northwestern.edu::725c94ef-d051-42d7-9d33-8572765d592b" providerId="AD" clId="Web-{9EA480BD-2ABC-0E67-CCB3-672E9005EA21}" dt="2023-10-31T18:38:51.875" v="17"/>
        <pc:sldMkLst>
          <pc:docMk/>
          <pc:sldMk cId="3536510335" sldId="553"/>
        </pc:sldMkLst>
      </pc:sldChg>
      <pc:sldChg chg="modNotes">
        <pc:chgData name="Eileen Fleming Suse" userId="S::efs3844@ads.northwestern.edu::725c94ef-d051-42d7-9d33-8572765d592b" providerId="AD" clId="Web-{9EA480BD-2ABC-0E67-CCB3-672E9005EA21}" dt="2023-10-31T18:42:48.819" v="18"/>
        <pc:sldMkLst>
          <pc:docMk/>
          <pc:sldMk cId="1514756035" sldId="556"/>
        </pc:sldMkLst>
      </pc:sldChg>
      <pc:sldChg chg="modSp">
        <pc:chgData name="Eileen Fleming Suse" userId="S::efs3844@ads.northwestern.edu::725c94ef-d051-42d7-9d33-8572765d592b" providerId="AD" clId="Web-{9EA480BD-2ABC-0E67-CCB3-672E9005EA21}" dt="2023-10-31T18:47:22.061" v="50" actId="20577"/>
        <pc:sldMkLst>
          <pc:docMk/>
          <pc:sldMk cId="3067427377" sldId="560"/>
        </pc:sldMkLst>
        <pc:spChg chg="mod">
          <ac:chgData name="Eileen Fleming Suse" userId="S::efs3844@ads.northwestern.edu::725c94ef-d051-42d7-9d33-8572765d592b" providerId="AD" clId="Web-{9EA480BD-2ABC-0E67-CCB3-672E9005EA21}" dt="2023-10-31T18:47:22.061" v="50" actId="20577"/>
          <ac:spMkLst>
            <pc:docMk/>
            <pc:sldMk cId="3067427377" sldId="560"/>
            <ac:spMk id="3" creationId="{E7ECD19B-85BC-6652-2856-676802964CFA}"/>
          </ac:spMkLst>
        </pc:spChg>
      </pc:sldChg>
      <pc:sldChg chg="modSp">
        <pc:chgData name="Eileen Fleming Suse" userId="S::efs3844@ads.northwestern.edu::725c94ef-d051-42d7-9d33-8572765d592b" providerId="AD" clId="Web-{9EA480BD-2ABC-0E67-CCB3-672E9005EA21}" dt="2023-10-31T18:46:04.106" v="29" actId="1076"/>
        <pc:sldMkLst>
          <pc:docMk/>
          <pc:sldMk cId="3809547791" sldId="586"/>
        </pc:sldMkLst>
        <pc:spChg chg="mod">
          <ac:chgData name="Eileen Fleming Suse" userId="S::efs3844@ads.northwestern.edu::725c94ef-d051-42d7-9d33-8572765d592b" providerId="AD" clId="Web-{9EA480BD-2ABC-0E67-CCB3-672E9005EA21}" dt="2023-10-31T18:46:04.106" v="29" actId="1076"/>
          <ac:spMkLst>
            <pc:docMk/>
            <pc:sldMk cId="3809547791" sldId="586"/>
            <ac:spMk id="38" creationId="{00000000-0000-0000-0000-000000000000}"/>
          </ac:spMkLst>
        </pc:spChg>
        <pc:spChg chg="mod">
          <ac:chgData name="Eileen Fleming Suse" userId="S::efs3844@ads.northwestern.edu::725c94ef-d051-42d7-9d33-8572765d592b" providerId="AD" clId="Web-{9EA480BD-2ABC-0E67-CCB3-672E9005EA21}" dt="2023-10-31T18:45:13.026" v="22" actId="14100"/>
          <ac:spMkLst>
            <pc:docMk/>
            <pc:sldMk cId="3809547791" sldId="586"/>
            <ac:spMk id="39" creationId="{00000000-0000-0000-0000-000000000000}"/>
          </ac:spMkLst>
        </pc:spChg>
        <pc:spChg chg="mod">
          <ac:chgData name="Eileen Fleming Suse" userId="S::efs3844@ads.northwestern.edu::725c94ef-d051-42d7-9d33-8572765d592b" providerId="AD" clId="Web-{9EA480BD-2ABC-0E67-CCB3-672E9005EA21}" dt="2023-10-31T18:45:53.184" v="27" actId="1076"/>
          <ac:spMkLst>
            <pc:docMk/>
            <pc:sldMk cId="3809547791" sldId="586"/>
            <ac:spMk id="40" creationId="{00000000-0000-0000-0000-000000000000}"/>
          </ac:spMkLst>
        </pc:spChg>
        <pc:spChg chg="mod">
          <ac:chgData name="Eileen Fleming Suse" userId="S::efs3844@ads.northwestern.edu::725c94ef-d051-42d7-9d33-8572765d592b" providerId="AD" clId="Web-{9EA480BD-2ABC-0E67-CCB3-672E9005EA21}" dt="2023-10-31T18:45:33.839" v="25" actId="14100"/>
          <ac:spMkLst>
            <pc:docMk/>
            <pc:sldMk cId="3809547791" sldId="586"/>
            <ac:spMk id="43" creationId="{00000000-0000-0000-0000-000000000000}"/>
          </ac:spMkLst>
        </pc:spChg>
        <pc:grpChg chg="mod">
          <ac:chgData name="Eileen Fleming Suse" userId="S::efs3844@ads.northwestern.edu::725c94ef-d051-42d7-9d33-8572765d592b" providerId="AD" clId="Web-{9EA480BD-2ABC-0E67-CCB3-672E9005EA21}" dt="2023-10-31T18:45:29.558" v="24" actId="14100"/>
          <ac:grpSpMkLst>
            <pc:docMk/>
            <pc:sldMk cId="3809547791" sldId="586"/>
            <ac:grpSpMk id="14" creationId="{00000000-0000-0000-0000-000000000000}"/>
          </ac:grpSpMkLst>
        </pc:grpChg>
        <pc:grpChg chg="mod">
          <ac:chgData name="Eileen Fleming Suse" userId="S::efs3844@ads.northwestern.edu::725c94ef-d051-42d7-9d33-8572765d592b" providerId="AD" clId="Web-{9EA480BD-2ABC-0E67-CCB3-672E9005EA21}" dt="2023-10-31T18:45:57.090" v="28" actId="14100"/>
          <ac:grpSpMkLst>
            <pc:docMk/>
            <pc:sldMk cId="3809547791" sldId="586"/>
            <ac:grpSpMk id="17" creationId="{00000000-0000-0000-0000-000000000000}"/>
          </ac:grpSpMkLst>
        </pc:grpChg>
        <pc:grpChg chg="mod">
          <ac:chgData name="Eileen Fleming Suse" userId="S::efs3844@ads.northwestern.edu::725c94ef-d051-42d7-9d33-8572765d592b" providerId="AD" clId="Web-{9EA480BD-2ABC-0E67-CCB3-672E9005EA21}" dt="2023-10-31T18:45:49.215" v="26" actId="1076"/>
          <ac:grpSpMkLst>
            <pc:docMk/>
            <pc:sldMk cId="3809547791" sldId="586"/>
            <ac:grpSpMk id="23" creationId="{00000000-0000-0000-0000-000000000000}"/>
          </ac:grpSpMkLst>
        </pc:grpChg>
      </pc:sldChg>
      <pc:sldChg chg="modSp">
        <pc:chgData name="Eileen Fleming Suse" userId="S::efs3844@ads.northwestern.edu::725c94ef-d051-42d7-9d33-8572765d592b" providerId="AD" clId="Web-{9EA480BD-2ABC-0E67-CCB3-672E9005EA21}" dt="2023-10-31T18:47:45.734" v="54" actId="1076"/>
        <pc:sldMkLst>
          <pc:docMk/>
          <pc:sldMk cId="2443892533" sldId="643"/>
        </pc:sldMkLst>
        <pc:spChg chg="mod">
          <ac:chgData name="Eileen Fleming Suse" userId="S::efs3844@ads.northwestern.edu::725c94ef-d051-42d7-9d33-8572765d592b" providerId="AD" clId="Web-{9EA480BD-2ABC-0E67-CCB3-672E9005EA21}" dt="2023-10-31T18:47:45.734" v="54" actId="1076"/>
          <ac:spMkLst>
            <pc:docMk/>
            <pc:sldMk cId="2443892533" sldId="643"/>
            <ac:spMk id="10" creationId="{F7DE78CF-32A6-61A0-EEC5-F837E089D3A4}"/>
          </ac:spMkLst>
        </pc:spChg>
      </pc:sldChg>
      <pc:sldChg chg="addSp modSp mod setBg">
        <pc:chgData name="Eileen Fleming Suse" userId="S::efs3844@ads.northwestern.edu::725c94ef-d051-42d7-9d33-8572765d592b" providerId="AD" clId="Web-{9EA480BD-2ABC-0E67-CCB3-672E9005EA21}" dt="2023-10-31T18:53:54.682" v="108" actId="20577"/>
        <pc:sldMkLst>
          <pc:docMk/>
          <pc:sldMk cId="1112761221" sldId="649"/>
        </pc:sldMkLst>
        <pc:spChg chg="mod">
          <ac:chgData name="Eileen Fleming Suse" userId="S::efs3844@ads.northwestern.edu::725c94ef-d051-42d7-9d33-8572765d592b" providerId="AD" clId="Web-{9EA480BD-2ABC-0E67-CCB3-672E9005EA21}" dt="2023-10-31T18:53:23.509" v="106"/>
          <ac:spMkLst>
            <pc:docMk/>
            <pc:sldMk cId="1112761221" sldId="649"/>
            <ac:spMk id="2" creationId="{5D725862-D9BC-0176-0EC2-CCE1E0651CF6}"/>
          </ac:spMkLst>
        </pc:spChg>
        <pc:spChg chg="mod">
          <ac:chgData name="Eileen Fleming Suse" userId="S::efs3844@ads.northwestern.edu::725c94ef-d051-42d7-9d33-8572765d592b" providerId="AD" clId="Web-{9EA480BD-2ABC-0E67-CCB3-672E9005EA21}" dt="2023-10-31T18:53:54.682" v="108" actId="20577"/>
          <ac:spMkLst>
            <pc:docMk/>
            <pc:sldMk cId="1112761221" sldId="649"/>
            <ac:spMk id="3" creationId="{6C9274D1-5B42-C3F3-28E1-C27E5991B53C}"/>
          </ac:spMkLst>
        </pc:spChg>
        <pc:spChg chg="mod ord">
          <ac:chgData name="Eileen Fleming Suse" userId="S::efs3844@ads.northwestern.edu::725c94ef-d051-42d7-9d33-8572765d592b" providerId="AD" clId="Web-{9EA480BD-2ABC-0E67-CCB3-672E9005EA21}" dt="2023-10-31T18:53:23.509" v="106"/>
          <ac:spMkLst>
            <pc:docMk/>
            <pc:sldMk cId="1112761221" sldId="649"/>
            <ac:spMk id="4" creationId="{63A013EC-D0C0-C69D-4DDA-EBB300A2CBEF}"/>
          </ac:spMkLst>
        </pc:spChg>
        <pc:spChg chg="mod">
          <ac:chgData name="Eileen Fleming Suse" userId="S::efs3844@ads.northwestern.edu::725c94ef-d051-42d7-9d33-8572765d592b" providerId="AD" clId="Web-{9EA480BD-2ABC-0E67-CCB3-672E9005EA21}" dt="2023-10-31T18:53:23.509" v="106"/>
          <ac:spMkLst>
            <pc:docMk/>
            <pc:sldMk cId="1112761221" sldId="649"/>
            <ac:spMk id="5" creationId="{2E91D297-9D05-16EF-3891-0E6C69C99EBA}"/>
          </ac:spMkLst>
        </pc:spChg>
        <pc:spChg chg="add">
          <ac:chgData name="Eileen Fleming Suse" userId="S::efs3844@ads.northwestern.edu::725c94ef-d051-42d7-9d33-8572765d592b" providerId="AD" clId="Web-{9EA480BD-2ABC-0E67-CCB3-672E9005EA21}" dt="2023-10-31T18:53:23.509" v="106"/>
          <ac:spMkLst>
            <pc:docMk/>
            <pc:sldMk cId="1112761221" sldId="649"/>
            <ac:spMk id="10" creationId="{FFD48BC7-DC40-47DE-87EE-9F4B6ECB9ABB}"/>
          </ac:spMkLst>
        </pc:spChg>
        <pc:spChg chg="add">
          <ac:chgData name="Eileen Fleming Suse" userId="S::efs3844@ads.northwestern.edu::725c94ef-d051-42d7-9d33-8572765d592b" providerId="AD" clId="Web-{9EA480BD-2ABC-0E67-CCB3-672E9005EA21}" dt="2023-10-31T18:53:23.509" v="106"/>
          <ac:spMkLst>
            <pc:docMk/>
            <pc:sldMk cId="1112761221" sldId="649"/>
            <ac:spMk id="12" creationId="{E502BBC7-2C76-46F3-BC24-5985BC13DB88}"/>
          </ac:spMkLst>
        </pc:spChg>
        <pc:spChg chg="add">
          <ac:chgData name="Eileen Fleming Suse" userId="S::efs3844@ads.northwestern.edu::725c94ef-d051-42d7-9d33-8572765d592b" providerId="AD" clId="Web-{9EA480BD-2ABC-0E67-CCB3-672E9005EA21}" dt="2023-10-31T18:53:23.509" v="106"/>
          <ac:spMkLst>
            <pc:docMk/>
            <pc:sldMk cId="1112761221" sldId="649"/>
            <ac:spMk id="14" creationId="{C7F28D52-2A5F-4D23-81AE-7CB8B591C7AF}"/>
          </ac:spMkLst>
        </pc:spChg>
        <pc:spChg chg="add">
          <ac:chgData name="Eileen Fleming Suse" userId="S::efs3844@ads.northwestern.edu::725c94ef-d051-42d7-9d33-8572765d592b" providerId="AD" clId="Web-{9EA480BD-2ABC-0E67-CCB3-672E9005EA21}" dt="2023-10-31T18:53:23.509" v="106"/>
          <ac:spMkLst>
            <pc:docMk/>
            <pc:sldMk cId="1112761221" sldId="649"/>
            <ac:spMk id="16" creationId="{3629484E-3792-4B3D-89AD-7C8A1ED0E0D4}"/>
          </ac:spMkLst>
        </pc:spChg>
      </pc:sldChg>
    </pc:docChg>
  </pc:docChgLst>
  <pc:docChgLst>
    <pc:chgData name="Alana Rivera" userId="S::arg3669@ads.northwestern.edu::fc8b707a-b7e9-4f2a-8d71-2d76819b7881" providerId="AD" clId="Web-{B6F32D0F-7EF8-C22A-D4AE-933B4E9674EC}"/>
    <pc:docChg chg="addSld delSld modSld">
      <pc:chgData name="Alana Rivera" userId="S::arg3669@ads.northwestern.edu::fc8b707a-b7e9-4f2a-8d71-2d76819b7881" providerId="AD" clId="Web-{B6F32D0F-7EF8-C22A-D4AE-933B4E9674EC}" dt="2023-10-24T04:39:00.705" v="171" actId="1076"/>
      <pc:docMkLst>
        <pc:docMk/>
      </pc:docMkLst>
      <pc:sldChg chg="addSp delSp modSp">
        <pc:chgData name="Alana Rivera" userId="S::arg3669@ads.northwestern.edu::fc8b707a-b7e9-4f2a-8d71-2d76819b7881" providerId="AD" clId="Web-{B6F32D0F-7EF8-C22A-D4AE-933B4E9674EC}" dt="2023-10-24T03:42:19.146" v="30" actId="1076"/>
        <pc:sldMkLst>
          <pc:docMk/>
          <pc:sldMk cId="3127921386" sldId="280"/>
        </pc:sldMkLst>
        <pc:spChg chg="mod">
          <ac:chgData name="Alana Rivera" userId="S::arg3669@ads.northwestern.edu::fc8b707a-b7e9-4f2a-8d71-2d76819b7881" providerId="AD" clId="Web-{B6F32D0F-7EF8-C22A-D4AE-933B4E9674EC}" dt="2023-10-24T03:41:54.802" v="25" actId="1076"/>
          <ac:spMkLst>
            <pc:docMk/>
            <pc:sldMk cId="3127921386" sldId="280"/>
            <ac:spMk id="3" creationId="{1D742501-F937-8041-84E5-748F96AE991B}"/>
          </ac:spMkLst>
        </pc:spChg>
        <pc:spChg chg="del">
          <ac:chgData name="Alana Rivera" userId="S::arg3669@ads.northwestern.edu::fc8b707a-b7e9-4f2a-8d71-2d76819b7881" providerId="AD" clId="Web-{B6F32D0F-7EF8-C22A-D4AE-933B4E9674EC}" dt="2023-10-24T03:42:06.005" v="26"/>
          <ac:spMkLst>
            <pc:docMk/>
            <pc:sldMk cId="3127921386" sldId="280"/>
            <ac:spMk id="4" creationId="{19922563-64D6-2A4E-B048-13AC25DB45AD}"/>
          </ac:spMkLst>
        </pc:spChg>
        <pc:spChg chg="add del mod">
          <ac:chgData name="Alana Rivera" userId="S::arg3669@ads.northwestern.edu::fc8b707a-b7e9-4f2a-8d71-2d76819b7881" providerId="AD" clId="Web-{B6F32D0F-7EF8-C22A-D4AE-933B4E9674EC}" dt="2023-10-24T03:40:43.425" v="10"/>
          <ac:spMkLst>
            <pc:docMk/>
            <pc:sldMk cId="3127921386" sldId="280"/>
            <ac:spMk id="6" creationId="{E0CA01DF-B159-7E00-0A28-663487A43E23}"/>
          </ac:spMkLst>
        </pc:spChg>
        <pc:spChg chg="add del mod">
          <ac:chgData name="Alana Rivera" userId="S::arg3669@ads.northwestern.edu::fc8b707a-b7e9-4f2a-8d71-2d76819b7881" providerId="AD" clId="Web-{B6F32D0F-7EF8-C22A-D4AE-933B4E9674EC}" dt="2023-10-24T03:42:15.037" v="29"/>
          <ac:spMkLst>
            <pc:docMk/>
            <pc:sldMk cId="3127921386" sldId="280"/>
            <ac:spMk id="8" creationId="{9B053BCB-F81B-7717-0313-99518A680707}"/>
          </ac:spMkLst>
        </pc:spChg>
        <pc:spChg chg="add mod">
          <ac:chgData name="Alana Rivera" userId="S::arg3669@ads.northwestern.edu::fc8b707a-b7e9-4f2a-8d71-2d76819b7881" providerId="AD" clId="Web-{B6F32D0F-7EF8-C22A-D4AE-933B4E9674EC}" dt="2023-10-24T03:42:19.146" v="30" actId="1076"/>
          <ac:spMkLst>
            <pc:docMk/>
            <pc:sldMk cId="3127921386" sldId="280"/>
            <ac:spMk id="9" creationId="{7F20A429-9947-F447-2DF2-A5C17B5C6EC1}"/>
          </ac:spMkLst>
        </pc:spChg>
        <pc:picChg chg="add mod">
          <ac:chgData name="Alana Rivera" userId="S::arg3669@ads.northwestern.edu::fc8b707a-b7e9-4f2a-8d71-2d76819b7881" providerId="AD" clId="Web-{B6F32D0F-7EF8-C22A-D4AE-933B4E9674EC}" dt="2023-10-24T03:41:04.082" v="13" actId="1076"/>
          <ac:picMkLst>
            <pc:docMk/>
            <pc:sldMk cId="3127921386" sldId="280"/>
            <ac:picMk id="2" creationId="{0D7C69D0-240C-8322-D521-66F461EE341B}"/>
          </ac:picMkLst>
        </pc:picChg>
        <pc:picChg chg="del mod">
          <ac:chgData name="Alana Rivera" userId="S::arg3669@ads.northwestern.edu::fc8b707a-b7e9-4f2a-8d71-2d76819b7881" providerId="AD" clId="Web-{B6F32D0F-7EF8-C22A-D4AE-933B4E9674EC}" dt="2023-10-24T03:40:29.909" v="6"/>
          <ac:picMkLst>
            <pc:docMk/>
            <pc:sldMk cId="3127921386" sldId="280"/>
            <ac:picMk id="25" creationId="{AFDEE866-04F7-BF46-8FB4-0968BA571C5D}"/>
          </ac:picMkLst>
        </pc:picChg>
      </pc:sldChg>
      <pc:sldChg chg="del">
        <pc:chgData name="Alana Rivera" userId="S::arg3669@ads.northwestern.edu::fc8b707a-b7e9-4f2a-8d71-2d76819b7881" providerId="AD" clId="Web-{B6F32D0F-7EF8-C22A-D4AE-933B4E9674EC}" dt="2023-10-24T03:20:44.965" v="3"/>
        <pc:sldMkLst>
          <pc:docMk/>
          <pc:sldMk cId="3252939964" sldId="282"/>
        </pc:sldMkLst>
      </pc:sldChg>
      <pc:sldChg chg="modSp">
        <pc:chgData name="Alana Rivera" userId="S::arg3669@ads.northwestern.edu::fc8b707a-b7e9-4f2a-8d71-2d76819b7881" providerId="AD" clId="Web-{B6F32D0F-7EF8-C22A-D4AE-933B4E9674EC}" dt="2023-10-24T03:19:53.541" v="2" actId="20577"/>
        <pc:sldMkLst>
          <pc:docMk/>
          <pc:sldMk cId="4044691067" sldId="283"/>
        </pc:sldMkLst>
        <pc:spChg chg="mod">
          <ac:chgData name="Alana Rivera" userId="S::arg3669@ads.northwestern.edu::fc8b707a-b7e9-4f2a-8d71-2d76819b7881" providerId="AD" clId="Web-{B6F32D0F-7EF8-C22A-D4AE-933B4E9674EC}" dt="2023-10-24T03:19:53.541" v="2" actId="20577"/>
          <ac:spMkLst>
            <pc:docMk/>
            <pc:sldMk cId="4044691067" sldId="283"/>
            <ac:spMk id="3" creationId="{00000000-0000-0000-0000-000000000000}"/>
          </ac:spMkLst>
        </pc:spChg>
      </pc:sldChg>
      <pc:sldChg chg="modSp">
        <pc:chgData name="Alana Rivera" userId="S::arg3669@ads.northwestern.edu::fc8b707a-b7e9-4f2a-8d71-2d76819b7881" providerId="AD" clId="Web-{B6F32D0F-7EF8-C22A-D4AE-933B4E9674EC}" dt="2023-10-24T03:42:36.294" v="31"/>
        <pc:sldMkLst>
          <pc:docMk/>
          <pc:sldMk cId="2338849283" sldId="290"/>
        </pc:sldMkLst>
        <pc:spChg chg="mod">
          <ac:chgData name="Alana Rivera" userId="S::arg3669@ads.northwestern.edu::fc8b707a-b7e9-4f2a-8d71-2d76819b7881" providerId="AD" clId="Web-{B6F32D0F-7EF8-C22A-D4AE-933B4E9674EC}" dt="2023-10-24T03:42:36.294" v="31"/>
          <ac:spMkLst>
            <pc:docMk/>
            <pc:sldMk cId="2338849283" sldId="290"/>
            <ac:spMk id="2" creationId="{04883840-FDEC-E449-F7BA-E78CCEC4DD34}"/>
          </ac:spMkLst>
        </pc:spChg>
      </pc:sldChg>
      <pc:sldChg chg="modSp">
        <pc:chgData name="Alana Rivera" userId="S::arg3669@ads.northwestern.edu::fc8b707a-b7e9-4f2a-8d71-2d76819b7881" providerId="AD" clId="Web-{B6F32D0F-7EF8-C22A-D4AE-933B4E9674EC}" dt="2023-10-24T03:43:25.296" v="46" actId="20577"/>
        <pc:sldMkLst>
          <pc:docMk/>
          <pc:sldMk cId="3635595752" sldId="545"/>
        </pc:sldMkLst>
        <pc:spChg chg="mod">
          <ac:chgData name="Alana Rivera" userId="S::arg3669@ads.northwestern.edu::fc8b707a-b7e9-4f2a-8d71-2d76819b7881" providerId="AD" clId="Web-{B6F32D0F-7EF8-C22A-D4AE-933B4E9674EC}" dt="2023-10-24T03:43:25.296" v="46" actId="20577"/>
          <ac:spMkLst>
            <pc:docMk/>
            <pc:sldMk cId="3635595752" sldId="545"/>
            <ac:spMk id="3" creationId="{BFE56240-A306-0E11-425A-7323821A42F2}"/>
          </ac:spMkLst>
        </pc:spChg>
      </pc:sldChg>
      <pc:sldChg chg="modSp">
        <pc:chgData name="Alana Rivera" userId="S::arg3669@ads.northwestern.edu::fc8b707a-b7e9-4f2a-8d71-2d76819b7881" providerId="AD" clId="Web-{B6F32D0F-7EF8-C22A-D4AE-933B4E9674EC}" dt="2023-10-24T04:10:37.837" v="47" actId="1076"/>
        <pc:sldMkLst>
          <pc:docMk/>
          <pc:sldMk cId="3845418986" sldId="563"/>
        </pc:sldMkLst>
        <pc:spChg chg="mod">
          <ac:chgData name="Alana Rivera" userId="S::arg3669@ads.northwestern.edu::fc8b707a-b7e9-4f2a-8d71-2d76819b7881" providerId="AD" clId="Web-{B6F32D0F-7EF8-C22A-D4AE-933B4E9674EC}" dt="2023-10-24T04:10:37.837" v="47" actId="1076"/>
          <ac:spMkLst>
            <pc:docMk/>
            <pc:sldMk cId="3845418986" sldId="563"/>
            <ac:spMk id="44" creationId="{00000000-0000-0000-0000-000000000000}"/>
          </ac:spMkLst>
        </pc:spChg>
      </pc:sldChg>
      <pc:sldChg chg="addSp modSp add">
        <pc:chgData name="Alana Rivera" userId="S::arg3669@ads.northwestern.edu::fc8b707a-b7e9-4f2a-8d71-2d76819b7881" providerId="AD" clId="Web-{B6F32D0F-7EF8-C22A-D4AE-933B4E9674EC}" dt="2023-10-24T04:27:47.156" v="116" actId="1076"/>
        <pc:sldMkLst>
          <pc:docMk/>
          <pc:sldMk cId="2564870475" sldId="566"/>
        </pc:sldMkLst>
        <pc:spChg chg="mod">
          <ac:chgData name="Alana Rivera" userId="S::arg3669@ads.northwestern.edu::fc8b707a-b7e9-4f2a-8d71-2d76819b7881" providerId="AD" clId="Web-{B6F32D0F-7EF8-C22A-D4AE-933B4E9674EC}" dt="2023-10-24T04:22:26.665" v="60" actId="1076"/>
          <ac:spMkLst>
            <pc:docMk/>
            <pc:sldMk cId="2564870475" sldId="566"/>
            <ac:spMk id="2" creationId="{00000000-0000-0000-0000-000000000000}"/>
          </ac:spMkLst>
        </pc:spChg>
        <pc:spChg chg="mod">
          <ac:chgData name="Alana Rivera" userId="S::arg3669@ads.northwestern.edu::fc8b707a-b7e9-4f2a-8d71-2d76819b7881" providerId="AD" clId="Web-{B6F32D0F-7EF8-C22A-D4AE-933B4E9674EC}" dt="2023-10-24T04:22:32.259" v="61" actId="1076"/>
          <ac:spMkLst>
            <pc:docMk/>
            <pc:sldMk cId="2564870475" sldId="566"/>
            <ac:spMk id="12" creationId="{00000000-0000-0000-0000-000000000000}"/>
          </ac:spMkLst>
        </pc:spChg>
        <pc:spChg chg="mod">
          <ac:chgData name="Alana Rivera" userId="S::arg3669@ads.northwestern.edu::fc8b707a-b7e9-4f2a-8d71-2d76819b7881" providerId="AD" clId="Web-{B6F32D0F-7EF8-C22A-D4AE-933B4E9674EC}" dt="2023-10-24T04:22:35.009" v="62" actId="1076"/>
          <ac:spMkLst>
            <pc:docMk/>
            <pc:sldMk cId="2564870475" sldId="566"/>
            <ac:spMk id="15" creationId="{00000000-0000-0000-0000-000000000000}"/>
          </ac:spMkLst>
        </pc:spChg>
        <pc:spChg chg="add mod">
          <ac:chgData name="Alana Rivera" userId="S::arg3669@ads.northwestern.edu::fc8b707a-b7e9-4f2a-8d71-2d76819b7881" providerId="AD" clId="Web-{B6F32D0F-7EF8-C22A-D4AE-933B4E9674EC}" dt="2023-10-24T04:22:38.759" v="63" actId="1076"/>
          <ac:spMkLst>
            <pc:docMk/>
            <pc:sldMk cId="2564870475" sldId="566"/>
            <ac:spMk id="23" creationId="{78B5A3B7-0107-74A6-42BE-EFADF14BEC3D}"/>
          </ac:spMkLst>
        </pc:spChg>
        <pc:picChg chg="add mod">
          <ac:chgData name="Alana Rivera" userId="S::arg3669@ads.northwestern.edu::fc8b707a-b7e9-4f2a-8d71-2d76819b7881" providerId="AD" clId="Web-{B6F32D0F-7EF8-C22A-D4AE-933B4E9674EC}" dt="2023-10-24T04:27:47.156" v="116" actId="1076"/>
          <ac:picMkLst>
            <pc:docMk/>
            <pc:sldMk cId="2564870475" sldId="566"/>
            <ac:picMk id="24" creationId="{BB2CB55F-0790-7175-FF6E-777FF2A900CC}"/>
          </ac:picMkLst>
        </pc:picChg>
      </pc:sldChg>
      <pc:sldChg chg="addSp delSp modSp add del replId">
        <pc:chgData name="Alana Rivera" userId="S::arg3669@ads.northwestern.edu::fc8b707a-b7e9-4f2a-8d71-2d76819b7881" providerId="AD" clId="Web-{B6F32D0F-7EF8-C22A-D4AE-933B4E9674EC}" dt="2023-10-24T04:39:00.705" v="171" actId="1076"/>
        <pc:sldMkLst>
          <pc:docMk/>
          <pc:sldMk cId="310672773" sldId="567"/>
        </pc:sldMkLst>
        <pc:spChg chg="mod">
          <ac:chgData name="Alana Rivera" userId="S::arg3669@ads.northwestern.edu::fc8b707a-b7e9-4f2a-8d71-2d76819b7881" providerId="AD" clId="Web-{B6F32D0F-7EF8-C22A-D4AE-933B4E9674EC}" dt="2023-10-24T04:27:59.609" v="118" actId="1076"/>
          <ac:spMkLst>
            <pc:docMk/>
            <pc:sldMk cId="310672773" sldId="567"/>
            <ac:spMk id="24" creationId="{00000000-0000-0000-0000-000000000000}"/>
          </ac:spMkLst>
        </pc:spChg>
        <pc:spChg chg="mod">
          <ac:chgData name="Alana Rivera" userId="S::arg3669@ads.northwestern.edu::fc8b707a-b7e9-4f2a-8d71-2d76819b7881" providerId="AD" clId="Web-{B6F32D0F-7EF8-C22A-D4AE-933B4E9674EC}" dt="2023-10-24T04:28:20.360" v="121" actId="1076"/>
          <ac:spMkLst>
            <pc:docMk/>
            <pc:sldMk cId="310672773" sldId="567"/>
            <ac:spMk id="25" creationId="{00000000-0000-0000-0000-000000000000}"/>
          </ac:spMkLst>
        </pc:spChg>
        <pc:spChg chg="del">
          <ac:chgData name="Alana Rivera" userId="S::arg3669@ads.northwestern.edu::fc8b707a-b7e9-4f2a-8d71-2d76819b7881" providerId="AD" clId="Web-{B6F32D0F-7EF8-C22A-D4AE-933B4E9674EC}" dt="2023-10-24T04:23:18.681" v="68"/>
          <ac:spMkLst>
            <pc:docMk/>
            <pc:sldMk cId="310672773" sldId="567"/>
            <ac:spMk id="26" creationId="{00000000-0000-0000-0000-000000000000}"/>
          </ac:spMkLst>
        </pc:spChg>
        <pc:spChg chg="del">
          <ac:chgData name="Alana Rivera" userId="S::arg3669@ads.northwestern.edu::fc8b707a-b7e9-4f2a-8d71-2d76819b7881" providerId="AD" clId="Web-{B6F32D0F-7EF8-C22A-D4AE-933B4E9674EC}" dt="2023-10-24T04:23:44.541" v="72"/>
          <ac:spMkLst>
            <pc:docMk/>
            <pc:sldMk cId="310672773" sldId="567"/>
            <ac:spMk id="27" creationId="{00000000-0000-0000-0000-000000000000}"/>
          </ac:spMkLst>
        </pc:spChg>
        <pc:spChg chg="del">
          <ac:chgData name="Alana Rivera" userId="S::arg3669@ads.northwestern.edu::fc8b707a-b7e9-4f2a-8d71-2d76819b7881" providerId="AD" clId="Web-{B6F32D0F-7EF8-C22A-D4AE-933B4E9674EC}" dt="2023-10-24T04:23:54.120" v="77"/>
          <ac:spMkLst>
            <pc:docMk/>
            <pc:sldMk cId="310672773" sldId="567"/>
            <ac:spMk id="28" creationId="{00000000-0000-0000-0000-000000000000}"/>
          </ac:spMkLst>
        </pc:spChg>
        <pc:spChg chg="del">
          <ac:chgData name="Alana Rivera" userId="S::arg3669@ads.northwestern.edu::fc8b707a-b7e9-4f2a-8d71-2d76819b7881" providerId="AD" clId="Web-{B6F32D0F-7EF8-C22A-D4AE-933B4E9674EC}" dt="2023-10-24T04:24:20.777" v="92"/>
          <ac:spMkLst>
            <pc:docMk/>
            <pc:sldMk cId="310672773" sldId="567"/>
            <ac:spMk id="29" creationId="{00000000-0000-0000-0000-000000000000}"/>
          </ac:spMkLst>
        </pc:spChg>
        <pc:spChg chg="del">
          <ac:chgData name="Alana Rivera" userId="S::arg3669@ads.northwestern.edu::fc8b707a-b7e9-4f2a-8d71-2d76819b7881" providerId="AD" clId="Web-{B6F32D0F-7EF8-C22A-D4AE-933B4E9674EC}" dt="2023-10-24T04:24:00.464" v="81"/>
          <ac:spMkLst>
            <pc:docMk/>
            <pc:sldMk cId="310672773" sldId="567"/>
            <ac:spMk id="30" creationId="{00000000-0000-0000-0000-000000000000}"/>
          </ac:spMkLst>
        </pc:spChg>
        <pc:spChg chg="del">
          <ac:chgData name="Alana Rivera" userId="S::arg3669@ads.northwestern.edu::fc8b707a-b7e9-4f2a-8d71-2d76819b7881" providerId="AD" clId="Web-{B6F32D0F-7EF8-C22A-D4AE-933B4E9674EC}" dt="2023-10-24T04:24:14.964" v="88"/>
          <ac:spMkLst>
            <pc:docMk/>
            <pc:sldMk cId="310672773" sldId="567"/>
            <ac:spMk id="32" creationId="{00000000-0000-0000-0000-000000000000}"/>
          </ac:spMkLst>
        </pc:spChg>
        <pc:spChg chg="del mod">
          <ac:chgData name="Alana Rivera" userId="S::arg3669@ads.northwestern.edu::fc8b707a-b7e9-4f2a-8d71-2d76819b7881" providerId="AD" clId="Web-{B6F32D0F-7EF8-C22A-D4AE-933B4E9674EC}" dt="2023-10-24T04:23:44.651" v="74"/>
          <ac:spMkLst>
            <pc:docMk/>
            <pc:sldMk cId="310672773" sldId="567"/>
            <ac:spMk id="33" creationId="{00000000-0000-0000-0000-000000000000}"/>
          </ac:spMkLst>
        </pc:spChg>
        <pc:spChg chg="del">
          <ac:chgData name="Alana Rivera" userId="S::arg3669@ads.northwestern.edu::fc8b707a-b7e9-4f2a-8d71-2d76819b7881" providerId="AD" clId="Web-{B6F32D0F-7EF8-C22A-D4AE-933B4E9674EC}" dt="2023-10-24T04:23:45.291" v="75"/>
          <ac:spMkLst>
            <pc:docMk/>
            <pc:sldMk cId="310672773" sldId="567"/>
            <ac:spMk id="34" creationId="{00000000-0000-0000-0000-000000000000}"/>
          </ac:spMkLst>
        </pc:spChg>
        <pc:spChg chg="del">
          <ac:chgData name="Alana Rivera" userId="S::arg3669@ads.northwestern.edu::fc8b707a-b7e9-4f2a-8d71-2d76819b7881" providerId="AD" clId="Web-{B6F32D0F-7EF8-C22A-D4AE-933B4E9674EC}" dt="2023-10-24T04:23:50.291" v="76"/>
          <ac:spMkLst>
            <pc:docMk/>
            <pc:sldMk cId="310672773" sldId="567"/>
            <ac:spMk id="35" creationId="{00000000-0000-0000-0000-000000000000}"/>
          </ac:spMkLst>
        </pc:spChg>
        <pc:spChg chg="del">
          <ac:chgData name="Alana Rivera" userId="S::arg3669@ads.northwestern.edu::fc8b707a-b7e9-4f2a-8d71-2d76819b7881" providerId="AD" clId="Web-{B6F32D0F-7EF8-C22A-D4AE-933B4E9674EC}" dt="2023-10-24T04:24:25.667" v="95"/>
          <ac:spMkLst>
            <pc:docMk/>
            <pc:sldMk cId="310672773" sldId="567"/>
            <ac:spMk id="36" creationId="{00000000-0000-0000-0000-000000000000}"/>
          </ac:spMkLst>
        </pc:spChg>
        <pc:spChg chg="del">
          <ac:chgData name="Alana Rivera" userId="S::arg3669@ads.northwestern.edu::fc8b707a-b7e9-4f2a-8d71-2d76819b7881" providerId="AD" clId="Web-{B6F32D0F-7EF8-C22A-D4AE-933B4E9674EC}" dt="2023-10-24T04:24:24.511" v="94"/>
          <ac:spMkLst>
            <pc:docMk/>
            <pc:sldMk cId="310672773" sldId="567"/>
            <ac:spMk id="37" creationId="{00000000-0000-0000-0000-000000000000}"/>
          </ac:spMkLst>
        </pc:spChg>
        <pc:spChg chg="del">
          <ac:chgData name="Alana Rivera" userId="S::arg3669@ads.northwestern.edu::fc8b707a-b7e9-4f2a-8d71-2d76819b7881" providerId="AD" clId="Web-{B6F32D0F-7EF8-C22A-D4AE-933B4E9674EC}" dt="2023-10-24T04:24:04.448" v="84"/>
          <ac:spMkLst>
            <pc:docMk/>
            <pc:sldMk cId="310672773" sldId="567"/>
            <ac:spMk id="38" creationId="{00000000-0000-0000-0000-000000000000}"/>
          </ac:spMkLst>
        </pc:spChg>
        <pc:spChg chg="del">
          <ac:chgData name="Alana Rivera" userId="S::arg3669@ads.northwestern.edu::fc8b707a-b7e9-4f2a-8d71-2d76819b7881" providerId="AD" clId="Web-{B6F32D0F-7EF8-C22A-D4AE-933B4E9674EC}" dt="2023-10-24T04:24:04.339" v="83"/>
          <ac:spMkLst>
            <pc:docMk/>
            <pc:sldMk cId="310672773" sldId="567"/>
            <ac:spMk id="39" creationId="{00000000-0000-0000-0000-000000000000}"/>
          </ac:spMkLst>
        </pc:spChg>
        <pc:spChg chg="del">
          <ac:chgData name="Alana Rivera" userId="S::arg3669@ads.northwestern.edu::fc8b707a-b7e9-4f2a-8d71-2d76819b7881" providerId="AD" clId="Web-{B6F32D0F-7EF8-C22A-D4AE-933B4E9674EC}" dt="2023-10-24T04:24:10.636" v="86"/>
          <ac:spMkLst>
            <pc:docMk/>
            <pc:sldMk cId="310672773" sldId="567"/>
            <ac:spMk id="40" creationId="{00000000-0000-0000-0000-000000000000}"/>
          </ac:spMkLst>
        </pc:spChg>
        <pc:spChg chg="del">
          <ac:chgData name="Alana Rivera" userId="S::arg3669@ads.northwestern.edu::fc8b707a-b7e9-4f2a-8d71-2d76819b7881" providerId="AD" clId="Web-{B6F32D0F-7EF8-C22A-D4AE-933B4E9674EC}" dt="2023-10-24T04:24:05.776" v="85"/>
          <ac:spMkLst>
            <pc:docMk/>
            <pc:sldMk cId="310672773" sldId="567"/>
            <ac:spMk id="41" creationId="{00000000-0000-0000-0000-000000000000}"/>
          </ac:spMkLst>
        </pc:spChg>
        <pc:spChg chg="del">
          <ac:chgData name="Alana Rivera" userId="S::arg3669@ads.northwestern.edu::fc8b707a-b7e9-4f2a-8d71-2d76819b7881" providerId="AD" clId="Web-{B6F32D0F-7EF8-C22A-D4AE-933B4E9674EC}" dt="2023-10-24T04:24:15.058" v="90"/>
          <ac:spMkLst>
            <pc:docMk/>
            <pc:sldMk cId="310672773" sldId="567"/>
            <ac:spMk id="42" creationId="{00000000-0000-0000-0000-000000000000}"/>
          </ac:spMkLst>
        </pc:spChg>
        <pc:spChg chg="del">
          <ac:chgData name="Alana Rivera" userId="S::arg3669@ads.northwestern.edu::fc8b707a-b7e9-4f2a-8d71-2d76819b7881" providerId="AD" clId="Web-{B6F32D0F-7EF8-C22A-D4AE-933B4E9674EC}" dt="2023-10-24T04:24:16.573" v="91"/>
          <ac:spMkLst>
            <pc:docMk/>
            <pc:sldMk cId="310672773" sldId="567"/>
            <ac:spMk id="43" creationId="{00000000-0000-0000-0000-000000000000}"/>
          </ac:spMkLst>
        </pc:spChg>
        <pc:spChg chg="mod">
          <ac:chgData name="Alana Rivera" userId="S::arg3669@ads.northwestern.edu::fc8b707a-b7e9-4f2a-8d71-2d76819b7881" providerId="AD" clId="Web-{B6F32D0F-7EF8-C22A-D4AE-933B4E9674EC}" dt="2023-10-24T04:28:16.641" v="120" actId="1076"/>
          <ac:spMkLst>
            <pc:docMk/>
            <pc:sldMk cId="310672773" sldId="567"/>
            <ac:spMk id="44" creationId="{00000000-0000-0000-0000-000000000000}"/>
          </ac:spMkLst>
        </pc:spChg>
        <pc:spChg chg="mod">
          <ac:chgData name="Alana Rivera" userId="S::arg3669@ads.northwestern.edu::fc8b707a-b7e9-4f2a-8d71-2d76819b7881" providerId="AD" clId="Web-{B6F32D0F-7EF8-C22A-D4AE-933B4E9674EC}" dt="2023-10-24T04:39:00.705" v="171" actId="1076"/>
          <ac:spMkLst>
            <pc:docMk/>
            <pc:sldMk cId="310672773" sldId="567"/>
            <ac:spMk id="45" creationId="{00000000-0000-0000-0000-000000000000}"/>
          </ac:spMkLst>
        </pc:spChg>
        <pc:spChg chg="del">
          <ac:chgData name="Alana Rivera" userId="S::arg3669@ads.northwestern.edu::fc8b707a-b7e9-4f2a-8d71-2d76819b7881" providerId="AD" clId="Web-{B6F32D0F-7EF8-C22A-D4AE-933B4E9674EC}" dt="2023-10-24T04:23:54.292" v="79"/>
          <ac:spMkLst>
            <pc:docMk/>
            <pc:sldMk cId="310672773" sldId="567"/>
            <ac:spMk id="46" creationId="{00000000-0000-0000-0000-000000000000}"/>
          </ac:spMkLst>
        </pc:spChg>
        <pc:spChg chg="del">
          <ac:chgData name="Alana Rivera" userId="S::arg3669@ads.northwestern.edu::fc8b707a-b7e9-4f2a-8d71-2d76819b7881" providerId="AD" clId="Web-{B6F32D0F-7EF8-C22A-D4AE-933B4E9674EC}" dt="2023-10-24T04:23:44.604" v="73"/>
          <ac:spMkLst>
            <pc:docMk/>
            <pc:sldMk cId="310672773" sldId="567"/>
            <ac:spMk id="47" creationId="{00000000-0000-0000-0000-000000000000}"/>
          </ac:spMkLst>
        </pc:spChg>
        <pc:spChg chg="del">
          <ac:chgData name="Alana Rivera" userId="S::arg3669@ads.northwestern.edu::fc8b707a-b7e9-4f2a-8d71-2d76819b7881" providerId="AD" clId="Web-{B6F32D0F-7EF8-C22A-D4AE-933B4E9674EC}" dt="2023-10-24T04:23:24.260" v="69"/>
          <ac:spMkLst>
            <pc:docMk/>
            <pc:sldMk cId="310672773" sldId="567"/>
            <ac:spMk id="48" creationId="{00000000-0000-0000-0000-000000000000}"/>
          </ac:spMkLst>
        </pc:spChg>
        <pc:spChg chg="del mod">
          <ac:chgData name="Alana Rivera" userId="S::arg3669@ads.northwestern.edu::fc8b707a-b7e9-4f2a-8d71-2d76819b7881" providerId="AD" clId="Web-{B6F32D0F-7EF8-C22A-D4AE-933B4E9674EC}" dt="2023-10-24T04:38:51.142" v="170"/>
          <ac:spMkLst>
            <pc:docMk/>
            <pc:sldMk cId="310672773" sldId="567"/>
            <ac:spMk id="49" creationId="{00000000-0000-0000-0000-000000000000}"/>
          </ac:spMkLst>
        </pc:spChg>
        <pc:spChg chg="add mod">
          <ac:chgData name="Alana Rivera" userId="S::arg3669@ads.northwestern.edu::fc8b707a-b7e9-4f2a-8d71-2d76819b7881" providerId="AD" clId="Web-{B6F32D0F-7EF8-C22A-D4AE-933B4E9674EC}" dt="2023-10-24T04:36:55.296" v="154" actId="14100"/>
          <ac:spMkLst>
            <pc:docMk/>
            <pc:sldMk cId="310672773" sldId="567"/>
            <ac:spMk id="50" creationId="{95B469C3-D645-40A9-B8DD-54193E200864}"/>
          </ac:spMkLst>
        </pc:spChg>
        <pc:spChg chg="add mod">
          <ac:chgData name="Alana Rivera" userId="S::arg3669@ads.northwestern.edu::fc8b707a-b7e9-4f2a-8d71-2d76819b7881" providerId="AD" clId="Web-{B6F32D0F-7EF8-C22A-D4AE-933B4E9674EC}" dt="2023-10-24T04:38:00.282" v="165" actId="20577"/>
          <ac:spMkLst>
            <pc:docMk/>
            <pc:sldMk cId="310672773" sldId="567"/>
            <ac:spMk id="51" creationId="{30D625CB-EE41-128F-FC0A-4E5883BC18EC}"/>
          </ac:spMkLst>
        </pc:spChg>
        <pc:spChg chg="add mod">
          <ac:chgData name="Alana Rivera" userId="S::arg3669@ads.northwestern.edu::fc8b707a-b7e9-4f2a-8d71-2d76819b7881" providerId="AD" clId="Web-{B6F32D0F-7EF8-C22A-D4AE-933B4E9674EC}" dt="2023-10-24T04:37:30.500" v="158" actId="1076"/>
          <ac:spMkLst>
            <pc:docMk/>
            <pc:sldMk cId="310672773" sldId="567"/>
            <ac:spMk id="52" creationId="{E8A77D57-8EE2-88D3-5381-D8E92995DA02}"/>
          </ac:spMkLst>
        </pc:spChg>
        <pc:spChg chg="add mod">
          <ac:chgData name="Alana Rivera" userId="S::arg3669@ads.northwestern.edu::fc8b707a-b7e9-4f2a-8d71-2d76819b7881" providerId="AD" clId="Web-{B6F32D0F-7EF8-C22A-D4AE-933B4E9674EC}" dt="2023-10-24T04:38:40.939" v="168"/>
          <ac:spMkLst>
            <pc:docMk/>
            <pc:sldMk cId="310672773" sldId="567"/>
            <ac:spMk id="53" creationId="{FBAF7918-02CE-7D9C-B338-0825A2E5C3E6}"/>
          </ac:spMkLst>
        </pc:spChg>
        <pc:grpChg chg="del">
          <ac:chgData name="Alana Rivera" userId="S::arg3669@ads.northwestern.edu::fc8b707a-b7e9-4f2a-8d71-2d76819b7881" providerId="AD" clId="Web-{B6F32D0F-7EF8-C22A-D4AE-933B4E9674EC}" dt="2023-10-24T04:23:55.401" v="80"/>
          <ac:grpSpMkLst>
            <pc:docMk/>
            <pc:sldMk cId="310672773" sldId="567"/>
            <ac:grpSpMk id="2" creationId="{00000000-0000-0000-0000-000000000000}"/>
          </ac:grpSpMkLst>
        </pc:grpChg>
        <pc:grpChg chg="del">
          <ac:chgData name="Alana Rivera" userId="S::arg3669@ads.northwestern.edu::fc8b707a-b7e9-4f2a-8d71-2d76819b7881" providerId="AD" clId="Web-{B6F32D0F-7EF8-C22A-D4AE-933B4E9674EC}" dt="2023-10-24T04:23:40.604" v="71"/>
          <ac:grpSpMkLst>
            <pc:docMk/>
            <pc:sldMk cId="310672773" sldId="567"/>
            <ac:grpSpMk id="5" creationId="{00000000-0000-0000-0000-000000000000}"/>
          </ac:grpSpMkLst>
        </pc:grpChg>
        <pc:grpChg chg="del">
          <ac:chgData name="Alana Rivera" userId="S::arg3669@ads.northwestern.edu::fc8b707a-b7e9-4f2a-8d71-2d76819b7881" providerId="AD" clId="Web-{B6F32D0F-7EF8-C22A-D4AE-933B4E9674EC}" dt="2023-10-24T04:24:04.292" v="82"/>
          <ac:grpSpMkLst>
            <pc:docMk/>
            <pc:sldMk cId="310672773" sldId="567"/>
            <ac:grpSpMk id="8" creationId="{00000000-0000-0000-0000-000000000000}"/>
          </ac:grpSpMkLst>
        </pc:grpChg>
        <pc:grpChg chg="del">
          <ac:chgData name="Alana Rivera" userId="S::arg3669@ads.northwestern.edu::fc8b707a-b7e9-4f2a-8d71-2d76819b7881" providerId="AD" clId="Web-{B6F32D0F-7EF8-C22A-D4AE-933B4E9674EC}" dt="2023-10-24T04:23:54.245" v="78"/>
          <ac:grpSpMkLst>
            <pc:docMk/>
            <pc:sldMk cId="310672773" sldId="567"/>
            <ac:grpSpMk id="11" creationId="{00000000-0000-0000-0000-000000000000}"/>
          </ac:grpSpMkLst>
        </pc:grpChg>
        <pc:grpChg chg="del">
          <ac:chgData name="Alana Rivera" userId="S::arg3669@ads.northwestern.edu::fc8b707a-b7e9-4f2a-8d71-2d76819b7881" providerId="AD" clId="Web-{B6F32D0F-7EF8-C22A-D4AE-933B4E9674EC}" dt="2023-10-24T04:24:14.870" v="87"/>
          <ac:grpSpMkLst>
            <pc:docMk/>
            <pc:sldMk cId="310672773" sldId="567"/>
            <ac:grpSpMk id="14" creationId="{00000000-0000-0000-0000-000000000000}"/>
          </ac:grpSpMkLst>
        </pc:grpChg>
        <pc:grpChg chg="del">
          <ac:chgData name="Alana Rivera" userId="S::arg3669@ads.northwestern.edu::fc8b707a-b7e9-4f2a-8d71-2d76819b7881" providerId="AD" clId="Web-{B6F32D0F-7EF8-C22A-D4AE-933B4E9674EC}" dt="2023-10-24T04:24:24.448" v="93"/>
          <ac:grpSpMkLst>
            <pc:docMk/>
            <pc:sldMk cId="310672773" sldId="567"/>
            <ac:grpSpMk id="17" creationId="{00000000-0000-0000-0000-000000000000}"/>
          </ac:grpSpMkLst>
        </pc:grpChg>
        <pc:grpChg chg="del">
          <ac:chgData name="Alana Rivera" userId="S::arg3669@ads.northwestern.edu::fc8b707a-b7e9-4f2a-8d71-2d76819b7881" providerId="AD" clId="Web-{B6F32D0F-7EF8-C22A-D4AE-933B4E9674EC}" dt="2023-10-24T04:24:14.980" v="89"/>
          <ac:grpSpMkLst>
            <pc:docMk/>
            <pc:sldMk cId="310672773" sldId="567"/>
            <ac:grpSpMk id="20" creationId="{00000000-0000-0000-0000-000000000000}"/>
          </ac:grpSpMkLst>
        </pc:grpChg>
      </pc:sldChg>
    </pc:docChg>
  </pc:docChgLst>
  <pc:docChgLst>
    <pc:chgData name="Eileen Fleming Suse" userId="S::efs3844@ads.northwestern.edu::725c94ef-d051-42d7-9d33-8572765d592b" providerId="AD" clId="Web-{305AC9D0-E55A-2A1E-F2E7-EBEA3644D9AC}"/>
    <pc:docChg chg="addSld modSld sldOrd">
      <pc:chgData name="Eileen Fleming Suse" userId="S::efs3844@ads.northwestern.edu::725c94ef-d051-42d7-9d33-8572765d592b" providerId="AD" clId="Web-{305AC9D0-E55A-2A1E-F2E7-EBEA3644D9AC}" dt="2023-10-24T16:00:52.345" v="55" actId="20577"/>
      <pc:docMkLst>
        <pc:docMk/>
      </pc:docMkLst>
      <pc:sldChg chg="modSp">
        <pc:chgData name="Eileen Fleming Suse" userId="S::efs3844@ads.northwestern.edu::725c94ef-d051-42d7-9d33-8572765d592b" providerId="AD" clId="Web-{305AC9D0-E55A-2A1E-F2E7-EBEA3644D9AC}" dt="2023-10-24T14:55:17.582" v="21" actId="20577"/>
        <pc:sldMkLst>
          <pc:docMk/>
          <pc:sldMk cId="1522616096" sldId="555"/>
        </pc:sldMkLst>
        <pc:spChg chg="mod">
          <ac:chgData name="Eileen Fleming Suse" userId="S::efs3844@ads.northwestern.edu::725c94ef-d051-42d7-9d33-8572765d592b" providerId="AD" clId="Web-{305AC9D0-E55A-2A1E-F2E7-EBEA3644D9AC}" dt="2023-10-24T14:55:17.582" v="21" actId="20577"/>
          <ac:spMkLst>
            <pc:docMk/>
            <pc:sldMk cId="1522616096" sldId="555"/>
            <ac:spMk id="4" creationId="{3D49CA6C-78ED-3124-7EE3-BBDDC9988910}"/>
          </ac:spMkLst>
        </pc:spChg>
      </pc:sldChg>
      <pc:sldChg chg="ord">
        <pc:chgData name="Eileen Fleming Suse" userId="S::efs3844@ads.northwestern.edu::725c94ef-d051-42d7-9d33-8572765d592b" providerId="AD" clId="Web-{305AC9D0-E55A-2A1E-F2E7-EBEA3644D9AC}" dt="2023-10-24T14:49:32.836" v="11"/>
        <pc:sldMkLst>
          <pc:docMk/>
          <pc:sldMk cId="773696652" sldId="558"/>
        </pc:sldMkLst>
      </pc:sldChg>
      <pc:sldChg chg="delSp modSp">
        <pc:chgData name="Eileen Fleming Suse" userId="S::efs3844@ads.northwestern.edu::725c94ef-d051-42d7-9d33-8572765d592b" providerId="AD" clId="Web-{305AC9D0-E55A-2A1E-F2E7-EBEA3644D9AC}" dt="2023-10-24T14:58:02.213" v="32" actId="14100"/>
        <pc:sldMkLst>
          <pc:docMk/>
          <pc:sldMk cId="3845418986" sldId="563"/>
        </pc:sldMkLst>
        <pc:spChg chg="del">
          <ac:chgData name="Eileen Fleming Suse" userId="S::efs3844@ads.northwestern.edu::725c94ef-d051-42d7-9d33-8572765d592b" providerId="AD" clId="Web-{305AC9D0-E55A-2A1E-F2E7-EBEA3644D9AC}" dt="2023-10-24T14:42:11.618" v="5"/>
          <ac:spMkLst>
            <pc:docMk/>
            <pc:sldMk cId="3845418986" sldId="563"/>
            <ac:spMk id="30" creationId="{00000000-0000-0000-0000-000000000000}"/>
          </ac:spMkLst>
        </pc:spChg>
        <pc:spChg chg="mod">
          <ac:chgData name="Eileen Fleming Suse" userId="S::efs3844@ads.northwestern.edu::725c94ef-d051-42d7-9d33-8572765d592b" providerId="AD" clId="Web-{305AC9D0-E55A-2A1E-F2E7-EBEA3644D9AC}" dt="2023-10-24T14:58:02.213" v="32" actId="14100"/>
          <ac:spMkLst>
            <pc:docMk/>
            <pc:sldMk cId="3845418986" sldId="563"/>
            <ac:spMk id="31" creationId="{00000000-0000-0000-0000-000000000000}"/>
          </ac:spMkLst>
        </pc:spChg>
        <pc:spChg chg="mod">
          <ac:chgData name="Eileen Fleming Suse" userId="S::efs3844@ads.northwestern.edu::725c94ef-d051-42d7-9d33-8572765d592b" providerId="AD" clId="Web-{305AC9D0-E55A-2A1E-F2E7-EBEA3644D9AC}" dt="2023-10-24T14:57:07.008" v="23"/>
          <ac:spMkLst>
            <pc:docMk/>
            <pc:sldMk cId="3845418986" sldId="563"/>
            <ac:spMk id="39" creationId="{00000000-0000-0000-0000-000000000000}"/>
          </ac:spMkLst>
        </pc:spChg>
        <pc:spChg chg="mod">
          <ac:chgData name="Eileen Fleming Suse" userId="S::efs3844@ads.northwestern.edu::725c94ef-d051-42d7-9d33-8572765d592b" providerId="AD" clId="Web-{305AC9D0-E55A-2A1E-F2E7-EBEA3644D9AC}" dt="2023-10-24T14:11:52.821" v="1" actId="20577"/>
          <ac:spMkLst>
            <pc:docMk/>
            <pc:sldMk cId="3845418986" sldId="563"/>
            <ac:spMk id="45" creationId="{00000000-0000-0000-0000-000000000000}"/>
          </ac:spMkLst>
        </pc:spChg>
        <pc:spChg chg="mod">
          <ac:chgData name="Eileen Fleming Suse" userId="S::efs3844@ads.northwestern.edu::725c94ef-d051-42d7-9d33-8572765d592b" providerId="AD" clId="Web-{305AC9D0-E55A-2A1E-F2E7-EBEA3644D9AC}" dt="2023-10-24T14:46:06.860" v="9" actId="1076"/>
          <ac:spMkLst>
            <pc:docMk/>
            <pc:sldMk cId="3845418986" sldId="563"/>
            <ac:spMk id="46" creationId="{00000000-0000-0000-0000-000000000000}"/>
          </ac:spMkLst>
        </pc:spChg>
      </pc:sldChg>
      <pc:sldChg chg="modSp">
        <pc:chgData name="Eileen Fleming Suse" userId="S::efs3844@ads.northwestern.edu::725c94ef-d051-42d7-9d33-8572765d592b" providerId="AD" clId="Web-{305AC9D0-E55A-2A1E-F2E7-EBEA3644D9AC}" dt="2023-10-24T14:58:28.479" v="33" actId="1076"/>
        <pc:sldMkLst>
          <pc:docMk/>
          <pc:sldMk cId="1536434647" sldId="564"/>
        </pc:sldMkLst>
        <pc:spChg chg="mod">
          <ac:chgData name="Eileen Fleming Suse" userId="S::efs3844@ads.northwestern.edu::725c94ef-d051-42d7-9d33-8572765d592b" providerId="AD" clId="Web-{305AC9D0-E55A-2A1E-F2E7-EBEA3644D9AC}" dt="2023-10-24T14:57:57.791" v="31" actId="14100"/>
          <ac:spMkLst>
            <pc:docMk/>
            <pc:sldMk cId="1536434647" sldId="564"/>
            <ac:spMk id="24" creationId="{00000000-0000-0000-0000-000000000000}"/>
          </ac:spMkLst>
        </pc:spChg>
        <pc:spChg chg="mod">
          <ac:chgData name="Eileen Fleming Suse" userId="S::efs3844@ads.northwestern.edu::725c94ef-d051-42d7-9d33-8572765d592b" providerId="AD" clId="Web-{305AC9D0-E55A-2A1E-F2E7-EBEA3644D9AC}" dt="2023-10-24T14:47:22.066" v="10" actId="1076"/>
          <ac:spMkLst>
            <pc:docMk/>
            <pc:sldMk cId="1536434647" sldId="564"/>
            <ac:spMk id="27" creationId="{00000000-0000-0000-0000-000000000000}"/>
          </ac:spMkLst>
        </pc:spChg>
        <pc:spChg chg="mod">
          <ac:chgData name="Eileen Fleming Suse" userId="S::efs3844@ads.northwestern.edu::725c94ef-d051-42d7-9d33-8572765d592b" providerId="AD" clId="Web-{305AC9D0-E55A-2A1E-F2E7-EBEA3644D9AC}" dt="2023-10-24T14:46:03.360" v="8" actId="1076"/>
          <ac:spMkLst>
            <pc:docMk/>
            <pc:sldMk cId="1536434647" sldId="564"/>
            <ac:spMk id="44" creationId="{00000000-0000-0000-0000-000000000000}"/>
          </ac:spMkLst>
        </pc:spChg>
        <pc:grpChg chg="mod">
          <ac:chgData name="Eileen Fleming Suse" userId="S::efs3844@ads.northwestern.edu::725c94ef-d051-42d7-9d33-8572765d592b" providerId="AD" clId="Web-{305AC9D0-E55A-2A1E-F2E7-EBEA3644D9AC}" dt="2023-10-24T14:58:28.479" v="33" actId="1076"/>
          <ac:grpSpMkLst>
            <pc:docMk/>
            <pc:sldMk cId="1536434647" sldId="564"/>
            <ac:grpSpMk id="2" creationId="{00000000-0000-0000-0000-000000000000}"/>
          </ac:grpSpMkLst>
        </pc:grpChg>
      </pc:sldChg>
      <pc:sldChg chg="modSp">
        <pc:chgData name="Eileen Fleming Suse" userId="S::efs3844@ads.northwestern.edu::725c94ef-d051-42d7-9d33-8572765d592b" providerId="AD" clId="Web-{305AC9D0-E55A-2A1E-F2E7-EBEA3644D9AC}" dt="2023-10-24T14:12:18.463" v="4" actId="20577"/>
        <pc:sldMkLst>
          <pc:docMk/>
          <pc:sldMk cId="3004937174" sldId="565"/>
        </pc:sldMkLst>
        <pc:spChg chg="mod">
          <ac:chgData name="Eileen Fleming Suse" userId="S::efs3844@ads.northwestern.edu::725c94ef-d051-42d7-9d33-8572765d592b" providerId="AD" clId="Web-{305AC9D0-E55A-2A1E-F2E7-EBEA3644D9AC}" dt="2023-10-24T14:12:03.322" v="2" actId="1076"/>
          <ac:spMkLst>
            <pc:docMk/>
            <pc:sldMk cId="3004937174" sldId="565"/>
            <ac:spMk id="38" creationId="{00000000-0000-0000-0000-000000000000}"/>
          </ac:spMkLst>
        </pc:spChg>
        <pc:spChg chg="mod">
          <ac:chgData name="Eileen Fleming Suse" userId="S::efs3844@ads.northwestern.edu::725c94ef-d051-42d7-9d33-8572765d592b" providerId="AD" clId="Web-{305AC9D0-E55A-2A1E-F2E7-EBEA3644D9AC}" dt="2023-10-24T14:12:18.463" v="4" actId="20577"/>
          <ac:spMkLst>
            <pc:docMk/>
            <pc:sldMk cId="3004937174" sldId="565"/>
            <ac:spMk id="41" creationId="{00000000-0000-0000-0000-000000000000}"/>
          </ac:spMkLst>
        </pc:spChg>
      </pc:sldChg>
      <pc:sldChg chg="modSp">
        <pc:chgData name="Eileen Fleming Suse" userId="S::efs3844@ads.northwestern.edu::725c94ef-d051-42d7-9d33-8572765d592b" providerId="AD" clId="Web-{305AC9D0-E55A-2A1E-F2E7-EBEA3644D9AC}" dt="2023-10-24T15:20:09.868" v="39" actId="14100"/>
        <pc:sldMkLst>
          <pc:docMk/>
          <pc:sldMk cId="2564870475" sldId="566"/>
        </pc:sldMkLst>
        <pc:spChg chg="mod">
          <ac:chgData name="Eileen Fleming Suse" userId="S::efs3844@ads.northwestern.edu::725c94ef-d051-42d7-9d33-8572765d592b" providerId="AD" clId="Web-{305AC9D0-E55A-2A1E-F2E7-EBEA3644D9AC}" dt="2023-10-24T15:20:07.305" v="38" actId="14100"/>
          <ac:spMkLst>
            <pc:docMk/>
            <pc:sldMk cId="2564870475" sldId="566"/>
            <ac:spMk id="23" creationId="{78B5A3B7-0107-74A6-42BE-EFADF14BEC3D}"/>
          </ac:spMkLst>
        </pc:spChg>
        <pc:picChg chg="mod">
          <ac:chgData name="Eileen Fleming Suse" userId="S::efs3844@ads.northwestern.edu::725c94ef-d051-42d7-9d33-8572765d592b" providerId="AD" clId="Web-{305AC9D0-E55A-2A1E-F2E7-EBEA3644D9AC}" dt="2023-10-24T15:20:09.868" v="39" actId="14100"/>
          <ac:picMkLst>
            <pc:docMk/>
            <pc:sldMk cId="2564870475" sldId="566"/>
            <ac:picMk id="24" creationId="{BB2CB55F-0790-7175-FF6E-777FF2A900CC}"/>
          </ac:picMkLst>
        </pc:picChg>
      </pc:sldChg>
      <pc:sldChg chg="addSp modSp new ord">
        <pc:chgData name="Eileen Fleming Suse" userId="S::efs3844@ads.northwestern.edu::725c94ef-d051-42d7-9d33-8572765d592b" providerId="AD" clId="Web-{305AC9D0-E55A-2A1E-F2E7-EBEA3644D9AC}" dt="2023-10-24T16:00:52.345" v="55" actId="20577"/>
        <pc:sldMkLst>
          <pc:docMk/>
          <pc:sldMk cId="1415571005" sldId="572"/>
        </pc:sldMkLst>
        <pc:spChg chg="add mod">
          <ac:chgData name="Eileen Fleming Suse" userId="S::efs3844@ads.northwestern.edu::725c94ef-d051-42d7-9d33-8572765d592b" providerId="AD" clId="Web-{305AC9D0-E55A-2A1E-F2E7-EBEA3644D9AC}" dt="2023-10-24T14:57:43.493" v="30" actId="14100"/>
          <ac:spMkLst>
            <pc:docMk/>
            <pc:sldMk cId="1415571005" sldId="572"/>
            <ac:spMk id="3" creationId="{E8766EA8-8D1C-74B1-60F2-6EE8D7D1A899}"/>
          </ac:spMkLst>
        </pc:spChg>
        <pc:spChg chg="add">
          <ac:chgData name="Eileen Fleming Suse" userId="S::efs3844@ads.northwestern.edu::725c94ef-d051-42d7-9d33-8572765d592b" providerId="AD" clId="Web-{305AC9D0-E55A-2A1E-F2E7-EBEA3644D9AC}" dt="2023-10-24T14:57:27.180" v="25"/>
          <ac:spMkLst>
            <pc:docMk/>
            <pc:sldMk cId="1415571005" sldId="572"/>
            <ac:spMk id="5" creationId="{5240BE87-4D13-BF3F-4932-9D8B2973FA85}"/>
          </ac:spMkLst>
        </pc:spChg>
        <pc:spChg chg="add">
          <ac:chgData name="Eileen Fleming Suse" userId="S::efs3844@ads.northwestern.edu::725c94ef-d051-42d7-9d33-8572765d592b" providerId="AD" clId="Web-{305AC9D0-E55A-2A1E-F2E7-EBEA3644D9AC}" dt="2023-10-24T14:57:27.196" v="26"/>
          <ac:spMkLst>
            <pc:docMk/>
            <pc:sldMk cId="1415571005" sldId="572"/>
            <ac:spMk id="7" creationId="{7F9321C2-D073-586B-B5DF-9C86117F7744}"/>
          </ac:spMkLst>
        </pc:spChg>
        <pc:spChg chg="add">
          <ac:chgData name="Eileen Fleming Suse" userId="S::efs3844@ads.northwestern.edu::725c94ef-d051-42d7-9d33-8572765d592b" providerId="AD" clId="Web-{305AC9D0-E55A-2A1E-F2E7-EBEA3644D9AC}" dt="2023-10-24T14:57:27.196" v="27"/>
          <ac:spMkLst>
            <pc:docMk/>
            <pc:sldMk cId="1415571005" sldId="572"/>
            <ac:spMk id="9" creationId="{E7EFA955-A8BB-A26D-68E1-96464B4A257F}"/>
          </ac:spMkLst>
        </pc:spChg>
        <pc:spChg chg="add">
          <ac:chgData name="Eileen Fleming Suse" userId="S::efs3844@ads.northwestern.edu::725c94ef-d051-42d7-9d33-8572765d592b" providerId="AD" clId="Web-{305AC9D0-E55A-2A1E-F2E7-EBEA3644D9AC}" dt="2023-10-24T14:57:27.212" v="28"/>
          <ac:spMkLst>
            <pc:docMk/>
            <pc:sldMk cId="1415571005" sldId="572"/>
            <ac:spMk id="11" creationId="{B192D65E-14E1-EAD3-E7D3-2EE53AA7B5BD}"/>
          </ac:spMkLst>
        </pc:spChg>
        <pc:spChg chg="add">
          <ac:chgData name="Eileen Fleming Suse" userId="S::efs3844@ads.northwestern.edu::725c94ef-d051-42d7-9d33-8572765d592b" providerId="AD" clId="Web-{305AC9D0-E55A-2A1E-F2E7-EBEA3644D9AC}" dt="2023-10-24T14:57:39.181" v="29"/>
          <ac:spMkLst>
            <pc:docMk/>
            <pc:sldMk cId="1415571005" sldId="572"/>
            <ac:spMk id="13" creationId="{6052322E-FB3E-BFB4-5E31-14610EA9827E}"/>
          </ac:spMkLst>
        </pc:spChg>
        <pc:spChg chg="add mod">
          <ac:chgData name="Eileen Fleming Suse" userId="S::efs3844@ads.northwestern.edu::725c94ef-d051-42d7-9d33-8572765d592b" providerId="AD" clId="Web-{305AC9D0-E55A-2A1E-F2E7-EBEA3644D9AC}" dt="2023-10-24T16:00:52.345" v="55" actId="20577"/>
          <ac:spMkLst>
            <pc:docMk/>
            <pc:sldMk cId="1415571005" sldId="572"/>
            <ac:spMk id="14" creationId="{C16CF44D-7798-4583-BFDB-87260C98EA94}"/>
          </ac:spMkLst>
        </pc:spChg>
      </pc:sldChg>
      <pc:sldChg chg="modSp add replId">
        <pc:chgData name="Eileen Fleming Suse" userId="S::efs3844@ads.northwestern.edu::725c94ef-d051-42d7-9d33-8572765d592b" providerId="AD" clId="Web-{305AC9D0-E55A-2A1E-F2E7-EBEA3644D9AC}" dt="2023-10-24T15:14:54.982" v="35" actId="1076"/>
        <pc:sldMkLst>
          <pc:docMk/>
          <pc:sldMk cId="2901982042" sldId="573"/>
        </pc:sldMkLst>
        <pc:spChg chg="mod">
          <ac:chgData name="Eileen Fleming Suse" userId="S::efs3844@ads.northwestern.edu::725c94ef-d051-42d7-9d33-8572765d592b" providerId="AD" clId="Web-{305AC9D0-E55A-2A1E-F2E7-EBEA3644D9AC}" dt="2023-10-24T15:14:54.982" v="35" actId="1076"/>
          <ac:spMkLst>
            <pc:docMk/>
            <pc:sldMk cId="2901982042" sldId="573"/>
            <ac:spMk id="28" creationId="{00000000-0000-0000-0000-000000000000}"/>
          </ac:spMkLst>
        </pc:spChg>
      </pc:sldChg>
    </pc:docChg>
  </pc:docChgLst>
  <pc:docChgLst>
    <pc:chgData name="Caldarelli, Leslie" userId="S::lcaldarelli_luriechildrens.org#ext#@nuwildcat.onmicrosoft.com::cd79b54d-c14e-4199-a04a-39c6f592e710" providerId="AD" clId="Web-{BC047B72-8F18-01C2-FA60-A38A99380270}"/>
    <pc:docChg chg="modSld sldOrd">
      <pc:chgData name="Caldarelli, Leslie" userId="S::lcaldarelli_luriechildrens.org#ext#@nuwildcat.onmicrosoft.com::cd79b54d-c14e-4199-a04a-39c6f592e710" providerId="AD" clId="Web-{BC047B72-8F18-01C2-FA60-A38A99380270}" dt="2023-10-31T04:33:13.252" v="935" actId="20577"/>
      <pc:docMkLst>
        <pc:docMk/>
      </pc:docMkLst>
      <pc:sldChg chg="modSp">
        <pc:chgData name="Caldarelli, Leslie" userId="S::lcaldarelli_luriechildrens.org#ext#@nuwildcat.onmicrosoft.com::cd79b54d-c14e-4199-a04a-39c6f592e710" providerId="AD" clId="Web-{BC047B72-8F18-01C2-FA60-A38A99380270}" dt="2023-10-31T02:08:33.719" v="18" actId="20577"/>
        <pc:sldMkLst>
          <pc:docMk/>
          <pc:sldMk cId="4044691067" sldId="283"/>
        </pc:sldMkLst>
        <pc:spChg chg="mod">
          <ac:chgData name="Caldarelli, Leslie" userId="S::lcaldarelli_luriechildrens.org#ext#@nuwildcat.onmicrosoft.com::cd79b54d-c14e-4199-a04a-39c6f592e710" providerId="AD" clId="Web-{BC047B72-8F18-01C2-FA60-A38A99380270}" dt="2023-10-31T02:08:26.734" v="17" actId="1076"/>
          <ac:spMkLst>
            <pc:docMk/>
            <pc:sldMk cId="4044691067" sldId="283"/>
            <ac:spMk id="3" creationId="{00000000-0000-0000-0000-000000000000}"/>
          </ac:spMkLst>
        </pc:spChg>
        <pc:spChg chg="mod">
          <ac:chgData name="Caldarelli, Leslie" userId="S::lcaldarelli_luriechildrens.org#ext#@nuwildcat.onmicrosoft.com::cd79b54d-c14e-4199-a04a-39c6f592e710" providerId="AD" clId="Web-{BC047B72-8F18-01C2-FA60-A38A99380270}" dt="2023-10-31T02:08:33.719" v="18" actId="20577"/>
          <ac:spMkLst>
            <pc:docMk/>
            <pc:sldMk cId="4044691067" sldId="283"/>
            <ac:spMk id="16386" creationId="{00000000-0000-0000-0000-000000000000}"/>
          </ac:spMkLst>
        </pc:spChg>
        <pc:spChg chg="mod">
          <ac:chgData name="Caldarelli, Leslie" userId="S::lcaldarelli_luriechildrens.org#ext#@nuwildcat.onmicrosoft.com::cd79b54d-c14e-4199-a04a-39c6f592e710" providerId="AD" clId="Web-{BC047B72-8F18-01C2-FA60-A38A99380270}" dt="2023-10-31T02:06:09.934" v="6" actId="1076"/>
          <ac:spMkLst>
            <pc:docMk/>
            <pc:sldMk cId="4044691067" sldId="283"/>
            <ac:spMk id="16387"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2:10:51.238" v="39" actId="20577"/>
        <pc:sldMkLst>
          <pc:docMk/>
          <pc:sldMk cId="3635595752" sldId="545"/>
        </pc:sldMkLst>
        <pc:spChg chg="mod">
          <ac:chgData name="Caldarelli, Leslie" userId="S::lcaldarelli_luriechildrens.org#ext#@nuwildcat.onmicrosoft.com::cd79b54d-c14e-4199-a04a-39c6f592e710" providerId="AD" clId="Web-{BC047B72-8F18-01C2-FA60-A38A99380270}" dt="2023-10-31T02:10:51.238" v="39" actId="20577"/>
          <ac:spMkLst>
            <pc:docMk/>
            <pc:sldMk cId="3635595752" sldId="545"/>
            <ac:spMk id="3" creationId="{BFE56240-A306-0E11-425A-7323821A42F2}"/>
          </ac:spMkLst>
        </pc:spChg>
      </pc:sldChg>
      <pc:sldChg chg="modSp">
        <pc:chgData name="Caldarelli, Leslie" userId="S::lcaldarelli_luriechildrens.org#ext#@nuwildcat.onmicrosoft.com::cd79b54d-c14e-4199-a04a-39c6f592e710" providerId="AD" clId="Web-{BC047B72-8F18-01C2-FA60-A38A99380270}" dt="2023-10-31T03:23:30.003" v="188" actId="20577"/>
        <pc:sldMkLst>
          <pc:docMk/>
          <pc:sldMk cId="1036043289" sldId="546"/>
        </pc:sldMkLst>
        <pc:spChg chg="mod">
          <ac:chgData name="Caldarelli, Leslie" userId="S::lcaldarelli_luriechildrens.org#ext#@nuwildcat.onmicrosoft.com::cd79b54d-c14e-4199-a04a-39c6f592e710" providerId="AD" clId="Web-{BC047B72-8F18-01C2-FA60-A38A99380270}" dt="2023-10-31T03:23:30.003" v="188" actId="20577"/>
          <ac:spMkLst>
            <pc:docMk/>
            <pc:sldMk cId="1036043289" sldId="546"/>
            <ac:spMk id="3" creationId="{BACE41BD-1CAE-1299-918F-5B1678DE12B4}"/>
          </ac:spMkLst>
        </pc:spChg>
      </pc:sldChg>
      <pc:sldChg chg="modSp modNotes">
        <pc:chgData name="Caldarelli, Leslie" userId="S::lcaldarelli_luriechildrens.org#ext#@nuwildcat.onmicrosoft.com::cd79b54d-c14e-4199-a04a-39c6f592e710" providerId="AD" clId="Web-{BC047B72-8F18-01C2-FA60-A38A99380270}" dt="2023-10-31T04:32:19.657" v="874"/>
        <pc:sldMkLst>
          <pc:docMk/>
          <pc:sldMk cId="3745706804" sldId="548"/>
        </pc:sldMkLst>
        <pc:spChg chg="mod">
          <ac:chgData name="Caldarelli, Leslie" userId="S::lcaldarelli_luriechildrens.org#ext#@nuwildcat.onmicrosoft.com::cd79b54d-c14e-4199-a04a-39c6f592e710" providerId="AD" clId="Web-{BC047B72-8F18-01C2-FA60-A38A99380270}" dt="2023-10-31T04:30:45.872" v="852" actId="20577"/>
          <ac:spMkLst>
            <pc:docMk/>
            <pc:sldMk cId="3745706804" sldId="548"/>
            <ac:spMk id="2" creationId="{C2B429CC-FC8C-ECA7-15C8-7563C27BFB95}"/>
          </ac:spMkLst>
        </pc:spChg>
        <pc:spChg chg="mod">
          <ac:chgData name="Caldarelli, Leslie" userId="S::lcaldarelli_luriechildrens.org#ext#@nuwildcat.onmicrosoft.com::cd79b54d-c14e-4199-a04a-39c6f592e710" providerId="AD" clId="Web-{BC047B72-8F18-01C2-FA60-A38A99380270}" dt="2023-10-31T04:30:54.388" v="855" actId="20577"/>
          <ac:spMkLst>
            <pc:docMk/>
            <pc:sldMk cId="3745706804" sldId="548"/>
            <ac:spMk id="3" creationId="{C0454086-94BF-0693-766D-F1659194519A}"/>
          </ac:spMkLst>
        </pc:spChg>
      </pc:sldChg>
      <pc:sldChg chg="modSp">
        <pc:chgData name="Caldarelli, Leslie" userId="S::lcaldarelli_luriechildrens.org#ext#@nuwildcat.onmicrosoft.com::cd79b54d-c14e-4199-a04a-39c6f592e710" providerId="AD" clId="Web-{BC047B72-8F18-01C2-FA60-A38A99380270}" dt="2023-10-31T04:33:03.893" v="911" actId="20577"/>
        <pc:sldMkLst>
          <pc:docMk/>
          <pc:sldMk cId="3962270618" sldId="549"/>
        </pc:sldMkLst>
        <pc:spChg chg="mod">
          <ac:chgData name="Caldarelli, Leslie" userId="S::lcaldarelli_luriechildrens.org#ext#@nuwildcat.onmicrosoft.com::cd79b54d-c14e-4199-a04a-39c6f592e710" providerId="AD" clId="Web-{BC047B72-8F18-01C2-FA60-A38A99380270}" dt="2023-10-31T04:33:03.893" v="911" actId="20577"/>
          <ac:spMkLst>
            <pc:docMk/>
            <pc:sldMk cId="3962270618" sldId="549"/>
            <ac:spMk id="2" creationId="{D2A51686-B2DC-CDBE-63AE-C97B6B0DBD66}"/>
          </ac:spMkLst>
        </pc:spChg>
        <pc:spChg chg="mod">
          <ac:chgData name="Caldarelli, Leslie" userId="S::lcaldarelli_luriechildrens.org#ext#@nuwildcat.onmicrosoft.com::cd79b54d-c14e-4199-a04a-39c6f592e710" providerId="AD" clId="Web-{BC047B72-8F18-01C2-FA60-A38A99380270}" dt="2023-10-31T04:33:03.221" v="899" actId="1076"/>
          <ac:spMkLst>
            <pc:docMk/>
            <pc:sldMk cId="3962270618" sldId="549"/>
            <ac:spMk id="3" creationId="{CBB95935-58B8-573E-DAFB-D9AE51F0FF09}"/>
          </ac:spMkLst>
        </pc:spChg>
      </pc:sldChg>
      <pc:sldChg chg="modSp">
        <pc:chgData name="Caldarelli, Leslie" userId="S::lcaldarelli_luriechildrens.org#ext#@nuwildcat.onmicrosoft.com::cd79b54d-c14e-4199-a04a-39c6f592e710" providerId="AD" clId="Web-{BC047B72-8F18-01C2-FA60-A38A99380270}" dt="2023-10-31T04:32:54.002" v="879" actId="20577"/>
        <pc:sldMkLst>
          <pc:docMk/>
          <pc:sldMk cId="3472964082" sldId="550"/>
        </pc:sldMkLst>
        <pc:spChg chg="mod">
          <ac:chgData name="Caldarelli, Leslie" userId="S::lcaldarelli_luriechildrens.org#ext#@nuwildcat.onmicrosoft.com::cd79b54d-c14e-4199-a04a-39c6f592e710" providerId="AD" clId="Web-{BC047B72-8F18-01C2-FA60-A38A99380270}" dt="2023-10-31T04:32:54.002" v="879" actId="20577"/>
          <ac:spMkLst>
            <pc:docMk/>
            <pc:sldMk cId="3472964082" sldId="550"/>
            <ac:spMk id="51"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32:45.548" v="878" actId="14100"/>
        <pc:sldMkLst>
          <pc:docMk/>
          <pc:sldMk cId="2562283095" sldId="551"/>
        </pc:sldMkLst>
        <pc:spChg chg="mod">
          <ac:chgData name="Caldarelli, Leslie" userId="S::lcaldarelli_luriechildrens.org#ext#@nuwildcat.onmicrosoft.com::cd79b54d-c14e-4199-a04a-39c6f592e710" providerId="AD" clId="Web-{BC047B72-8F18-01C2-FA60-A38A99380270}" dt="2023-10-31T04:32:45.548" v="878" actId="14100"/>
          <ac:spMkLst>
            <pc:docMk/>
            <pc:sldMk cId="2562283095" sldId="551"/>
            <ac:spMk id="53" creationId="{00000000-0000-0000-0000-000000000000}"/>
          </ac:spMkLst>
        </pc:spChg>
      </pc:sldChg>
      <pc:sldChg chg="modSp modNotes">
        <pc:chgData name="Caldarelli, Leslie" userId="S::lcaldarelli_luriechildrens.org#ext#@nuwildcat.onmicrosoft.com::cd79b54d-c14e-4199-a04a-39c6f592e710" providerId="AD" clId="Web-{BC047B72-8F18-01C2-FA60-A38A99380270}" dt="2023-10-31T03:10:18.471" v="119"/>
        <pc:sldMkLst>
          <pc:docMk/>
          <pc:sldMk cId="714682852" sldId="552"/>
        </pc:sldMkLst>
        <pc:spChg chg="mod">
          <ac:chgData name="Caldarelli, Leslie" userId="S::lcaldarelli_luriechildrens.org#ext#@nuwildcat.onmicrosoft.com::cd79b54d-c14e-4199-a04a-39c6f592e710" providerId="AD" clId="Web-{BC047B72-8F18-01C2-FA60-A38A99380270}" dt="2023-10-31T03:04:54.368" v="85" actId="20577"/>
          <ac:spMkLst>
            <pc:docMk/>
            <pc:sldMk cId="714682852" sldId="552"/>
            <ac:spMk id="2" creationId="{966FAC69-62AA-D40E-C4BD-DAD5BF599C69}"/>
          </ac:spMkLst>
        </pc:spChg>
        <pc:spChg chg="mod">
          <ac:chgData name="Caldarelli, Leslie" userId="S::lcaldarelli_luriechildrens.org#ext#@nuwildcat.onmicrosoft.com::cd79b54d-c14e-4199-a04a-39c6f592e710" providerId="AD" clId="Web-{BC047B72-8F18-01C2-FA60-A38A99380270}" dt="2023-10-31T03:06:44.091" v="95" actId="1076"/>
          <ac:spMkLst>
            <pc:docMk/>
            <pc:sldMk cId="714682852" sldId="552"/>
            <ac:spMk id="6" creationId="{D07E332C-4452-C8D5-59CC-C21023DE9083}"/>
          </ac:spMkLst>
        </pc:spChg>
        <pc:spChg chg="mod">
          <ac:chgData name="Caldarelli, Leslie" userId="S::lcaldarelli_luriechildrens.org#ext#@nuwildcat.onmicrosoft.com::cd79b54d-c14e-4199-a04a-39c6f592e710" providerId="AD" clId="Web-{BC047B72-8F18-01C2-FA60-A38A99380270}" dt="2023-10-31T03:09:24.017" v="118" actId="20577"/>
          <ac:spMkLst>
            <pc:docMk/>
            <pc:sldMk cId="714682852" sldId="552"/>
            <ac:spMk id="19" creationId="{8F56D947-B18E-6292-FB32-17E6BBE1C7B7}"/>
          </ac:spMkLst>
        </pc:spChg>
        <pc:spChg chg="mod">
          <ac:chgData name="Caldarelli, Leslie" userId="S::lcaldarelli_luriechildrens.org#ext#@nuwildcat.onmicrosoft.com::cd79b54d-c14e-4199-a04a-39c6f592e710" providerId="AD" clId="Web-{BC047B72-8F18-01C2-FA60-A38A99380270}" dt="2023-10-31T03:09:13.643" v="117" actId="14100"/>
          <ac:spMkLst>
            <pc:docMk/>
            <pc:sldMk cId="714682852" sldId="552"/>
            <ac:spMk id="20" creationId="{A9936A2B-2042-0897-3CCF-AC6DEB6DE9D0}"/>
          </ac:spMkLst>
        </pc:spChg>
        <pc:spChg chg="mod">
          <ac:chgData name="Caldarelli, Leslie" userId="S::lcaldarelli_luriechildrens.org#ext#@nuwildcat.onmicrosoft.com::cd79b54d-c14e-4199-a04a-39c6f592e710" providerId="AD" clId="Web-{BC047B72-8F18-01C2-FA60-A38A99380270}" dt="2023-10-31T03:06:05.964" v="93" actId="1076"/>
          <ac:spMkLst>
            <pc:docMk/>
            <pc:sldMk cId="714682852" sldId="552"/>
            <ac:spMk id="23" creationId="{01161B8F-C665-1E6B-2E22-400EFC600810}"/>
          </ac:spMkLst>
        </pc:spChg>
        <pc:spChg chg="mod">
          <ac:chgData name="Caldarelli, Leslie" userId="S::lcaldarelli_luriechildrens.org#ext#@nuwildcat.onmicrosoft.com::cd79b54d-c14e-4199-a04a-39c6f592e710" providerId="AD" clId="Web-{BC047B72-8F18-01C2-FA60-A38A99380270}" dt="2023-10-31T03:06:32.028" v="94" actId="1076"/>
          <ac:spMkLst>
            <pc:docMk/>
            <pc:sldMk cId="714682852" sldId="552"/>
            <ac:spMk id="39" creationId="{E29ABAB9-1C54-B808-EDD4-5D83CC77687C}"/>
          </ac:spMkLst>
        </pc:spChg>
      </pc:sldChg>
      <pc:sldChg chg="modSp">
        <pc:chgData name="Caldarelli, Leslie" userId="S::lcaldarelli_luriechildrens.org#ext#@nuwildcat.onmicrosoft.com::cd79b54d-c14e-4199-a04a-39c6f592e710" providerId="AD" clId="Web-{BC047B72-8F18-01C2-FA60-A38A99380270}" dt="2023-10-31T04:02:15.418" v="537" actId="1076"/>
        <pc:sldMkLst>
          <pc:docMk/>
          <pc:sldMk cId="3536510335" sldId="553"/>
        </pc:sldMkLst>
        <pc:spChg chg="mod">
          <ac:chgData name="Caldarelli, Leslie" userId="S::lcaldarelli_luriechildrens.org#ext#@nuwildcat.onmicrosoft.com::cd79b54d-c14e-4199-a04a-39c6f592e710" providerId="AD" clId="Web-{BC047B72-8F18-01C2-FA60-A38A99380270}" dt="2023-10-31T03:22:55.767" v="184" actId="1076"/>
          <ac:spMkLst>
            <pc:docMk/>
            <pc:sldMk cId="3536510335" sldId="553"/>
            <ac:spMk id="3" creationId="{DF1C7F80-41A4-BEE0-AE4A-B924B459AE73}"/>
          </ac:spMkLst>
        </pc:spChg>
        <pc:spChg chg="mod">
          <ac:chgData name="Caldarelli, Leslie" userId="S::lcaldarelli_luriechildrens.org#ext#@nuwildcat.onmicrosoft.com::cd79b54d-c14e-4199-a04a-39c6f592e710" providerId="AD" clId="Web-{BC047B72-8F18-01C2-FA60-A38A99380270}" dt="2023-10-31T04:02:15.418" v="537" actId="1076"/>
          <ac:spMkLst>
            <pc:docMk/>
            <pc:sldMk cId="3536510335" sldId="553"/>
            <ac:spMk id="10" creationId="{7FA2B65B-6DF5-1F48-C692-646D2CEF0E2F}"/>
          </ac:spMkLst>
        </pc:spChg>
        <pc:spChg chg="mod">
          <ac:chgData name="Caldarelli, Leslie" userId="S::lcaldarelli_luriechildrens.org#ext#@nuwildcat.onmicrosoft.com::cd79b54d-c14e-4199-a04a-39c6f592e710" providerId="AD" clId="Web-{BC047B72-8F18-01C2-FA60-A38A99380270}" dt="2023-10-31T03:23:04.314" v="185" actId="1076"/>
          <ac:spMkLst>
            <pc:docMk/>
            <pc:sldMk cId="3536510335" sldId="553"/>
            <ac:spMk id="11" creationId="{50FB034E-6814-0511-ABE9-55AF46337AE4}"/>
          </ac:spMkLst>
        </pc:spChg>
      </pc:sldChg>
      <pc:sldChg chg="modSp modNotes">
        <pc:chgData name="Caldarelli, Leslie" userId="S::lcaldarelli_luriechildrens.org#ext#@nuwildcat.onmicrosoft.com::cd79b54d-c14e-4199-a04a-39c6f592e710" providerId="AD" clId="Web-{BC047B72-8F18-01C2-FA60-A38A99380270}" dt="2023-10-31T03:17:05.691" v="150"/>
        <pc:sldMkLst>
          <pc:docMk/>
          <pc:sldMk cId="1231844700" sldId="554"/>
        </pc:sldMkLst>
        <pc:spChg chg="mod">
          <ac:chgData name="Caldarelli, Leslie" userId="S::lcaldarelli_luriechildrens.org#ext#@nuwildcat.onmicrosoft.com::cd79b54d-c14e-4199-a04a-39c6f592e710" providerId="AD" clId="Web-{BC047B72-8F18-01C2-FA60-A38A99380270}" dt="2023-10-31T03:16:56.675" v="149" actId="14100"/>
          <ac:spMkLst>
            <pc:docMk/>
            <pc:sldMk cId="1231844700" sldId="554"/>
            <ac:spMk id="2" creationId="{61FD53C4-A666-522F-F9AB-081D90D541D1}"/>
          </ac:spMkLst>
        </pc:spChg>
      </pc:sldChg>
      <pc:sldChg chg="addSp delSp modSp">
        <pc:chgData name="Caldarelli, Leslie" userId="S::lcaldarelli_luriechildrens.org#ext#@nuwildcat.onmicrosoft.com::cd79b54d-c14e-4199-a04a-39c6f592e710" providerId="AD" clId="Web-{BC047B72-8F18-01C2-FA60-A38A99380270}" dt="2023-10-31T03:16:11.346" v="143" actId="20577"/>
        <pc:sldMkLst>
          <pc:docMk/>
          <pc:sldMk cId="1522616096" sldId="555"/>
        </pc:sldMkLst>
        <pc:spChg chg="mod">
          <ac:chgData name="Caldarelli, Leslie" userId="S::lcaldarelli_luriechildrens.org#ext#@nuwildcat.onmicrosoft.com::cd79b54d-c14e-4199-a04a-39c6f592e710" providerId="AD" clId="Web-{BC047B72-8F18-01C2-FA60-A38A99380270}" dt="2023-10-31T03:10:36.831" v="120" actId="20577"/>
          <ac:spMkLst>
            <pc:docMk/>
            <pc:sldMk cId="1522616096" sldId="555"/>
            <ac:spMk id="2" creationId="{F40AE700-1499-46B3-C70A-C723802CD680}"/>
          </ac:spMkLst>
        </pc:spChg>
        <pc:spChg chg="del">
          <ac:chgData name="Caldarelli, Leslie" userId="S::lcaldarelli_luriechildrens.org#ext#@nuwildcat.onmicrosoft.com::cd79b54d-c14e-4199-a04a-39c6f592e710" providerId="AD" clId="Web-{BC047B72-8F18-01C2-FA60-A38A99380270}" dt="2023-10-31T03:11:02.722" v="121"/>
          <ac:spMkLst>
            <pc:docMk/>
            <pc:sldMk cId="1522616096" sldId="555"/>
            <ac:spMk id="3" creationId="{1C814D25-66C5-ACFC-3102-DB1C47E8E790}"/>
          </ac:spMkLst>
        </pc:spChg>
        <pc:spChg chg="mod">
          <ac:chgData name="Caldarelli, Leslie" userId="S::lcaldarelli_luriechildrens.org#ext#@nuwildcat.onmicrosoft.com::cd79b54d-c14e-4199-a04a-39c6f592e710" providerId="AD" clId="Web-{BC047B72-8F18-01C2-FA60-A38A99380270}" dt="2023-10-31T03:14:41.121" v="132" actId="20577"/>
          <ac:spMkLst>
            <pc:docMk/>
            <pc:sldMk cId="1522616096" sldId="555"/>
            <ac:spMk id="4" creationId="{3D49CA6C-78ED-3124-7EE3-BBDDC9988910}"/>
          </ac:spMkLst>
        </pc:spChg>
        <pc:spChg chg="add del mod">
          <ac:chgData name="Caldarelli, Leslie" userId="S::lcaldarelli_luriechildrens.org#ext#@nuwildcat.onmicrosoft.com::cd79b54d-c14e-4199-a04a-39c6f592e710" providerId="AD" clId="Web-{BC047B72-8F18-01C2-FA60-A38A99380270}" dt="2023-10-31T03:11:32.879" v="126"/>
          <ac:spMkLst>
            <pc:docMk/>
            <pc:sldMk cId="1522616096" sldId="555"/>
            <ac:spMk id="10" creationId="{055319F5-46DE-86F3-1826-03B62D23B87B}"/>
          </ac:spMkLst>
        </pc:spChg>
        <pc:spChg chg="add mod">
          <ac:chgData name="Caldarelli, Leslie" userId="S::lcaldarelli_luriechildrens.org#ext#@nuwildcat.onmicrosoft.com::cd79b54d-c14e-4199-a04a-39c6f592e710" providerId="AD" clId="Web-{BC047B72-8F18-01C2-FA60-A38A99380270}" dt="2023-10-31T03:16:11.346" v="143" actId="20577"/>
          <ac:spMkLst>
            <pc:docMk/>
            <pc:sldMk cId="1522616096" sldId="555"/>
            <ac:spMk id="12" creationId="{FFCC26E6-1C5C-8419-8626-BD0157947192}"/>
          </ac:spMkLst>
        </pc:spChg>
      </pc:sldChg>
      <pc:sldChg chg="modSp modNotes">
        <pc:chgData name="Caldarelli, Leslie" userId="S::lcaldarelli_luriechildrens.org#ext#@nuwildcat.onmicrosoft.com::cd79b54d-c14e-4199-a04a-39c6f592e710" providerId="AD" clId="Web-{BC047B72-8F18-01C2-FA60-A38A99380270}" dt="2023-10-31T03:53:07.538" v="468"/>
        <pc:sldMkLst>
          <pc:docMk/>
          <pc:sldMk cId="1514756035" sldId="556"/>
        </pc:sldMkLst>
        <pc:spChg chg="mod">
          <ac:chgData name="Caldarelli, Leslie" userId="S::lcaldarelli_luriechildrens.org#ext#@nuwildcat.onmicrosoft.com::cd79b54d-c14e-4199-a04a-39c6f592e710" providerId="AD" clId="Web-{BC047B72-8F18-01C2-FA60-A38A99380270}" dt="2023-10-31T02:12:25.897" v="46" actId="14100"/>
          <ac:spMkLst>
            <pc:docMk/>
            <pc:sldMk cId="1514756035" sldId="556"/>
            <ac:spMk id="2" creationId="{8C7182B8-D745-6D49-E823-6B4C357520BB}"/>
          </ac:spMkLst>
        </pc:spChg>
        <pc:spChg chg="mod">
          <ac:chgData name="Caldarelli, Leslie" userId="S::lcaldarelli_luriechildrens.org#ext#@nuwildcat.onmicrosoft.com::cd79b54d-c14e-4199-a04a-39c6f592e710" providerId="AD" clId="Web-{BC047B72-8F18-01C2-FA60-A38A99380270}" dt="2023-10-31T03:03:46.193" v="71" actId="20577"/>
          <ac:spMkLst>
            <pc:docMk/>
            <pc:sldMk cId="1514756035" sldId="556"/>
            <ac:spMk id="48" creationId="{9DA002CE-213B-0EFE-03DC-C3DB65BCF003}"/>
          </ac:spMkLst>
        </pc:spChg>
        <pc:spChg chg="mod">
          <ac:chgData name="Caldarelli, Leslie" userId="S::lcaldarelli_luriechildrens.org#ext#@nuwildcat.onmicrosoft.com::cd79b54d-c14e-4199-a04a-39c6f592e710" providerId="AD" clId="Web-{BC047B72-8F18-01C2-FA60-A38A99380270}" dt="2023-10-31T03:03:03.004" v="65" actId="1076"/>
          <ac:spMkLst>
            <pc:docMk/>
            <pc:sldMk cId="1514756035" sldId="556"/>
            <ac:spMk id="50" creationId="{484FA518-5005-04AD-A148-23B555389D18}"/>
          </ac:spMkLst>
        </pc:spChg>
      </pc:sldChg>
      <pc:sldChg chg="modSp">
        <pc:chgData name="Caldarelli, Leslie" userId="S::lcaldarelli_luriechildrens.org#ext#@nuwildcat.onmicrosoft.com::cd79b54d-c14e-4199-a04a-39c6f592e710" providerId="AD" clId="Web-{BC047B72-8F18-01C2-FA60-A38A99380270}" dt="2023-10-31T03:18:25.335" v="158" actId="20577"/>
        <pc:sldMkLst>
          <pc:docMk/>
          <pc:sldMk cId="773696652" sldId="558"/>
        </pc:sldMkLst>
        <pc:spChg chg="mod">
          <ac:chgData name="Caldarelli, Leslie" userId="S::lcaldarelli_luriechildrens.org#ext#@nuwildcat.onmicrosoft.com::cd79b54d-c14e-4199-a04a-39c6f592e710" providerId="AD" clId="Web-{BC047B72-8F18-01C2-FA60-A38A99380270}" dt="2023-10-31T03:17:23.426" v="151" actId="20577"/>
          <ac:spMkLst>
            <pc:docMk/>
            <pc:sldMk cId="773696652" sldId="558"/>
            <ac:spMk id="2" creationId="{F40AE700-1499-46B3-C70A-C723802CD680}"/>
          </ac:spMkLst>
        </pc:spChg>
        <pc:spChg chg="mod">
          <ac:chgData name="Caldarelli, Leslie" userId="S::lcaldarelli_luriechildrens.org#ext#@nuwildcat.onmicrosoft.com::cd79b54d-c14e-4199-a04a-39c6f592e710" providerId="AD" clId="Web-{BC047B72-8F18-01C2-FA60-A38A99380270}" dt="2023-10-31T03:18:25.335" v="158" actId="20577"/>
          <ac:spMkLst>
            <pc:docMk/>
            <pc:sldMk cId="773696652" sldId="558"/>
            <ac:spMk id="3" creationId="{1C814D25-66C5-ACFC-3102-DB1C47E8E790}"/>
          </ac:spMkLst>
        </pc:spChg>
        <pc:spChg chg="mod">
          <ac:chgData name="Caldarelli, Leslie" userId="S::lcaldarelli_luriechildrens.org#ext#@nuwildcat.onmicrosoft.com::cd79b54d-c14e-4199-a04a-39c6f592e710" providerId="AD" clId="Web-{BC047B72-8F18-01C2-FA60-A38A99380270}" dt="2023-10-31T03:18:16.382" v="157" actId="20577"/>
          <ac:spMkLst>
            <pc:docMk/>
            <pc:sldMk cId="773696652" sldId="558"/>
            <ac:spMk id="5" creationId="{19C1D751-08DD-BD76-1181-C434C9849C27}"/>
          </ac:spMkLst>
        </pc:spChg>
        <pc:spChg chg="mod">
          <ac:chgData name="Caldarelli, Leslie" userId="S::lcaldarelli_luriechildrens.org#ext#@nuwildcat.onmicrosoft.com::cd79b54d-c14e-4199-a04a-39c6f592e710" providerId="AD" clId="Web-{BC047B72-8F18-01C2-FA60-A38A99380270}" dt="2023-10-31T03:17:58.615" v="154" actId="1076"/>
          <ac:spMkLst>
            <pc:docMk/>
            <pc:sldMk cId="773696652" sldId="558"/>
            <ac:spMk id="7" creationId="{98AEAD99-3E06-8D3F-3F0C-CDC9176523B6}"/>
          </ac:spMkLst>
        </pc:spChg>
      </pc:sldChg>
      <pc:sldChg chg="modSp">
        <pc:chgData name="Caldarelli, Leslie" userId="S::lcaldarelli_luriechildrens.org#ext#@nuwildcat.onmicrosoft.com::cd79b54d-c14e-4199-a04a-39c6f592e710" providerId="AD" clId="Web-{BC047B72-8F18-01C2-FA60-A38A99380270}" dt="2023-10-31T04:33:03.814" v="908" actId="20577"/>
        <pc:sldMkLst>
          <pc:docMk/>
          <pc:sldMk cId="3067427377" sldId="560"/>
        </pc:sldMkLst>
        <pc:spChg chg="mod">
          <ac:chgData name="Caldarelli, Leslie" userId="S::lcaldarelli_luriechildrens.org#ext#@nuwildcat.onmicrosoft.com::cd79b54d-c14e-4199-a04a-39c6f592e710" providerId="AD" clId="Web-{BC047B72-8F18-01C2-FA60-A38A99380270}" dt="2023-10-31T04:33:03.814" v="908" actId="20577"/>
          <ac:spMkLst>
            <pc:docMk/>
            <pc:sldMk cId="3067427377" sldId="560"/>
            <ac:spMk id="2" creationId="{85302686-DF06-3304-66CB-1E21F4D086DC}"/>
          </ac:spMkLst>
        </pc:spChg>
      </pc:sldChg>
      <pc:sldChg chg="modSp">
        <pc:chgData name="Caldarelli, Leslie" userId="S::lcaldarelli_luriechildrens.org#ext#@nuwildcat.onmicrosoft.com::cd79b54d-c14e-4199-a04a-39c6f592e710" providerId="AD" clId="Web-{BC047B72-8F18-01C2-FA60-A38A99380270}" dt="2023-10-31T04:12:21.956" v="658" actId="14100"/>
        <pc:sldMkLst>
          <pc:docMk/>
          <pc:sldMk cId="3845418986" sldId="563"/>
        </pc:sldMkLst>
        <pc:spChg chg="mod">
          <ac:chgData name="Caldarelli, Leslie" userId="S::lcaldarelli_luriechildrens.org#ext#@nuwildcat.onmicrosoft.com::cd79b54d-c14e-4199-a04a-39c6f592e710" providerId="AD" clId="Web-{BC047B72-8F18-01C2-FA60-A38A99380270}" dt="2023-10-31T04:12:21.956" v="658" actId="14100"/>
          <ac:spMkLst>
            <pc:docMk/>
            <pc:sldMk cId="3845418986" sldId="563"/>
            <ac:spMk id="33" creationId="{5C2A740E-7A02-31A5-EAAF-9CD8C0A41D47}"/>
          </ac:spMkLst>
        </pc:spChg>
        <pc:spChg chg="mod">
          <ac:chgData name="Caldarelli, Leslie" userId="S::lcaldarelli_luriechildrens.org#ext#@nuwildcat.onmicrosoft.com::cd79b54d-c14e-4199-a04a-39c6f592e710" providerId="AD" clId="Web-{BC047B72-8F18-01C2-FA60-A38A99380270}" dt="2023-10-31T04:11:12.594" v="650" actId="14100"/>
          <ac:spMkLst>
            <pc:docMk/>
            <pc:sldMk cId="3845418986" sldId="563"/>
            <ac:spMk id="49" creationId="{4FD6BDF7-E6F5-6DC8-9332-E3E0DB7057F0}"/>
          </ac:spMkLst>
        </pc:spChg>
        <pc:spChg chg="mod">
          <ac:chgData name="Caldarelli, Leslie" userId="S::lcaldarelli_luriechildrens.org#ext#@nuwildcat.onmicrosoft.com::cd79b54d-c14e-4199-a04a-39c6f592e710" providerId="AD" clId="Web-{BC047B72-8F18-01C2-FA60-A38A99380270}" dt="2023-10-31T04:12:13.190" v="657" actId="14100"/>
          <ac:spMkLst>
            <pc:docMk/>
            <pc:sldMk cId="3845418986" sldId="563"/>
            <ac:spMk id="51" creationId="{233EFC40-2641-E728-F412-79899FC6D0D7}"/>
          </ac:spMkLst>
        </pc:spChg>
      </pc:sldChg>
      <pc:sldChg chg="modSp">
        <pc:chgData name="Caldarelli, Leslie" userId="S::lcaldarelli_luriechildrens.org#ext#@nuwildcat.onmicrosoft.com::cd79b54d-c14e-4199-a04a-39c6f592e710" providerId="AD" clId="Web-{BC047B72-8F18-01C2-FA60-A38A99380270}" dt="2023-10-31T04:10:55.515" v="648" actId="1076"/>
        <pc:sldMkLst>
          <pc:docMk/>
          <pc:sldMk cId="1536434647" sldId="564"/>
        </pc:sldMkLst>
        <pc:spChg chg="mod">
          <ac:chgData name="Caldarelli, Leslie" userId="S::lcaldarelli_luriechildrens.org#ext#@nuwildcat.onmicrosoft.com::cd79b54d-c14e-4199-a04a-39c6f592e710" providerId="AD" clId="Web-{BC047B72-8F18-01C2-FA60-A38A99380270}" dt="2023-10-31T04:10:29.577" v="645" actId="14100"/>
          <ac:spMkLst>
            <pc:docMk/>
            <pc:sldMk cId="1536434647" sldId="564"/>
            <ac:spMk id="40" creationId="{00000000-0000-0000-0000-000000000000}"/>
          </ac:spMkLst>
        </pc:spChg>
        <pc:spChg chg="mod">
          <ac:chgData name="Caldarelli, Leslie" userId="S::lcaldarelli_luriechildrens.org#ext#@nuwildcat.onmicrosoft.com::cd79b54d-c14e-4199-a04a-39c6f592e710" providerId="AD" clId="Web-{BC047B72-8F18-01C2-FA60-A38A99380270}" dt="2023-10-31T04:10:55.515" v="648" actId="1076"/>
          <ac:spMkLst>
            <pc:docMk/>
            <pc:sldMk cId="1536434647" sldId="564"/>
            <ac:spMk id="41" creationId="{00000000-0000-0000-0000-000000000000}"/>
          </ac:spMkLst>
        </pc:spChg>
        <pc:spChg chg="mod">
          <ac:chgData name="Caldarelli, Leslie" userId="S::lcaldarelli_luriechildrens.org#ext#@nuwildcat.onmicrosoft.com::cd79b54d-c14e-4199-a04a-39c6f592e710" providerId="AD" clId="Web-{BC047B72-8F18-01C2-FA60-A38A99380270}" dt="2023-10-31T04:10:21.014" v="644" actId="14100"/>
          <ac:spMkLst>
            <pc:docMk/>
            <pc:sldMk cId="1536434647" sldId="564"/>
            <ac:spMk id="47" creationId="{00000000-0000-0000-0000-000000000000}"/>
          </ac:spMkLst>
        </pc:spChg>
        <pc:spChg chg="mod">
          <ac:chgData name="Caldarelli, Leslie" userId="S::lcaldarelli_luriechildrens.org#ext#@nuwildcat.onmicrosoft.com::cd79b54d-c14e-4199-a04a-39c6f592e710" providerId="AD" clId="Web-{BC047B72-8F18-01C2-FA60-A38A99380270}" dt="2023-10-31T04:09:55.138" v="640" actId="1076"/>
          <ac:spMkLst>
            <pc:docMk/>
            <pc:sldMk cId="1536434647" sldId="564"/>
            <ac:spMk id="51" creationId="{DADB789B-D1D8-A439-C1FC-0121F131E706}"/>
          </ac:spMkLst>
        </pc:spChg>
        <pc:spChg chg="mod">
          <ac:chgData name="Caldarelli, Leslie" userId="S::lcaldarelli_luriechildrens.org#ext#@nuwildcat.onmicrosoft.com::cd79b54d-c14e-4199-a04a-39c6f592e710" providerId="AD" clId="Web-{BC047B72-8F18-01C2-FA60-A38A99380270}" dt="2023-10-31T04:10:03.935" v="641" actId="1076"/>
          <ac:spMkLst>
            <pc:docMk/>
            <pc:sldMk cId="1536434647" sldId="564"/>
            <ac:spMk id="53" creationId="{7AA1F7FA-AA52-FED3-1784-BE66C8A7FBFC}"/>
          </ac:spMkLst>
        </pc:spChg>
      </pc:sldChg>
      <pc:sldChg chg="modSp">
        <pc:chgData name="Caldarelli, Leslie" userId="S::lcaldarelli_luriechildrens.org#ext#@nuwildcat.onmicrosoft.com::cd79b54d-c14e-4199-a04a-39c6f592e710" providerId="AD" clId="Web-{BC047B72-8F18-01C2-FA60-A38A99380270}" dt="2023-10-31T04:04:35.001" v="597" actId="20577"/>
        <pc:sldMkLst>
          <pc:docMk/>
          <pc:sldMk cId="3004937174" sldId="565"/>
        </pc:sldMkLst>
        <pc:spChg chg="mod">
          <ac:chgData name="Caldarelli, Leslie" userId="S::lcaldarelli_luriechildrens.org#ext#@nuwildcat.onmicrosoft.com::cd79b54d-c14e-4199-a04a-39c6f592e710" providerId="AD" clId="Web-{BC047B72-8F18-01C2-FA60-A38A99380270}" dt="2023-10-31T04:04:34.626" v="591" actId="14100"/>
          <ac:spMkLst>
            <pc:docMk/>
            <pc:sldMk cId="3004937174" sldId="565"/>
            <ac:spMk id="23" creationId="{00000000-0000-0000-0000-000000000000}"/>
          </ac:spMkLst>
        </pc:spChg>
        <pc:spChg chg="mod">
          <ac:chgData name="Caldarelli, Leslie" userId="S::lcaldarelli_luriechildrens.org#ext#@nuwildcat.onmicrosoft.com::cd79b54d-c14e-4199-a04a-39c6f592e710" providerId="AD" clId="Web-{BC047B72-8F18-01C2-FA60-A38A99380270}" dt="2023-10-31T04:04:35.001" v="597" actId="20577"/>
          <ac:spMkLst>
            <pc:docMk/>
            <pc:sldMk cId="3004937174" sldId="565"/>
            <ac:spMk id="28" creationId="{00000000-0000-0000-0000-000000000000}"/>
          </ac:spMkLst>
        </pc:spChg>
        <pc:spChg chg="mod">
          <ac:chgData name="Caldarelli, Leslie" userId="S::lcaldarelli_luriechildrens.org#ext#@nuwildcat.onmicrosoft.com::cd79b54d-c14e-4199-a04a-39c6f592e710" providerId="AD" clId="Web-{BC047B72-8F18-01C2-FA60-A38A99380270}" dt="2023-10-31T04:04:34.720" v="593" actId="14100"/>
          <ac:spMkLst>
            <pc:docMk/>
            <pc:sldMk cId="3004937174" sldId="565"/>
            <ac:spMk id="41"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09:02.605" v="635" actId="20577"/>
        <pc:sldMkLst>
          <pc:docMk/>
          <pc:sldMk cId="3419957415" sldId="577"/>
        </pc:sldMkLst>
        <pc:spChg chg="mod">
          <ac:chgData name="Caldarelli, Leslie" userId="S::lcaldarelli_luriechildrens.org#ext#@nuwildcat.onmicrosoft.com::cd79b54d-c14e-4199-a04a-39c6f592e710" providerId="AD" clId="Web-{BC047B72-8F18-01C2-FA60-A38A99380270}" dt="2023-10-31T04:09:02.605" v="635" actId="20577"/>
          <ac:spMkLst>
            <pc:docMk/>
            <pc:sldMk cId="3419957415" sldId="577"/>
            <ac:spMk id="53" creationId="{00000000-0000-0000-0000-000000000000}"/>
          </ac:spMkLst>
        </pc:spChg>
        <pc:spChg chg="mod">
          <ac:chgData name="Caldarelli, Leslie" userId="S::lcaldarelli_luriechildrens.org#ext#@nuwildcat.onmicrosoft.com::cd79b54d-c14e-4199-a04a-39c6f592e710" providerId="AD" clId="Web-{BC047B72-8F18-01C2-FA60-A38A99380270}" dt="2023-10-31T04:08:36.385" v="631" actId="14100"/>
          <ac:spMkLst>
            <pc:docMk/>
            <pc:sldMk cId="3419957415" sldId="577"/>
            <ac:spMk id="57" creationId="{00000000-0000-0000-0000-000000000000}"/>
          </ac:spMkLst>
        </pc:spChg>
      </pc:sldChg>
      <pc:sldChg chg="modSp modNotes">
        <pc:chgData name="Caldarelli, Leslie" userId="S::lcaldarelli_luriechildrens.org#ext#@nuwildcat.onmicrosoft.com::cd79b54d-c14e-4199-a04a-39c6f592e710" providerId="AD" clId="Web-{BC047B72-8F18-01C2-FA60-A38A99380270}" dt="2023-10-31T04:26:17.362" v="809"/>
        <pc:sldMkLst>
          <pc:docMk/>
          <pc:sldMk cId="3030449316" sldId="579"/>
        </pc:sldMkLst>
        <pc:spChg chg="mod">
          <ac:chgData name="Caldarelli, Leslie" userId="S::lcaldarelli_luriechildrens.org#ext#@nuwildcat.onmicrosoft.com::cd79b54d-c14e-4199-a04a-39c6f592e710" providerId="AD" clId="Web-{BC047B72-8F18-01C2-FA60-A38A99380270}" dt="2023-10-31T04:18:28.688" v="756" actId="20577"/>
          <ac:spMkLst>
            <pc:docMk/>
            <pc:sldMk cId="3030449316" sldId="579"/>
            <ac:spMk id="44" creationId="{00000000-0000-0000-0000-000000000000}"/>
          </ac:spMkLst>
        </pc:spChg>
        <pc:spChg chg="mod">
          <ac:chgData name="Caldarelli, Leslie" userId="S::lcaldarelli_luriechildrens.org#ext#@nuwildcat.onmicrosoft.com::cd79b54d-c14e-4199-a04a-39c6f592e710" providerId="AD" clId="Web-{BC047B72-8F18-01C2-FA60-A38A99380270}" dt="2023-10-31T04:25:07.797" v="802" actId="1076"/>
          <ac:spMkLst>
            <pc:docMk/>
            <pc:sldMk cId="3030449316" sldId="579"/>
            <ac:spMk id="47"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14:17.163" v="707" actId="1076"/>
        <pc:sldMkLst>
          <pc:docMk/>
          <pc:sldMk cId="3429940818" sldId="581"/>
        </pc:sldMkLst>
        <pc:spChg chg="mod">
          <ac:chgData name="Caldarelli, Leslie" userId="S::lcaldarelli_luriechildrens.org#ext#@nuwildcat.onmicrosoft.com::cd79b54d-c14e-4199-a04a-39c6f592e710" providerId="AD" clId="Web-{BC047B72-8F18-01C2-FA60-A38A99380270}" dt="2023-10-31T04:12:48.425" v="663" actId="20577"/>
          <ac:spMkLst>
            <pc:docMk/>
            <pc:sldMk cId="3429940818" sldId="581"/>
            <ac:spMk id="62" creationId="{00000000-0000-0000-0000-000000000000}"/>
          </ac:spMkLst>
        </pc:spChg>
        <pc:grpChg chg="mod">
          <ac:chgData name="Caldarelli, Leslie" userId="S::lcaldarelli_luriechildrens.org#ext#@nuwildcat.onmicrosoft.com::cd79b54d-c14e-4199-a04a-39c6f592e710" providerId="AD" clId="Web-{BC047B72-8F18-01C2-FA60-A38A99380270}" dt="2023-10-31T04:14:17.163" v="707" actId="1076"/>
          <ac:grpSpMkLst>
            <pc:docMk/>
            <pc:sldMk cId="3429940818" sldId="581"/>
            <ac:grpSpMk id="6" creationId="{00000000-0000-0000-0000-000000000000}"/>
          </ac:grpSpMkLst>
        </pc:grpChg>
      </pc:sldChg>
      <pc:sldChg chg="modSp modNotes">
        <pc:chgData name="Caldarelli, Leslie" userId="S::lcaldarelli_luriechildrens.org#ext#@nuwildcat.onmicrosoft.com::cd79b54d-c14e-4199-a04a-39c6f592e710" providerId="AD" clId="Web-{BC047B72-8F18-01C2-FA60-A38A99380270}" dt="2023-10-31T04:05:26.956" v="608" actId="20577"/>
        <pc:sldMkLst>
          <pc:docMk/>
          <pc:sldMk cId="3870927286" sldId="583"/>
        </pc:sldMkLst>
        <pc:spChg chg="mod">
          <ac:chgData name="Caldarelli, Leslie" userId="S::lcaldarelli_luriechildrens.org#ext#@nuwildcat.onmicrosoft.com::cd79b54d-c14e-4199-a04a-39c6f592e710" providerId="AD" clId="Web-{BC047B72-8F18-01C2-FA60-A38A99380270}" dt="2023-10-31T03:37:37.894" v="300" actId="1076"/>
          <ac:spMkLst>
            <pc:docMk/>
            <pc:sldMk cId="3870927286" sldId="583"/>
            <ac:spMk id="2" creationId="{00000000-0000-0000-0000-000000000000}"/>
          </ac:spMkLst>
        </pc:spChg>
        <pc:spChg chg="mod">
          <ac:chgData name="Caldarelli, Leslie" userId="S::lcaldarelli_luriechildrens.org#ext#@nuwildcat.onmicrosoft.com::cd79b54d-c14e-4199-a04a-39c6f592e710" providerId="AD" clId="Web-{BC047B72-8F18-01C2-FA60-A38A99380270}" dt="2023-10-31T04:00:41.148" v="521" actId="20577"/>
          <ac:spMkLst>
            <pc:docMk/>
            <pc:sldMk cId="3870927286" sldId="583"/>
            <ac:spMk id="13" creationId="{00000000-0000-0000-0000-000000000000}"/>
          </ac:spMkLst>
        </pc:spChg>
        <pc:spChg chg="mod">
          <ac:chgData name="Caldarelli, Leslie" userId="S::lcaldarelli_luriechildrens.org#ext#@nuwildcat.onmicrosoft.com::cd79b54d-c14e-4199-a04a-39c6f592e710" providerId="AD" clId="Web-{BC047B72-8F18-01C2-FA60-A38A99380270}" dt="2023-10-31T03:58:48.738" v="510" actId="20577"/>
          <ac:spMkLst>
            <pc:docMk/>
            <pc:sldMk cId="3870927286" sldId="583"/>
            <ac:spMk id="27" creationId="{00000000-0000-0000-0000-000000000000}"/>
          </ac:spMkLst>
        </pc:spChg>
        <pc:spChg chg="mod">
          <ac:chgData name="Caldarelli, Leslie" userId="S::lcaldarelli_luriechildrens.org#ext#@nuwildcat.onmicrosoft.com::cd79b54d-c14e-4199-a04a-39c6f592e710" providerId="AD" clId="Web-{BC047B72-8F18-01C2-FA60-A38A99380270}" dt="2023-10-31T04:05:26.956" v="608" actId="20577"/>
          <ac:spMkLst>
            <pc:docMk/>
            <pc:sldMk cId="3870927286" sldId="583"/>
            <ac:spMk id="28" creationId="{00000000-0000-0000-0000-000000000000}"/>
          </ac:spMkLst>
        </pc:spChg>
        <pc:spChg chg="mod">
          <ac:chgData name="Caldarelli, Leslie" userId="S::lcaldarelli_luriechildrens.org#ext#@nuwildcat.onmicrosoft.com::cd79b54d-c14e-4199-a04a-39c6f592e710" providerId="AD" clId="Web-{BC047B72-8F18-01C2-FA60-A38A99380270}" dt="2023-10-31T03:57:29.251" v="503" actId="20577"/>
          <ac:spMkLst>
            <pc:docMk/>
            <pc:sldMk cId="3870927286" sldId="583"/>
            <ac:spMk id="39" creationId="{00000000-0000-0000-0000-000000000000}"/>
          </ac:spMkLst>
        </pc:spChg>
        <pc:spChg chg="mod">
          <ac:chgData name="Caldarelli, Leslie" userId="S::lcaldarelli_luriechildrens.org#ext#@nuwildcat.onmicrosoft.com::cd79b54d-c14e-4199-a04a-39c6f592e710" providerId="AD" clId="Web-{BC047B72-8F18-01C2-FA60-A38A99380270}" dt="2023-10-31T04:01:58.292" v="534" actId="1076"/>
          <ac:spMkLst>
            <pc:docMk/>
            <pc:sldMk cId="3870927286" sldId="583"/>
            <ac:spMk id="40" creationId="{00000000-0000-0000-0000-000000000000}"/>
          </ac:spMkLst>
        </pc:spChg>
        <pc:spChg chg="mod">
          <ac:chgData name="Caldarelli, Leslie" userId="S::lcaldarelli_luriechildrens.org#ext#@nuwildcat.onmicrosoft.com::cd79b54d-c14e-4199-a04a-39c6f592e710" providerId="AD" clId="Web-{BC047B72-8F18-01C2-FA60-A38A99380270}" dt="2023-10-31T03:37:29.300" v="299" actId="1076"/>
          <ac:spMkLst>
            <pc:docMk/>
            <pc:sldMk cId="3870927286" sldId="583"/>
            <ac:spMk id="51" creationId="{00000000-0000-0000-0000-000000000000}"/>
          </ac:spMkLst>
        </pc:spChg>
      </pc:sldChg>
      <pc:sldChg chg="modSp modNotes">
        <pc:chgData name="Caldarelli, Leslie" userId="S::lcaldarelli_luriechildrens.org#ext#@nuwildcat.onmicrosoft.com::cd79b54d-c14e-4199-a04a-39c6f592e710" providerId="AD" clId="Web-{BC047B72-8F18-01C2-FA60-A38A99380270}" dt="2023-10-31T03:53:25.023" v="469" actId="20577"/>
        <pc:sldMkLst>
          <pc:docMk/>
          <pc:sldMk cId="3573947264" sldId="584"/>
        </pc:sldMkLst>
        <pc:spChg chg="mod">
          <ac:chgData name="Caldarelli, Leslie" userId="S::lcaldarelli_luriechildrens.org#ext#@nuwildcat.onmicrosoft.com::cd79b54d-c14e-4199-a04a-39c6f592e710" providerId="AD" clId="Web-{BC047B72-8F18-01C2-FA60-A38A99380270}" dt="2023-10-31T03:53:25.023" v="469" actId="20577"/>
          <ac:spMkLst>
            <pc:docMk/>
            <pc:sldMk cId="3573947264" sldId="584"/>
            <ac:spMk id="2" creationId="{A6FAA70D-3B97-AAF4-599A-5BEF539C23CA}"/>
          </ac:spMkLst>
        </pc:spChg>
      </pc:sldChg>
      <pc:sldChg chg="modSp modNotes">
        <pc:chgData name="Caldarelli, Leslie" userId="S::lcaldarelli_luriechildrens.org#ext#@nuwildcat.onmicrosoft.com::cd79b54d-c14e-4199-a04a-39c6f592e710" providerId="AD" clId="Web-{BC047B72-8F18-01C2-FA60-A38A99380270}" dt="2023-10-31T04:30:28.418" v="851"/>
        <pc:sldMkLst>
          <pc:docMk/>
          <pc:sldMk cId="3561966490" sldId="585"/>
        </pc:sldMkLst>
        <pc:spChg chg="mod">
          <ac:chgData name="Caldarelli, Leslie" userId="S::lcaldarelli_luriechildrens.org#ext#@nuwildcat.onmicrosoft.com::cd79b54d-c14e-4199-a04a-39c6f592e710" providerId="AD" clId="Web-{BC047B72-8F18-01C2-FA60-A38A99380270}" dt="2023-10-31T04:26:26.065" v="810" actId="1076"/>
          <ac:spMkLst>
            <pc:docMk/>
            <pc:sldMk cId="3561966490" sldId="585"/>
            <ac:spMk id="4" creationId="{00000000-0000-0000-0000-000000000000}"/>
          </ac:spMkLst>
        </pc:spChg>
        <pc:spChg chg="mod">
          <ac:chgData name="Caldarelli, Leslie" userId="S::lcaldarelli_luriechildrens.org#ext#@nuwildcat.onmicrosoft.com::cd79b54d-c14e-4199-a04a-39c6f592e710" providerId="AD" clId="Web-{BC047B72-8F18-01C2-FA60-A38A99380270}" dt="2023-10-31T04:27:26.224" v="816" actId="20577"/>
          <ac:spMkLst>
            <pc:docMk/>
            <pc:sldMk cId="3561966490" sldId="585"/>
            <ac:spMk id="7" creationId="{00000000-0000-0000-0000-000000000000}"/>
          </ac:spMkLst>
        </pc:spChg>
        <pc:spChg chg="mod">
          <ac:chgData name="Caldarelli, Leslie" userId="S::lcaldarelli_luriechildrens.org#ext#@nuwildcat.onmicrosoft.com::cd79b54d-c14e-4199-a04a-39c6f592e710" providerId="AD" clId="Web-{BC047B72-8F18-01C2-FA60-A38A99380270}" dt="2023-10-31T04:27:08.926" v="815" actId="20577"/>
          <ac:spMkLst>
            <pc:docMk/>
            <pc:sldMk cId="3561966490" sldId="585"/>
            <ac:spMk id="18" creationId="{00000000-0000-0000-0000-000000000000}"/>
          </ac:spMkLst>
        </pc:spChg>
        <pc:spChg chg="mod">
          <ac:chgData name="Caldarelli, Leslie" userId="S::lcaldarelli_luriechildrens.org#ext#@nuwildcat.onmicrosoft.com::cd79b54d-c14e-4199-a04a-39c6f592e710" providerId="AD" clId="Web-{BC047B72-8F18-01C2-FA60-A38A99380270}" dt="2023-10-31T04:27:00.410" v="814" actId="20577"/>
          <ac:spMkLst>
            <pc:docMk/>
            <pc:sldMk cId="3561966490" sldId="585"/>
            <ac:spMk id="19" creationId="{00000000-0000-0000-0000-000000000000}"/>
          </ac:spMkLst>
        </pc:spChg>
        <pc:spChg chg="mod">
          <ac:chgData name="Caldarelli, Leslie" userId="S::lcaldarelli_luriechildrens.org#ext#@nuwildcat.onmicrosoft.com::cd79b54d-c14e-4199-a04a-39c6f592e710" providerId="AD" clId="Web-{BC047B72-8F18-01C2-FA60-A38A99380270}" dt="2023-10-31T04:27:43.334" v="817" actId="20577"/>
          <ac:spMkLst>
            <pc:docMk/>
            <pc:sldMk cId="3561966490" sldId="585"/>
            <ac:spMk id="20" creationId="{00000000-0000-0000-0000-000000000000}"/>
          </ac:spMkLst>
        </pc:spChg>
        <pc:spChg chg="mod">
          <ac:chgData name="Caldarelli, Leslie" userId="S::lcaldarelli_luriechildrens.org#ext#@nuwildcat.onmicrosoft.com::cd79b54d-c14e-4199-a04a-39c6f592e710" providerId="AD" clId="Web-{BC047B72-8F18-01C2-FA60-A38A99380270}" dt="2023-10-31T04:28:00.350" v="819" actId="20577"/>
          <ac:spMkLst>
            <pc:docMk/>
            <pc:sldMk cId="3561966490" sldId="585"/>
            <ac:spMk id="21"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26:00.127" v="807" actId="20577"/>
        <pc:sldMkLst>
          <pc:docMk/>
          <pc:sldMk cId="3809547791" sldId="586"/>
        </pc:sldMkLst>
        <pc:spChg chg="mod">
          <ac:chgData name="Caldarelli, Leslie" userId="S::lcaldarelli_luriechildrens.org#ext#@nuwildcat.onmicrosoft.com::cd79b54d-c14e-4199-a04a-39c6f592e710" providerId="AD" clId="Web-{BC047B72-8F18-01C2-FA60-A38A99380270}" dt="2023-10-31T04:25:16.719" v="803" actId="20577"/>
          <ac:spMkLst>
            <pc:docMk/>
            <pc:sldMk cId="3809547791" sldId="586"/>
            <ac:spMk id="36" creationId="{00000000-0000-0000-0000-000000000000}"/>
          </ac:spMkLst>
        </pc:spChg>
        <pc:spChg chg="mod">
          <ac:chgData name="Caldarelli, Leslie" userId="S::lcaldarelli_luriechildrens.org#ext#@nuwildcat.onmicrosoft.com::cd79b54d-c14e-4199-a04a-39c6f592e710" providerId="AD" clId="Web-{BC047B72-8F18-01C2-FA60-A38A99380270}" dt="2023-10-31T04:25:51.517" v="806" actId="14100"/>
          <ac:spMkLst>
            <pc:docMk/>
            <pc:sldMk cId="3809547791" sldId="586"/>
            <ac:spMk id="45" creationId="{C77E478B-4FF6-99F3-8EF6-9EC4CBF20CDC}"/>
          </ac:spMkLst>
        </pc:spChg>
        <pc:spChg chg="mod">
          <ac:chgData name="Caldarelli, Leslie" userId="S::lcaldarelli_luriechildrens.org#ext#@nuwildcat.onmicrosoft.com::cd79b54d-c14e-4199-a04a-39c6f592e710" providerId="AD" clId="Web-{BC047B72-8F18-01C2-FA60-A38A99380270}" dt="2023-10-31T04:26:00.127" v="807" actId="20577"/>
          <ac:spMkLst>
            <pc:docMk/>
            <pc:sldMk cId="3809547791" sldId="586"/>
            <ac:spMk id="47" creationId="{B8E0B5F5-B6A2-711D-2F6F-422E5E01B221}"/>
          </ac:spMkLst>
        </pc:spChg>
      </pc:sldChg>
      <pc:sldChg chg="modSp">
        <pc:chgData name="Caldarelli, Leslie" userId="S::lcaldarelli_luriechildrens.org#ext#@nuwildcat.onmicrosoft.com::cd79b54d-c14e-4199-a04a-39c6f592e710" providerId="AD" clId="Web-{BC047B72-8F18-01C2-FA60-A38A99380270}" dt="2023-10-31T04:18:19.985" v="754" actId="20577"/>
        <pc:sldMkLst>
          <pc:docMk/>
          <pc:sldMk cId="1598854783" sldId="587"/>
        </pc:sldMkLst>
        <pc:spChg chg="mod">
          <ac:chgData name="Caldarelli, Leslie" userId="S::lcaldarelli_luriechildrens.org#ext#@nuwildcat.onmicrosoft.com::cd79b54d-c14e-4199-a04a-39c6f592e710" providerId="AD" clId="Web-{BC047B72-8F18-01C2-FA60-A38A99380270}" dt="2023-10-31T04:18:19.985" v="754" actId="20577"/>
          <ac:spMkLst>
            <pc:docMk/>
            <pc:sldMk cId="1598854783" sldId="587"/>
            <ac:spMk id="42" creationId="{00000000-0000-0000-0000-000000000000}"/>
          </ac:spMkLst>
        </pc:spChg>
        <pc:spChg chg="mod">
          <ac:chgData name="Caldarelli, Leslie" userId="S::lcaldarelli_luriechildrens.org#ext#@nuwildcat.onmicrosoft.com::cd79b54d-c14e-4199-a04a-39c6f592e710" providerId="AD" clId="Web-{BC047B72-8F18-01C2-FA60-A38A99380270}" dt="2023-10-31T04:17:35.936" v="743" actId="20577"/>
          <ac:spMkLst>
            <pc:docMk/>
            <pc:sldMk cId="1598854783" sldId="587"/>
            <ac:spMk id="47" creationId="{00000000-0000-0000-0000-000000000000}"/>
          </ac:spMkLst>
        </pc:spChg>
        <pc:spChg chg="mod">
          <ac:chgData name="Caldarelli, Leslie" userId="S::lcaldarelli_luriechildrens.org#ext#@nuwildcat.onmicrosoft.com::cd79b54d-c14e-4199-a04a-39c6f592e710" providerId="AD" clId="Web-{BC047B72-8F18-01C2-FA60-A38A99380270}" dt="2023-10-31T04:17:36.046" v="744" actId="1076"/>
          <ac:spMkLst>
            <pc:docMk/>
            <pc:sldMk cId="1598854783" sldId="587"/>
            <ac:spMk id="49" creationId="{E2210AC7-88E9-3DF2-B6FD-284390179A81}"/>
          </ac:spMkLst>
        </pc:spChg>
        <pc:spChg chg="mod">
          <ac:chgData name="Caldarelli, Leslie" userId="S::lcaldarelli_luriechildrens.org#ext#@nuwildcat.onmicrosoft.com::cd79b54d-c14e-4199-a04a-39c6f592e710" providerId="AD" clId="Web-{BC047B72-8F18-01C2-FA60-A38A99380270}" dt="2023-10-31T04:17:54.124" v="752" actId="14100"/>
          <ac:spMkLst>
            <pc:docMk/>
            <pc:sldMk cId="1598854783" sldId="587"/>
            <ac:spMk id="51" creationId="{24A2DEC9-4CC0-CBF0-5D9A-524D9EFAEE1C}"/>
          </ac:spMkLst>
        </pc:spChg>
        <pc:spChg chg="mod">
          <ac:chgData name="Caldarelli, Leslie" userId="S::lcaldarelli_luriechildrens.org#ext#@nuwildcat.onmicrosoft.com::cd79b54d-c14e-4199-a04a-39c6f592e710" providerId="AD" clId="Web-{BC047B72-8F18-01C2-FA60-A38A99380270}" dt="2023-10-31T04:17:36.452" v="749" actId="1076"/>
          <ac:spMkLst>
            <pc:docMk/>
            <pc:sldMk cId="1598854783" sldId="587"/>
            <ac:spMk id="53" creationId="{0E0706BB-4123-83DA-E93A-66A50F4484A3}"/>
          </ac:spMkLst>
        </pc:spChg>
      </pc:sldChg>
      <pc:sldChg chg="modSp">
        <pc:chgData name="Caldarelli, Leslie" userId="S::lcaldarelli_luriechildrens.org#ext#@nuwildcat.onmicrosoft.com::cd79b54d-c14e-4199-a04a-39c6f592e710" providerId="AD" clId="Web-{BC047B72-8F18-01C2-FA60-A38A99380270}" dt="2023-10-31T04:17:35.796" v="740" actId="1076"/>
        <pc:sldMkLst>
          <pc:docMk/>
          <pc:sldMk cId="3832963388" sldId="588"/>
        </pc:sldMkLst>
        <pc:spChg chg="mod">
          <ac:chgData name="Caldarelli, Leslie" userId="S::lcaldarelli_luriechildrens.org#ext#@nuwildcat.onmicrosoft.com::cd79b54d-c14e-4199-a04a-39c6f592e710" providerId="AD" clId="Web-{BC047B72-8F18-01C2-FA60-A38A99380270}" dt="2023-10-31T04:17:35.608" v="738" actId="1076"/>
          <ac:spMkLst>
            <pc:docMk/>
            <pc:sldMk cId="3832963388" sldId="588"/>
            <ac:spMk id="22" creationId="{00000000-0000-0000-0000-000000000000}"/>
          </ac:spMkLst>
        </pc:spChg>
        <pc:spChg chg="mod">
          <ac:chgData name="Caldarelli, Leslie" userId="S::lcaldarelli_luriechildrens.org#ext#@nuwildcat.onmicrosoft.com::cd79b54d-c14e-4199-a04a-39c6f592e710" providerId="AD" clId="Web-{BC047B72-8F18-01C2-FA60-A38A99380270}" dt="2023-10-31T04:16:51.591" v="729" actId="20577"/>
          <ac:spMkLst>
            <pc:docMk/>
            <pc:sldMk cId="3832963388" sldId="588"/>
            <ac:spMk id="34" creationId="{00000000-0000-0000-0000-000000000000}"/>
          </ac:spMkLst>
        </pc:spChg>
        <pc:spChg chg="mod">
          <ac:chgData name="Caldarelli, Leslie" userId="S::lcaldarelli_luriechildrens.org#ext#@nuwildcat.onmicrosoft.com::cd79b54d-c14e-4199-a04a-39c6f592e710" providerId="AD" clId="Web-{BC047B72-8F18-01C2-FA60-A38A99380270}" dt="2023-10-31T04:17:35.702" v="739" actId="1076"/>
          <ac:spMkLst>
            <pc:docMk/>
            <pc:sldMk cId="3832963388" sldId="588"/>
            <ac:spMk id="36" creationId="{3EFC5C80-E693-6C51-4DEF-583812BEAB54}"/>
          </ac:spMkLst>
        </pc:spChg>
        <pc:spChg chg="mod">
          <ac:chgData name="Caldarelli, Leslie" userId="S::lcaldarelli_luriechildrens.org#ext#@nuwildcat.onmicrosoft.com::cd79b54d-c14e-4199-a04a-39c6f592e710" providerId="AD" clId="Web-{BC047B72-8F18-01C2-FA60-A38A99380270}" dt="2023-10-31T04:17:35.796" v="740" actId="1076"/>
          <ac:spMkLst>
            <pc:docMk/>
            <pc:sldMk cId="3832963388" sldId="588"/>
            <ac:spMk id="38" creationId="{9B32A794-89CE-3CF7-CCFB-FB03BB567C6D}"/>
          </ac:spMkLst>
        </pc:spChg>
      </pc:sldChg>
      <pc:sldChg chg="modSp">
        <pc:chgData name="Caldarelli, Leslie" userId="S::lcaldarelli_luriechildrens.org#ext#@nuwildcat.onmicrosoft.com::cd79b54d-c14e-4199-a04a-39c6f592e710" providerId="AD" clId="Web-{BC047B72-8F18-01C2-FA60-A38A99380270}" dt="2023-10-31T04:17:08.841" v="731" actId="20577"/>
        <pc:sldMkLst>
          <pc:docMk/>
          <pc:sldMk cId="435998680" sldId="589"/>
        </pc:sldMkLst>
        <pc:spChg chg="mod">
          <ac:chgData name="Caldarelli, Leslie" userId="S::lcaldarelli_luriechildrens.org#ext#@nuwildcat.onmicrosoft.com::cd79b54d-c14e-4199-a04a-39c6f592e710" providerId="AD" clId="Web-{BC047B72-8F18-01C2-FA60-A38A99380270}" dt="2023-10-31T04:16:08.417" v="721" actId="20577"/>
          <ac:spMkLst>
            <pc:docMk/>
            <pc:sldMk cId="435998680" sldId="589"/>
            <ac:spMk id="11" creationId="{00000000-0000-0000-0000-000000000000}"/>
          </ac:spMkLst>
        </pc:spChg>
        <pc:spChg chg="mod">
          <ac:chgData name="Caldarelli, Leslie" userId="S::lcaldarelli_luriechildrens.org#ext#@nuwildcat.onmicrosoft.com::cd79b54d-c14e-4199-a04a-39c6f592e710" providerId="AD" clId="Web-{BC047B72-8F18-01C2-FA60-A38A99380270}" dt="2023-10-31T04:16:25.668" v="724" actId="20577"/>
          <ac:spMkLst>
            <pc:docMk/>
            <pc:sldMk cId="435998680" sldId="589"/>
            <ac:spMk id="13" creationId="{00000000-0000-0000-0000-000000000000}"/>
          </ac:spMkLst>
        </pc:spChg>
        <pc:spChg chg="mod">
          <ac:chgData name="Caldarelli, Leslie" userId="S::lcaldarelli_luriechildrens.org#ext#@nuwildcat.onmicrosoft.com::cd79b54d-c14e-4199-a04a-39c6f592e710" providerId="AD" clId="Web-{BC047B72-8F18-01C2-FA60-A38A99380270}" dt="2023-10-31T04:17:08.841" v="731" actId="20577"/>
          <ac:spMkLst>
            <pc:docMk/>
            <pc:sldMk cId="435998680" sldId="589"/>
            <ac:spMk id="17" creationId="{00000000-0000-0000-0000-000000000000}"/>
          </ac:spMkLst>
        </pc:spChg>
        <pc:spChg chg="mod">
          <ac:chgData name="Caldarelli, Leslie" userId="S::lcaldarelli_luriechildrens.org#ext#@nuwildcat.onmicrosoft.com::cd79b54d-c14e-4199-a04a-39c6f592e710" providerId="AD" clId="Web-{BC047B72-8F18-01C2-FA60-A38A99380270}" dt="2023-10-31T04:15:34.338" v="717" actId="1076"/>
          <ac:spMkLst>
            <pc:docMk/>
            <pc:sldMk cId="435998680" sldId="589"/>
            <ac:spMk id="19" creationId="{4F38B046-5CD5-F005-45E3-2034830DFD34}"/>
          </ac:spMkLst>
        </pc:spChg>
        <pc:spChg chg="mod">
          <ac:chgData name="Caldarelli, Leslie" userId="S::lcaldarelli_luriechildrens.org#ext#@nuwildcat.onmicrosoft.com::cd79b54d-c14e-4199-a04a-39c6f592e710" providerId="AD" clId="Web-{BC047B72-8F18-01C2-FA60-A38A99380270}" dt="2023-10-31T04:15:59.870" v="720" actId="20577"/>
          <ac:spMkLst>
            <pc:docMk/>
            <pc:sldMk cId="435998680" sldId="589"/>
            <ac:spMk id="21" creationId="{A35E0C3C-CC22-A1A0-8E94-9EEE65798BD1}"/>
          </ac:spMkLst>
        </pc:spChg>
      </pc:sldChg>
      <pc:sldChg chg="modSp">
        <pc:chgData name="Caldarelli, Leslie" userId="S::lcaldarelli_luriechildrens.org#ext#@nuwildcat.onmicrosoft.com::cd79b54d-c14e-4199-a04a-39c6f592e710" providerId="AD" clId="Web-{BC047B72-8F18-01C2-FA60-A38A99380270}" dt="2023-10-31T04:17:26.123" v="735" actId="20577"/>
        <pc:sldMkLst>
          <pc:docMk/>
          <pc:sldMk cId="595546358" sldId="590"/>
        </pc:sldMkLst>
        <pc:spChg chg="mod">
          <ac:chgData name="Caldarelli, Leslie" userId="S::lcaldarelli_luriechildrens.org#ext#@nuwildcat.onmicrosoft.com::cd79b54d-c14e-4199-a04a-39c6f592e710" providerId="AD" clId="Web-{BC047B72-8F18-01C2-FA60-A38A99380270}" dt="2023-10-31T04:14:42.773" v="711" actId="20577"/>
          <ac:spMkLst>
            <pc:docMk/>
            <pc:sldMk cId="595546358" sldId="590"/>
            <ac:spMk id="22" creationId="{00000000-0000-0000-0000-000000000000}"/>
          </ac:spMkLst>
        </pc:spChg>
        <pc:spChg chg="mod">
          <ac:chgData name="Caldarelli, Leslie" userId="S::lcaldarelli_luriechildrens.org#ext#@nuwildcat.onmicrosoft.com::cd79b54d-c14e-4199-a04a-39c6f592e710" providerId="AD" clId="Web-{BC047B72-8F18-01C2-FA60-A38A99380270}" dt="2023-10-31T04:15:25.791" v="716" actId="20577"/>
          <ac:spMkLst>
            <pc:docMk/>
            <pc:sldMk cId="595546358" sldId="590"/>
            <ac:spMk id="25" creationId="{00000000-0000-0000-0000-000000000000}"/>
          </ac:spMkLst>
        </pc:spChg>
        <pc:spChg chg="mod">
          <ac:chgData name="Caldarelli, Leslie" userId="S::lcaldarelli_luriechildrens.org#ext#@nuwildcat.onmicrosoft.com::cd79b54d-c14e-4199-a04a-39c6f592e710" providerId="AD" clId="Web-{BC047B72-8F18-01C2-FA60-A38A99380270}" dt="2023-10-31T04:17:26.123" v="735" actId="20577"/>
          <ac:spMkLst>
            <pc:docMk/>
            <pc:sldMk cId="595546358" sldId="590"/>
            <ac:spMk id="28" creationId="{00000000-0000-0000-0000-000000000000}"/>
          </ac:spMkLst>
        </pc:spChg>
        <pc:spChg chg="mod">
          <ac:chgData name="Caldarelli, Leslie" userId="S::lcaldarelli_luriechildrens.org#ext#@nuwildcat.onmicrosoft.com::cd79b54d-c14e-4199-a04a-39c6f592e710" providerId="AD" clId="Web-{BC047B72-8F18-01C2-FA60-A38A99380270}" dt="2023-10-31T04:14:59.884" v="713" actId="1076"/>
          <ac:spMkLst>
            <pc:docMk/>
            <pc:sldMk cId="595546358" sldId="590"/>
            <ac:spMk id="30" creationId="{53721EF8-C35D-834E-9339-D65FFE7AFF9A}"/>
          </ac:spMkLst>
        </pc:spChg>
        <pc:spChg chg="mod">
          <ac:chgData name="Caldarelli, Leslie" userId="S::lcaldarelli_luriechildrens.org#ext#@nuwildcat.onmicrosoft.com::cd79b54d-c14e-4199-a04a-39c6f592e710" providerId="AD" clId="Web-{BC047B72-8F18-01C2-FA60-A38A99380270}" dt="2023-10-31T04:15:17.275" v="715" actId="1076"/>
          <ac:spMkLst>
            <pc:docMk/>
            <pc:sldMk cId="595546358" sldId="590"/>
            <ac:spMk id="32" creationId="{F1AED984-C21E-AA63-E34E-DA61BCE8401F}"/>
          </ac:spMkLst>
        </pc:spChg>
      </pc:sldChg>
      <pc:sldChg chg="modSp modNotes">
        <pc:chgData name="Caldarelli, Leslie" userId="S::lcaldarelli_luriechildrens.org#ext#@nuwildcat.onmicrosoft.com::cd79b54d-c14e-4199-a04a-39c6f592e710" providerId="AD" clId="Web-{BC047B72-8F18-01C2-FA60-A38A99380270}" dt="2023-10-31T04:14:34.242" v="710" actId="20577"/>
        <pc:sldMkLst>
          <pc:docMk/>
          <pc:sldMk cId="629433230" sldId="591"/>
        </pc:sldMkLst>
        <pc:spChg chg="mod">
          <ac:chgData name="Caldarelli, Leslie" userId="S::lcaldarelli_luriechildrens.org#ext#@nuwildcat.onmicrosoft.com::cd79b54d-c14e-4199-a04a-39c6f592e710" providerId="AD" clId="Web-{BC047B72-8F18-01C2-FA60-A38A99380270}" dt="2023-10-31T04:13:05.614" v="665" actId="14100"/>
          <ac:spMkLst>
            <pc:docMk/>
            <pc:sldMk cId="629433230" sldId="591"/>
            <ac:spMk id="15" creationId="{00000000-0000-0000-0000-000000000000}"/>
          </ac:spMkLst>
        </pc:spChg>
        <pc:spChg chg="mod">
          <ac:chgData name="Caldarelli, Leslie" userId="S::lcaldarelli_luriechildrens.org#ext#@nuwildcat.onmicrosoft.com::cd79b54d-c14e-4199-a04a-39c6f592e710" providerId="AD" clId="Web-{BC047B72-8F18-01C2-FA60-A38A99380270}" dt="2023-10-31T04:13:14.911" v="672" actId="1076"/>
          <ac:spMkLst>
            <pc:docMk/>
            <pc:sldMk cId="629433230" sldId="591"/>
            <ac:spMk id="19" creationId="{00000000-0000-0000-0000-000000000000}"/>
          </ac:spMkLst>
        </pc:spChg>
        <pc:spChg chg="mod">
          <ac:chgData name="Caldarelli, Leslie" userId="S::lcaldarelli_luriechildrens.org#ext#@nuwildcat.onmicrosoft.com::cd79b54d-c14e-4199-a04a-39c6f592e710" providerId="AD" clId="Web-{BC047B72-8F18-01C2-FA60-A38A99380270}" dt="2023-10-31T04:14:34.242" v="710" actId="20577"/>
          <ac:spMkLst>
            <pc:docMk/>
            <pc:sldMk cId="629433230" sldId="591"/>
            <ac:spMk id="22" creationId="{00000000-0000-0000-0000-000000000000}"/>
          </ac:spMkLst>
        </pc:spChg>
        <pc:spChg chg="mod">
          <ac:chgData name="Caldarelli, Leslie" userId="S::lcaldarelli_luriechildrens.org#ext#@nuwildcat.onmicrosoft.com::cd79b54d-c14e-4199-a04a-39c6f592e710" providerId="AD" clId="Web-{BC047B72-8F18-01C2-FA60-A38A99380270}" dt="2023-10-31T04:13:14.411" v="666" actId="1076"/>
          <ac:spMkLst>
            <pc:docMk/>
            <pc:sldMk cId="629433230" sldId="591"/>
            <ac:spMk id="24" creationId="{82DED22A-2957-2107-97D2-7694FF88F0A5}"/>
          </ac:spMkLst>
        </pc:spChg>
        <pc:spChg chg="mod">
          <ac:chgData name="Caldarelli, Leslie" userId="S::lcaldarelli_luriechildrens.org#ext#@nuwildcat.onmicrosoft.com::cd79b54d-c14e-4199-a04a-39c6f592e710" providerId="AD" clId="Web-{BC047B72-8F18-01C2-FA60-A38A99380270}" dt="2023-10-31T04:13:14.848" v="671" actId="1076"/>
          <ac:spMkLst>
            <pc:docMk/>
            <pc:sldMk cId="629433230" sldId="591"/>
            <ac:spMk id="26" creationId="{7ADA2A22-B85F-E8A9-52B3-7FA1A111EB25}"/>
          </ac:spMkLst>
        </pc:spChg>
      </pc:sldChg>
      <pc:sldChg chg="modSp">
        <pc:chgData name="Caldarelli, Leslie" userId="S::lcaldarelli_luriechildrens.org#ext#@nuwildcat.onmicrosoft.com::cd79b54d-c14e-4199-a04a-39c6f592e710" providerId="AD" clId="Web-{BC047B72-8F18-01C2-FA60-A38A99380270}" dt="2023-10-31T02:11:46.662" v="41" actId="20577"/>
        <pc:sldMkLst>
          <pc:docMk/>
          <pc:sldMk cId="3726638559" sldId="616"/>
        </pc:sldMkLst>
        <pc:spChg chg="mod">
          <ac:chgData name="Caldarelli, Leslie" userId="S::lcaldarelli_luriechildrens.org#ext#@nuwildcat.onmicrosoft.com::cd79b54d-c14e-4199-a04a-39c6f592e710" providerId="AD" clId="Web-{BC047B72-8F18-01C2-FA60-A38A99380270}" dt="2023-10-31T02:11:46.662" v="41" actId="20577"/>
          <ac:spMkLst>
            <pc:docMk/>
            <pc:sldMk cId="3726638559" sldId="616"/>
            <ac:spMk id="2175"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12:30.690" v="659" actId="20577"/>
        <pc:sldMkLst>
          <pc:docMk/>
          <pc:sldMk cId="1210022179" sldId="617"/>
        </pc:sldMkLst>
        <pc:spChg chg="mod">
          <ac:chgData name="Caldarelli, Leslie" userId="S::lcaldarelli_luriechildrens.org#ext#@nuwildcat.onmicrosoft.com::cd79b54d-c14e-4199-a04a-39c6f592e710" providerId="AD" clId="Web-{BC047B72-8F18-01C2-FA60-A38A99380270}" dt="2023-10-31T04:12:30.690" v="659" actId="20577"/>
          <ac:spMkLst>
            <pc:docMk/>
            <pc:sldMk cId="1210022179" sldId="617"/>
            <ac:spMk id="2" creationId="{A6FAA70D-3B97-AAF4-599A-5BEF539C23CA}"/>
          </ac:spMkLst>
        </pc:spChg>
      </pc:sldChg>
      <pc:sldChg chg="modSp modNotes">
        <pc:chgData name="Caldarelli, Leslie" userId="S::lcaldarelli_luriechildrens.org#ext#@nuwildcat.onmicrosoft.com::cd79b54d-c14e-4199-a04a-39c6f592e710" providerId="AD" clId="Web-{BC047B72-8F18-01C2-FA60-A38A99380270}" dt="2023-10-31T04:07:53.118" v="628"/>
        <pc:sldMkLst>
          <pc:docMk/>
          <pc:sldMk cId="3850125703" sldId="622"/>
        </pc:sldMkLst>
        <pc:spChg chg="mod">
          <ac:chgData name="Caldarelli, Leslie" userId="S::lcaldarelli_luriechildrens.org#ext#@nuwildcat.onmicrosoft.com::cd79b54d-c14e-4199-a04a-39c6f592e710" providerId="AD" clId="Web-{BC047B72-8F18-01C2-FA60-A38A99380270}" dt="2023-10-31T04:04:52.267" v="604" actId="20577"/>
          <ac:spMkLst>
            <pc:docMk/>
            <pc:sldMk cId="3850125703" sldId="622"/>
            <ac:spMk id="2" creationId="{00000000-0000-0000-0000-000000000000}"/>
          </ac:spMkLst>
        </pc:spChg>
        <pc:spChg chg="mod">
          <ac:chgData name="Caldarelli, Leslie" userId="S::lcaldarelli_luriechildrens.org#ext#@nuwildcat.onmicrosoft.com::cd79b54d-c14e-4199-a04a-39c6f592e710" providerId="AD" clId="Web-{BC047B72-8F18-01C2-FA60-A38A99380270}" dt="2023-10-31T04:05:18.268" v="607" actId="20577"/>
          <ac:spMkLst>
            <pc:docMk/>
            <pc:sldMk cId="3850125703" sldId="622"/>
            <ac:spMk id="13" creationId="{00000000-0000-0000-0000-000000000000}"/>
          </ac:spMkLst>
        </pc:spChg>
        <pc:spChg chg="mod">
          <ac:chgData name="Caldarelli, Leslie" userId="S::lcaldarelli_luriechildrens.org#ext#@nuwildcat.onmicrosoft.com::cd79b54d-c14e-4199-a04a-39c6f592e710" providerId="AD" clId="Web-{BC047B72-8F18-01C2-FA60-A38A99380270}" dt="2023-10-31T04:06:01.551" v="613" actId="14100"/>
          <ac:spMkLst>
            <pc:docMk/>
            <pc:sldMk cId="3850125703" sldId="622"/>
            <ac:spMk id="28" creationId="{00000000-0000-0000-0000-000000000000}"/>
          </ac:spMkLst>
        </pc:spChg>
        <pc:spChg chg="mod">
          <ac:chgData name="Caldarelli, Leslie" userId="S::lcaldarelli_luriechildrens.org#ext#@nuwildcat.onmicrosoft.com::cd79b54d-c14e-4199-a04a-39c6f592e710" providerId="AD" clId="Web-{BC047B72-8F18-01C2-FA60-A38A99380270}" dt="2023-10-31T04:07:01.538" v="621" actId="14100"/>
          <ac:spMkLst>
            <pc:docMk/>
            <pc:sldMk cId="3850125703" sldId="622"/>
            <ac:spMk id="40" creationId="{00000000-0000-0000-0000-000000000000}"/>
          </ac:spMkLst>
        </pc:spChg>
        <pc:spChg chg="mod">
          <ac:chgData name="Caldarelli, Leslie" userId="S::lcaldarelli_luriechildrens.org#ext#@nuwildcat.onmicrosoft.com::cd79b54d-c14e-4199-a04a-39c6f592e710" providerId="AD" clId="Web-{BC047B72-8F18-01C2-FA60-A38A99380270}" dt="2023-10-31T04:07:36.039" v="627" actId="20577"/>
          <ac:spMkLst>
            <pc:docMk/>
            <pc:sldMk cId="3850125703" sldId="622"/>
            <ac:spMk id="49" creationId="{00000000-0000-0000-0000-000000000000}"/>
          </ac:spMkLst>
        </pc:spChg>
        <pc:spChg chg="mod">
          <ac:chgData name="Caldarelli, Leslie" userId="S::lcaldarelli_luriechildrens.org#ext#@nuwildcat.onmicrosoft.com::cd79b54d-c14e-4199-a04a-39c6f592e710" providerId="AD" clId="Web-{BC047B72-8F18-01C2-FA60-A38A99380270}" dt="2023-10-31T04:05:09.783" v="606" actId="20577"/>
          <ac:spMkLst>
            <pc:docMk/>
            <pc:sldMk cId="3850125703" sldId="622"/>
            <ac:spMk id="51"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12:39.378" v="660" actId="20577"/>
        <pc:sldMkLst>
          <pc:docMk/>
          <pc:sldMk cId="2561278274" sldId="630"/>
        </pc:sldMkLst>
        <pc:spChg chg="mod">
          <ac:chgData name="Caldarelli, Leslie" userId="S::lcaldarelli_luriechildrens.org#ext#@nuwildcat.onmicrosoft.com::cd79b54d-c14e-4199-a04a-39c6f592e710" providerId="AD" clId="Web-{BC047B72-8F18-01C2-FA60-A38A99380270}" dt="2023-10-31T04:12:39.378" v="660" actId="20577"/>
          <ac:spMkLst>
            <pc:docMk/>
            <pc:sldMk cId="2561278274" sldId="630"/>
            <ac:spMk id="2" creationId="{A6FAA70D-3B97-AAF4-599A-5BEF539C23CA}"/>
          </ac:spMkLst>
        </pc:spChg>
      </pc:sldChg>
      <pc:sldChg chg="modSp">
        <pc:chgData name="Caldarelli, Leslie" userId="S::lcaldarelli_luriechildrens.org#ext#@nuwildcat.onmicrosoft.com::cd79b54d-c14e-4199-a04a-39c6f592e710" providerId="AD" clId="Web-{BC047B72-8F18-01C2-FA60-A38A99380270}" dt="2023-10-31T02:10:33.222" v="37" actId="1076"/>
        <pc:sldMkLst>
          <pc:docMk/>
          <pc:sldMk cId="1271905251" sldId="637"/>
        </pc:sldMkLst>
        <pc:spChg chg="mod">
          <ac:chgData name="Caldarelli, Leslie" userId="S::lcaldarelli_luriechildrens.org#ext#@nuwildcat.onmicrosoft.com::cd79b54d-c14e-4199-a04a-39c6f592e710" providerId="AD" clId="Web-{BC047B72-8F18-01C2-FA60-A38A99380270}" dt="2023-10-31T02:09:45.315" v="27" actId="20577"/>
          <ac:spMkLst>
            <pc:docMk/>
            <pc:sldMk cId="1271905251" sldId="637"/>
            <ac:spMk id="2" creationId="{AB9D5AD0-4A67-B828-DEC5-1146004A7755}"/>
          </ac:spMkLst>
        </pc:spChg>
        <pc:spChg chg="mod">
          <ac:chgData name="Caldarelli, Leslie" userId="S::lcaldarelli_luriechildrens.org#ext#@nuwildcat.onmicrosoft.com::cd79b54d-c14e-4199-a04a-39c6f592e710" providerId="AD" clId="Web-{BC047B72-8F18-01C2-FA60-A38A99380270}" dt="2023-10-31T02:10:33.222" v="37" actId="1076"/>
          <ac:spMkLst>
            <pc:docMk/>
            <pc:sldMk cId="1271905251" sldId="637"/>
            <ac:spMk id="3" creationId="{38BD8A99-C590-643F-CF50-2EEC68347C9C}"/>
          </ac:spMkLst>
        </pc:spChg>
      </pc:sldChg>
      <pc:sldChg chg="modSp">
        <pc:chgData name="Caldarelli, Leslie" userId="S::lcaldarelli_luriechildrens.org#ext#@nuwildcat.onmicrosoft.com::cd79b54d-c14e-4199-a04a-39c6f592e710" providerId="AD" clId="Web-{BC047B72-8F18-01C2-FA60-A38A99380270}" dt="2023-10-31T02:09:36.752" v="26" actId="14100"/>
        <pc:sldMkLst>
          <pc:docMk/>
          <pc:sldMk cId="2890705621" sldId="638"/>
        </pc:sldMkLst>
        <pc:spChg chg="mod">
          <ac:chgData name="Caldarelli, Leslie" userId="S::lcaldarelli_luriechildrens.org#ext#@nuwildcat.onmicrosoft.com::cd79b54d-c14e-4199-a04a-39c6f592e710" providerId="AD" clId="Web-{BC047B72-8F18-01C2-FA60-A38A99380270}" dt="2023-10-31T02:09:29.017" v="25" actId="14100"/>
          <ac:spMkLst>
            <pc:docMk/>
            <pc:sldMk cId="2890705621" sldId="638"/>
            <ac:spMk id="2" creationId="{C5D6A446-3EAF-1D26-0881-09F641FA1071}"/>
          </ac:spMkLst>
        </pc:spChg>
        <pc:spChg chg="mod">
          <ac:chgData name="Caldarelli, Leslie" userId="S::lcaldarelli_luriechildrens.org#ext#@nuwildcat.onmicrosoft.com::cd79b54d-c14e-4199-a04a-39c6f592e710" providerId="AD" clId="Web-{BC047B72-8F18-01C2-FA60-A38A99380270}" dt="2023-10-31T02:09:36.752" v="26" actId="14100"/>
          <ac:spMkLst>
            <pc:docMk/>
            <pc:sldMk cId="2890705621" sldId="638"/>
            <ac:spMk id="3" creationId="{11D1B208-3BF0-EBC8-BF8D-1C8378DBC20F}"/>
          </ac:spMkLst>
        </pc:spChg>
      </pc:sldChg>
      <pc:sldChg chg="modSp ord modNotes">
        <pc:chgData name="Caldarelli, Leslie" userId="S::lcaldarelli_luriechildrens.org#ext#@nuwildcat.onmicrosoft.com::cd79b54d-c14e-4199-a04a-39c6f592e710" providerId="AD" clId="Web-{BC047B72-8F18-01C2-FA60-A38A99380270}" dt="2023-10-31T04:04:35.079" v="599" actId="20577"/>
        <pc:sldMkLst>
          <pc:docMk/>
          <pc:sldMk cId="113281680" sldId="642"/>
        </pc:sldMkLst>
        <pc:spChg chg="mod">
          <ac:chgData name="Caldarelli, Leslie" userId="S::lcaldarelli_luriechildrens.org#ext#@nuwildcat.onmicrosoft.com::cd79b54d-c14e-4199-a04a-39c6f592e710" providerId="AD" clId="Web-{BC047B72-8F18-01C2-FA60-A38A99380270}" dt="2023-10-31T04:02:23.949" v="538" actId="20577"/>
          <ac:spMkLst>
            <pc:docMk/>
            <pc:sldMk cId="113281680" sldId="642"/>
            <ac:spMk id="2" creationId="{F4AFEDD1-1B2F-10C8-9EFB-EFBD0CAB6989}"/>
          </ac:spMkLst>
        </pc:spChg>
        <pc:spChg chg="mod">
          <ac:chgData name="Caldarelli, Leslie" userId="S::lcaldarelli_luriechildrens.org#ext#@nuwildcat.onmicrosoft.com::cd79b54d-c14e-4199-a04a-39c6f592e710" providerId="AD" clId="Web-{BC047B72-8F18-01C2-FA60-A38A99380270}" dt="2023-10-31T04:04:35.079" v="599" actId="20577"/>
          <ac:spMkLst>
            <pc:docMk/>
            <pc:sldMk cId="113281680" sldId="642"/>
            <ac:spMk id="3" creationId="{9038DB7D-70BC-F3BC-5E8D-8CFC7F509BED}"/>
          </ac:spMkLst>
        </pc:spChg>
      </pc:sldChg>
      <pc:sldChg chg="modSp">
        <pc:chgData name="Caldarelli, Leslie" userId="S::lcaldarelli_luriechildrens.org#ext#@nuwildcat.onmicrosoft.com::cd79b54d-c14e-4199-a04a-39c6f592e710" providerId="AD" clId="Web-{BC047B72-8F18-01C2-FA60-A38A99380270}" dt="2023-10-31T04:33:13.252" v="935" actId="20577"/>
        <pc:sldMkLst>
          <pc:docMk/>
          <pc:sldMk cId="2443892533" sldId="643"/>
        </pc:sldMkLst>
        <pc:spChg chg="mod">
          <ac:chgData name="Caldarelli, Leslie" userId="S::lcaldarelli_luriechildrens.org#ext#@nuwildcat.onmicrosoft.com::cd79b54d-c14e-4199-a04a-39c6f592e710" providerId="AD" clId="Web-{BC047B72-8F18-01C2-FA60-A38A99380270}" dt="2023-10-31T04:33:03.955" v="913" actId="20577"/>
          <ac:spMkLst>
            <pc:docMk/>
            <pc:sldMk cId="2443892533" sldId="643"/>
            <ac:spMk id="2" creationId="{85302686-DF06-3304-66CB-1E21F4D086DC}"/>
          </ac:spMkLst>
        </pc:spChg>
        <pc:spChg chg="mod">
          <ac:chgData name="Caldarelli, Leslie" userId="S::lcaldarelli_luriechildrens.org#ext#@nuwildcat.onmicrosoft.com::cd79b54d-c14e-4199-a04a-39c6f592e710" providerId="AD" clId="Web-{BC047B72-8F18-01C2-FA60-A38A99380270}" dt="2023-10-31T04:33:13.252" v="935" actId="20577"/>
          <ac:spMkLst>
            <pc:docMk/>
            <pc:sldMk cId="2443892533" sldId="643"/>
            <ac:spMk id="10" creationId="{F7DE78CF-32A6-61A0-EEC5-F837E089D3A4}"/>
          </ac:spMkLst>
        </pc:spChg>
      </pc:sldChg>
    </pc:docChg>
  </pc:docChgLst>
  <pc:docChgLst>
    <pc:chgData name="Isabel Rose Gippo" userId="S::irg9370@ads.northwestern.edu::b10bfe7e-55b9-46dd-9add-2eb52cb66d3b" providerId="AD" clId="Web-{2F9B0802-2085-E0B0-3887-F6AEBA41C785}"/>
    <pc:docChg chg="addSld delSld modSld">
      <pc:chgData name="Isabel Rose Gippo" userId="S::irg9370@ads.northwestern.edu::b10bfe7e-55b9-46dd-9add-2eb52cb66d3b" providerId="AD" clId="Web-{2F9B0802-2085-E0B0-3887-F6AEBA41C785}" dt="2023-10-27T20:01:53.166" v="22" actId="1076"/>
      <pc:docMkLst>
        <pc:docMk/>
      </pc:docMkLst>
      <pc:sldChg chg="del">
        <pc:chgData name="Isabel Rose Gippo" userId="S::irg9370@ads.northwestern.edu::b10bfe7e-55b9-46dd-9add-2eb52cb66d3b" providerId="AD" clId="Web-{2F9B0802-2085-E0B0-3887-F6AEBA41C785}" dt="2023-10-27T19:58:33.365" v="0"/>
        <pc:sldMkLst>
          <pc:docMk/>
          <pc:sldMk cId="4102962722" sldId="592"/>
        </pc:sldMkLst>
      </pc:sldChg>
      <pc:sldChg chg="del">
        <pc:chgData name="Isabel Rose Gippo" userId="S::irg9370@ads.northwestern.edu::b10bfe7e-55b9-46dd-9add-2eb52cb66d3b" providerId="AD" clId="Web-{2F9B0802-2085-E0B0-3887-F6AEBA41C785}" dt="2023-10-27T20:00:46.790" v="13"/>
        <pc:sldMkLst>
          <pc:docMk/>
          <pc:sldMk cId="761656701" sldId="610"/>
        </pc:sldMkLst>
      </pc:sldChg>
      <pc:sldChg chg="del">
        <pc:chgData name="Isabel Rose Gippo" userId="S::irg9370@ads.northwestern.edu::b10bfe7e-55b9-46dd-9add-2eb52cb66d3b" providerId="AD" clId="Web-{2F9B0802-2085-E0B0-3887-F6AEBA41C785}" dt="2023-10-27T20:00:36.336" v="12"/>
        <pc:sldMkLst>
          <pc:docMk/>
          <pc:sldMk cId="2881039477" sldId="611"/>
        </pc:sldMkLst>
      </pc:sldChg>
      <pc:sldChg chg="del">
        <pc:chgData name="Isabel Rose Gippo" userId="S::irg9370@ads.northwestern.edu::b10bfe7e-55b9-46dd-9add-2eb52cb66d3b" providerId="AD" clId="Web-{2F9B0802-2085-E0B0-3887-F6AEBA41C785}" dt="2023-10-27T20:00:36.321" v="11"/>
        <pc:sldMkLst>
          <pc:docMk/>
          <pc:sldMk cId="2453854057" sldId="612"/>
        </pc:sldMkLst>
      </pc:sldChg>
      <pc:sldChg chg="del">
        <pc:chgData name="Isabel Rose Gippo" userId="S::irg9370@ads.northwestern.edu::b10bfe7e-55b9-46dd-9add-2eb52cb66d3b" providerId="AD" clId="Web-{2F9B0802-2085-E0B0-3887-F6AEBA41C785}" dt="2023-10-27T20:00:36.258" v="10"/>
        <pc:sldMkLst>
          <pc:docMk/>
          <pc:sldMk cId="2100949110" sldId="613"/>
        </pc:sldMkLst>
      </pc:sldChg>
      <pc:sldChg chg="del">
        <pc:chgData name="Isabel Rose Gippo" userId="S::irg9370@ads.northwestern.edu::b10bfe7e-55b9-46dd-9add-2eb52cb66d3b" providerId="AD" clId="Web-{2F9B0802-2085-E0B0-3887-F6AEBA41C785}" dt="2023-10-27T20:00:36.133" v="9"/>
        <pc:sldMkLst>
          <pc:docMk/>
          <pc:sldMk cId="2272124241" sldId="614"/>
        </pc:sldMkLst>
      </pc:sldChg>
      <pc:sldChg chg="add">
        <pc:chgData name="Isabel Rose Gippo" userId="S::irg9370@ads.northwestern.edu::b10bfe7e-55b9-46dd-9add-2eb52cb66d3b" providerId="AD" clId="Web-{2F9B0802-2085-E0B0-3887-F6AEBA41C785}" dt="2023-10-27T19:59:03.818" v="1"/>
        <pc:sldMkLst>
          <pc:docMk/>
          <pc:sldMk cId="1987746666" sldId="623"/>
        </pc:sldMkLst>
      </pc:sldChg>
      <pc:sldChg chg="add addCm">
        <pc:chgData name="Isabel Rose Gippo" userId="S::irg9370@ads.northwestern.edu::b10bfe7e-55b9-46dd-9add-2eb52cb66d3b" providerId="AD" clId="Web-{2F9B0802-2085-E0B0-3887-F6AEBA41C785}" dt="2023-10-27T19:59:45.241" v="4"/>
        <pc:sldMkLst>
          <pc:docMk/>
          <pc:sldMk cId="2500564114" sldId="624"/>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2F9B0802-2085-E0B0-3887-F6AEBA41C785}" dt="2023-10-27T19:59:45.241" v="4"/>
              <pc2:cmMkLst xmlns:pc2="http://schemas.microsoft.com/office/powerpoint/2019/9/main/command">
                <pc:docMk/>
                <pc:sldMk cId="2500564114" sldId="624"/>
                <pc2:cmMk id="{0491C656-E5F5-41C8-B311-8559AF33E6F6}"/>
              </pc2:cmMkLst>
            </pc226:cmChg>
          </p:ext>
        </pc:extLst>
      </pc:sldChg>
      <pc:sldChg chg="add">
        <pc:chgData name="Isabel Rose Gippo" userId="S::irg9370@ads.northwestern.edu::b10bfe7e-55b9-46dd-9add-2eb52cb66d3b" providerId="AD" clId="Web-{2F9B0802-2085-E0B0-3887-F6AEBA41C785}" dt="2023-10-27T19:59:05.678" v="3"/>
        <pc:sldMkLst>
          <pc:docMk/>
          <pc:sldMk cId="924990962" sldId="625"/>
        </pc:sldMkLst>
      </pc:sldChg>
      <pc:sldChg chg="add">
        <pc:chgData name="Isabel Rose Gippo" userId="S::irg9370@ads.northwestern.edu::b10bfe7e-55b9-46dd-9add-2eb52cb66d3b" providerId="AD" clId="Web-{2F9B0802-2085-E0B0-3887-F6AEBA41C785}" dt="2023-10-27T20:00:14.758" v="5"/>
        <pc:sldMkLst>
          <pc:docMk/>
          <pc:sldMk cId="3004443360" sldId="626"/>
        </pc:sldMkLst>
      </pc:sldChg>
      <pc:sldChg chg="add addCm modNotes">
        <pc:chgData name="Isabel Rose Gippo" userId="S::irg9370@ads.northwestern.edu::b10bfe7e-55b9-46dd-9add-2eb52cb66d3b" providerId="AD" clId="Web-{2F9B0802-2085-E0B0-3887-F6AEBA41C785}" dt="2023-10-27T20:01:37.572" v="21"/>
        <pc:sldMkLst>
          <pc:docMk/>
          <pc:sldMk cId="53107998" sldId="627"/>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2F9B0802-2085-E0B0-3887-F6AEBA41C785}" dt="2023-10-27T20:01:26.853" v="20"/>
              <pc2:cmMkLst xmlns:pc2="http://schemas.microsoft.com/office/powerpoint/2019/9/main/command">
                <pc:docMk/>
                <pc:sldMk cId="53107998" sldId="627"/>
                <pc2:cmMk id="{C48A6C56-B343-467E-9FD1-86B163B01706}"/>
              </pc2:cmMkLst>
            </pc226:cmChg>
            <pc226:cmChg xmlns:pc226="http://schemas.microsoft.com/office/powerpoint/2022/06/main/command" chg="add">
              <pc226:chgData name="Isabel Rose Gippo" userId="S::irg9370@ads.northwestern.edu::b10bfe7e-55b9-46dd-9add-2eb52cb66d3b" providerId="AD" clId="Web-{2F9B0802-2085-E0B0-3887-F6AEBA41C785}" dt="2023-10-27T20:01:37.572" v="21"/>
              <pc2:cmMkLst xmlns:pc2="http://schemas.microsoft.com/office/powerpoint/2019/9/main/command">
                <pc:docMk/>
                <pc:sldMk cId="53107998" sldId="627"/>
                <pc2:cmMk id="{46D04177-1E1A-4590-B3B8-03DE51A18B3C}"/>
              </pc2:cmMkLst>
            </pc226:cmChg>
          </p:ext>
        </pc:extLst>
      </pc:sldChg>
      <pc:sldChg chg="add addCm">
        <pc:chgData name="Isabel Rose Gippo" userId="S::irg9370@ads.northwestern.edu::b10bfe7e-55b9-46dd-9add-2eb52cb66d3b" providerId="AD" clId="Web-{2F9B0802-2085-E0B0-3887-F6AEBA41C785}" dt="2023-10-27T20:01:16.493" v="18"/>
        <pc:sldMkLst>
          <pc:docMk/>
          <pc:sldMk cId="534784336" sldId="628"/>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2F9B0802-2085-E0B0-3887-F6AEBA41C785}" dt="2023-10-27T20:01:16.493" v="18"/>
              <pc2:cmMkLst xmlns:pc2="http://schemas.microsoft.com/office/powerpoint/2019/9/main/command">
                <pc:docMk/>
                <pc:sldMk cId="534784336" sldId="628"/>
                <pc2:cmMk id="{D2FD4193-EF38-49C6-9875-8E415492E71E}"/>
              </pc2:cmMkLst>
            </pc226:cmChg>
          </p:ext>
        </pc:extLst>
      </pc:sldChg>
      <pc:sldChg chg="modSp add modNotes">
        <pc:chgData name="Isabel Rose Gippo" userId="S::irg9370@ads.northwestern.edu::b10bfe7e-55b9-46dd-9add-2eb52cb66d3b" providerId="AD" clId="Web-{2F9B0802-2085-E0B0-3887-F6AEBA41C785}" dt="2023-10-27T20:01:53.166" v="22" actId="1076"/>
        <pc:sldMkLst>
          <pc:docMk/>
          <pc:sldMk cId="2981412015" sldId="629"/>
        </pc:sldMkLst>
        <pc:spChg chg="mod">
          <ac:chgData name="Isabel Rose Gippo" userId="S::irg9370@ads.northwestern.edu::b10bfe7e-55b9-46dd-9add-2eb52cb66d3b" providerId="AD" clId="Web-{2F9B0802-2085-E0B0-3887-F6AEBA41C785}" dt="2023-10-27T20:01:53.166" v="22" actId="1076"/>
          <ac:spMkLst>
            <pc:docMk/>
            <pc:sldMk cId="2981412015" sldId="629"/>
            <ac:spMk id="17" creationId="{9F30C5B8-4454-3B8D-2126-4A9866DF704E}"/>
          </ac:spMkLst>
        </pc:spChg>
      </pc:sldChg>
    </pc:docChg>
  </pc:docChgLst>
  <pc:docChgLst>
    <pc:chgData name="Eileen Fleming Suse" userId="S::efs3844@ads.northwestern.edu::725c94ef-d051-42d7-9d33-8572765d592b" providerId="AD" clId="Web-{2D3E1CBF-0F08-92B9-6543-9FE5E77E56E9}"/>
    <pc:docChg chg="addSld delSld modSld">
      <pc:chgData name="Eileen Fleming Suse" userId="S::efs3844@ads.northwestern.edu::725c94ef-d051-42d7-9d33-8572765d592b" providerId="AD" clId="Web-{2D3E1CBF-0F08-92B9-6543-9FE5E77E56E9}" dt="2023-10-28T14:57:28.029" v="305"/>
      <pc:docMkLst>
        <pc:docMk/>
      </pc:docMkLst>
      <pc:sldChg chg="modSp">
        <pc:chgData name="Eileen Fleming Suse" userId="S::efs3844@ads.northwestern.edu::725c94ef-d051-42d7-9d33-8572765d592b" providerId="AD" clId="Web-{2D3E1CBF-0F08-92B9-6543-9FE5E77E56E9}" dt="2023-10-28T14:54:32.961" v="268" actId="20577"/>
        <pc:sldMkLst>
          <pc:docMk/>
          <pc:sldMk cId="2086939794" sldId="326"/>
        </pc:sldMkLst>
        <pc:spChg chg="mod">
          <ac:chgData name="Eileen Fleming Suse" userId="S::efs3844@ads.northwestern.edu::725c94ef-d051-42d7-9d33-8572765d592b" providerId="AD" clId="Web-{2D3E1CBF-0F08-92B9-6543-9FE5E77E56E9}" dt="2023-10-28T14:54:32.961" v="268" actId="20577"/>
          <ac:spMkLst>
            <pc:docMk/>
            <pc:sldMk cId="2086939794" sldId="326"/>
            <ac:spMk id="3" creationId="{1E0FB995-5DD8-5081-A69E-96B5869B0012}"/>
          </ac:spMkLst>
        </pc:spChg>
      </pc:sldChg>
      <pc:sldChg chg="modSp">
        <pc:chgData name="Eileen Fleming Suse" userId="S::efs3844@ads.northwestern.edu::725c94ef-d051-42d7-9d33-8572765d592b" providerId="AD" clId="Web-{2D3E1CBF-0F08-92B9-6543-9FE5E77E56E9}" dt="2023-10-28T14:57:28.029" v="305"/>
        <pc:sldMkLst>
          <pc:docMk/>
          <pc:sldMk cId="3067427377" sldId="560"/>
        </pc:sldMkLst>
        <pc:spChg chg="mod">
          <ac:chgData name="Eileen Fleming Suse" userId="S::efs3844@ads.northwestern.edu::725c94ef-d051-42d7-9d33-8572765d592b" providerId="AD" clId="Web-{2D3E1CBF-0F08-92B9-6543-9FE5E77E56E9}" dt="2023-10-28T14:57:28.029" v="305"/>
          <ac:spMkLst>
            <pc:docMk/>
            <pc:sldMk cId="3067427377" sldId="560"/>
            <ac:spMk id="2" creationId="{85302686-DF06-3304-66CB-1E21F4D086DC}"/>
          </ac:spMkLst>
        </pc:spChg>
      </pc:sldChg>
      <pc:sldChg chg="addSp modSp">
        <pc:chgData name="Eileen Fleming Suse" userId="S::efs3844@ads.northwestern.edu::725c94ef-d051-42d7-9d33-8572765d592b" providerId="AD" clId="Web-{2D3E1CBF-0F08-92B9-6543-9FE5E77E56E9}" dt="2023-10-28T14:57:16.622" v="304" actId="1076"/>
        <pc:sldMkLst>
          <pc:docMk/>
          <pc:sldMk cId="1141815353" sldId="562"/>
        </pc:sldMkLst>
        <pc:spChg chg="add mod">
          <ac:chgData name="Eileen Fleming Suse" userId="S::efs3844@ads.northwestern.edu::725c94ef-d051-42d7-9d33-8572765d592b" providerId="AD" clId="Web-{2D3E1CBF-0F08-92B9-6543-9FE5E77E56E9}" dt="2023-10-28T14:57:16.622" v="304" actId="1076"/>
          <ac:spMkLst>
            <pc:docMk/>
            <pc:sldMk cId="1141815353" sldId="562"/>
            <ac:spMk id="13" creationId="{2FC08365-C48A-7DB8-BBA6-D9EB552FFD55}"/>
          </ac:spMkLst>
        </pc:spChg>
        <pc:spChg chg="mod">
          <ac:chgData name="Eileen Fleming Suse" userId="S::efs3844@ads.northwestern.edu::725c94ef-d051-42d7-9d33-8572765d592b" providerId="AD" clId="Web-{2D3E1CBF-0F08-92B9-6543-9FE5E77E56E9}" dt="2023-10-28T14:57:12.528" v="302" actId="1076"/>
          <ac:spMkLst>
            <pc:docMk/>
            <pc:sldMk cId="1141815353" sldId="562"/>
            <ac:spMk id="360" creationId="{FE59A3A2-BFF2-9772-51D6-9CCB620AEB53}"/>
          </ac:spMkLst>
        </pc:spChg>
      </pc:sldChg>
      <pc:sldChg chg="addSp modSp">
        <pc:chgData name="Eileen Fleming Suse" userId="S::efs3844@ads.northwestern.edu::725c94ef-d051-42d7-9d33-8572765d592b" providerId="AD" clId="Web-{2D3E1CBF-0F08-92B9-6543-9FE5E77E56E9}" dt="2023-10-28T00:19:08.918" v="72" actId="20577"/>
        <pc:sldMkLst>
          <pc:docMk/>
          <pc:sldMk cId="1937423064" sldId="606"/>
        </pc:sldMkLst>
        <pc:spChg chg="add mod">
          <ac:chgData name="Eileen Fleming Suse" userId="S::efs3844@ads.northwestern.edu::725c94ef-d051-42d7-9d33-8572765d592b" providerId="AD" clId="Web-{2D3E1CBF-0F08-92B9-6543-9FE5E77E56E9}" dt="2023-10-28T00:19:08.918" v="72" actId="20577"/>
          <ac:spMkLst>
            <pc:docMk/>
            <pc:sldMk cId="1937423064" sldId="606"/>
            <ac:spMk id="3" creationId="{CF76BAF3-0D68-BE52-7B63-AF42CBFD04CB}"/>
          </ac:spMkLst>
        </pc:spChg>
        <pc:spChg chg="mod">
          <ac:chgData name="Eileen Fleming Suse" userId="S::efs3844@ads.northwestern.edu::725c94ef-d051-42d7-9d33-8572765d592b" providerId="AD" clId="Web-{2D3E1CBF-0F08-92B9-6543-9FE5E77E56E9}" dt="2023-10-28T00:08:21.950" v="3" actId="20577"/>
          <ac:spMkLst>
            <pc:docMk/>
            <pc:sldMk cId="1937423064" sldId="606"/>
            <ac:spMk id="12" creationId="{78126F38-8B56-6129-962F-5469035C8159}"/>
          </ac:spMkLst>
        </pc:spChg>
      </pc:sldChg>
      <pc:sldChg chg="del">
        <pc:chgData name="Eileen Fleming Suse" userId="S::efs3844@ads.northwestern.edu::725c94ef-d051-42d7-9d33-8572765d592b" providerId="AD" clId="Web-{2D3E1CBF-0F08-92B9-6543-9FE5E77E56E9}" dt="2023-10-28T00:23:48.585" v="73"/>
        <pc:sldMkLst>
          <pc:docMk/>
          <pc:sldMk cId="2500564114" sldId="624"/>
        </pc:sldMkLst>
      </pc:sldChg>
      <pc:sldChg chg="addSp delSp modSp delCm">
        <pc:chgData name="Eileen Fleming Suse" userId="S::efs3844@ads.northwestern.edu::725c94ef-d051-42d7-9d33-8572765d592b" providerId="AD" clId="Web-{2D3E1CBF-0F08-92B9-6543-9FE5E77E56E9}" dt="2023-10-28T14:54:08.976" v="263"/>
        <pc:sldMkLst>
          <pc:docMk/>
          <pc:sldMk cId="53107998" sldId="627"/>
        </pc:sldMkLst>
        <pc:spChg chg="del">
          <ac:chgData name="Eileen Fleming Suse" userId="S::efs3844@ads.northwestern.edu::725c94ef-d051-42d7-9d33-8572765d592b" providerId="AD" clId="Web-{2D3E1CBF-0F08-92B9-6543-9FE5E77E56E9}" dt="2023-10-28T00:28:55.500" v="79"/>
          <ac:spMkLst>
            <pc:docMk/>
            <pc:sldMk cId="53107998" sldId="627"/>
            <ac:spMk id="6" creationId="{5061076E-BCAA-95BB-947C-06473AB43500}"/>
          </ac:spMkLst>
        </pc:spChg>
        <pc:spChg chg="add mod">
          <ac:chgData name="Eileen Fleming Suse" userId="S::efs3844@ads.northwestern.edu::725c94ef-d051-42d7-9d33-8572765d592b" providerId="AD" clId="Web-{2D3E1CBF-0F08-92B9-6543-9FE5E77E56E9}" dt="2023-10-28T14:19:11.939" v="117" actId="20577"/>
          <ac:spMkLst>
            <pc:docMk/>
            <pc:sldMk cId="53107998" sldId="627"/>
            <ac:spMk id="6" creationId="{6869C5A5-AA49-7E86-16CA-330531D2D3A5}"/>
          </ac:spMkLst>
        </pc:spChg>
        <pc:spChg chg="del">
          <ac:chgData name="Eileen Fleming Suse" userId="S::efs3844@ads.northwestern.edu::725c94ef-d051-42d7-9d33-8572765d592b" providerId="AD" clId="Web-{2D3E1CBF-0F08-92B9-6543-9FE5E77E56E9}" dt="2023-10-28T14:14:49.415" v="81"/>
          <ac:spMkLst>
            <pc:docMk/>
            <pc:sldMk cId="53107998" sldId="627"/>
            <ac:spMk id="11" creationId="{1001CA27-B312-ABF1-7B46-5CD64FE61847}"/>
          </ac:spMkLst>
        </pc:spChg>
        <pc:picChg chg="del">
          <ac:chgData name="Eileen Fleming Suse" userId="S::efs3844@ads.northwestern.edu::725c94ef-d051-42d7-9d33-8572765d592b" providerId="AD" clId="Web-{2D3E1CBF-0F08-92B9-6543-9FE5E77E56E9}" dt="2023-10-28T00:28:55.531" v="80"/>
          <ac:picMkLst>
            <pc:docMk/>
            <pc:sldMk cId="53107998" sldId="627"/>
            <ac:picMk id="10" creationId="{25B68D3E-AF30-F369-D540-A435E064866C}"/>
          </ac:picMkLst>
        </pc:picChg>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2D3E1CBF-0F08-92B9-6543-9FE5E77E56E9}" dt="2023-10-28T14:54:08.976" v="263"/>
              <pc2:cmMkLst xmlns:pc2="http://schemas.microsoft.com/office/powerpoint/2019/9/main/command">
                <pc:docMk/>
                <pc:sldMk cId="53107998" sldId="627"/>
                <pc2:cmMk id="{C48A6C56-B343-467E-9FD1-86B163B01706}"/>
              </pc2:cmMkLst>
            </pc226:cmChg>
            <pc226:cmChg xmlns:pc226="http://schemas.microsoft.com/office/powerpoint/2022/06/main/command" chg="del">
              <pc226:chgData name="Eileen Fleming Suse" userId="S::efs3844@ads.northwestern.edu::725c94ef-d051-42d7-9d33-8572765d592b" providerId="AD" clId="Web-{2D3E1CBF-0F08-92B9-6543-9FE5E77E56E9}" dt="2023-10-28T14:53:58.913" v="262"/>
              <pc2:cmMkLst xmlns:pc2="http://schemas.microsoft.com/office/powerpoint/2019/9/main/command">
                <pc:docMk/>
                <pc:sldMk cId="53107998" sldId="627"/>
                <pc2:cmMk id="{46D04177-1E1A-4590-B3B8-03DE51A18B3C}"/>
              </pc2:cmMkLst>
            </pc226:cmChg>
          </p:ext>
        </pc:extLst>
      </pc:sldChg>
      <pc:sldChg chg="addSp delSp modSp delCm">
        <pc:chgData name="Eileen Fleming Suse" userId="S::efs3844@ads.northwestern.edu::725c94ef-d051-42d7-9d33-8572765d592b" providerId="AD" clId="Web-{2D3E1CBF-0F08-92B9-6543-9FE5E77E56E9}" dt="2023-10-28T14:53:48.928" v="261"/>
        <pc:sldMkLst>
          <pc:docMk/>
          <pc:sldMk cId="534784336" sldId="628"/>
        </pc:sldMkLst>
        <pc:spChg chg="mod">
          <ac:chgData name="Eileen Fleming Suse" userId="S::efs3844@ads.northwestern.edu::725c94ef-d051-42d7-9d33-8572765d592b" providerId="AD" clId="Web-{2D3E1CBF-0F08-92B9-6543-9FE5E77E56E9}" dt="2023-10-28T14:26:26.922" v="168" actId="14100"/>
          <ac:spMkLst>
            <pc:docMk/>
            <pc:sldMk cId="534784336" sldId="628"/>
            <ac:spMk id="2" creationId="{5B0924D0-76E0-769E-E658-F9192618FFD4}"/>
          </ac:spMkLst>
        </pc:spChg>
        <pc:spChg chg="del">
          <ac:chgData name="Eileen Fleming Suse" userId="S::efs3844@ads.northwestern.edu::725c94ef-d051-42d7-9d33-8572765d592b" providerId="AD" clId="Web-{2D3E1CBF-0F08-92B9-6543-9FE5E77E56E9}" dt="2023-10-28T14:30:04.491" v="169"/>
          <ac:spMkLst>
            <pc:docMk/>
            <pc:sldMk cId="534784336" sldId="628"/>
            <ac:spMk id="3" creationId="{F9B93FA2-9BD2-09DD-15C3-2A948A3663FF}"/>
          </ac:spMkLst>
        </pc:spChg>
        <pc:spChg chg="add mod">
          <ac:chgData name="Eileen Fleming Suse" userId="S::efs3844@ads.northwestern.edu::725c94ef-d051-42d7-9d33-8572765d592b" providerId="AD" clId="Web-{2D3E1CBF-0F08-92B9-6543-9FE5E77E56E9}" dt="2023-10-28T14:38:01.288" v="202" actId="1076"/>
          <ac:spMkLst>
            <pc:docMk/>
            <pc:sldMk cId="534784336" sldId="628"/>
            <ac:spMk id="9" creationId="{98150912-7A4D-8CF4-F429-183917B0EF9E}"/>
          </ac:spMkLst>
        </pc:spChg>
        <pc:picChg chg="add del mod">
          <ac:chgData name="Eileen Fleming Suse" userId="S::efs3844@ads.northwestern.edu::725c94ef-d051-42d7-9d33-8572765d592b" providerId="AD" clId="Web-{2D3E1CBF-0F08-92B9-6543-9FE5E77E56E9}" dt="2023-10-28T14:30:38.430" v="174"/>
          <ac:picMkLst>
            <pc:docMk/>
            <pc:sldMk cId="534784336" sldId="628"/>
            <ac:picMk id="6" creationId="{1FC00E2F-3882-E810-155C-29DE0C5A93A5}"/>
          </ac:picMkLst>
        </pc:picChg>
        <pc:picChg chg="add mod">
          <ac:chgData name="Eileen Fleming Suse" userId="S::efs3844@ads.northwestern.edu::725c94ef-d051-42d7-9d33-8572765d592b" providerId="AD" clId="Web-{2D3E1CBF-0F08-92B9-6543-9FE5E77E56E9}" dt="2023-10-28T14:37:02.692" v="193" actId="1076"/>
          <ac:picMkLst>
            <pc:docMk/>
            <pc:sldMk cId="534784336" sldId="628"/>
            <ac:picMk id="7" creationId="{DB88B973-8D9A-30CF-C67C-F3355B614054}"/>
          </ac:picMkLst>
        </pc:picChg>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2D3E1CBF-0F08-92B9-6543-9FE5E77E56E9}" dt="2023-10-28T14:53:48.928" v="261"/>
              <pc2:cmMkLst xmlns:pc2="http://schemas.microsoft.com/office/powerpoint/2019/9/main/command">
                <pc:docMk/>
                <pc:sldMk cId="534784336" sldId="628"/>
                <pc2:cmMk id="{D2FD4193-EF38-49C6-9875-8E415492E71E}"/>
              </pc2:cmMkLst>
            </pc226:cmChg>
          </p:ext>
        </pc:extLst>
      </pc:sldChg>
      <pc:sldChg chg="new del">
        <pc:chgData name="Eileen Fleming Suse" userId="S::efs3844@ads.northwestern.edu::725c94ef-d051-42d7-9d33-8572765d592b" providerId="AD" clId="Web-{2D3E1CBF-0F08-92B9-6543-9FE5E77E56E9}" dt="2023-10-28T00:28:43.703" v="76"/>
        <pc:sldMkLst>
          <pc:docMk/>
          <pc:sldMk cId="2010547247" sldId="634"/>
        </pc:sldMkLst>
      </pc:sldChg>
      <pc:sldChg chg="addSp delSp modSp add replId delCm">
        <pc:chgData name="Eileen Fleming Suse" userId="S::efs3844@ads.northwestern.edu::725c94ef-d051-42d7-9d33-8572765d592b" providerId="AD" clId="Web-{2D3E1CBF-0F08-92B9-6543-9FE5E77E56E9}" dt="2023-10-28T14:54:31.633" v="266" actId="688"/>
        <pc:sldMkLst>
          <pc:docMk/>
          <pc:sldMk cId="411397640" sldId="635"/>
        </pc:sldMkLst>
        <pc:spChg chg="mod">
          <ac:chgData name="Eileen Fleming Suse" userId="S::efs3844@ads.northwestern.edu::725c94ef-d051-42d7-9d33-8572765d592b" providerId="AD" clId="Web-{2D3E1CBF-0F08-92B9-6543-9FE5E77E56E9}" dt="2023-10-28T14:25:22.123" v="159" actId="1076"/>
          <ac:spMkLst>
            <pc:docMk/>
            <pc:sldMk cId="411397640" sldId="635"/>
            <ac:spMk id="2" creationId="{EDBA7EA6-A8BC-1979-2886-87AD1991E00E}"/>
          </ac:spMkLst>
        </pc:spChg>
        <pc:spChg chg="del">
          <ac:chgData name="Eileen Fleming Suse" userId="S::efs3844@ads.northwestern.edu::725c94ef-d051-42d7-9d33-8572765d592b" providerId="AD" clId="Web-{2D3E1CBF-0F08-92B9-6543-9FE5E77E56E9}" dt="2023-10-28T00:28:55.234" v="78"/>
          <ac:spMkLst>
            <pc:docMk/>
            <pc:sldMk cId="411397640" sldId="635"/>
            <ac:spMk id="3" creationId="{22D7074D-B494-B92E-736B-139BAB3175B9}"/>
          </ac:spMkLst>
        </pc:spChg>
        <pc:spChg chg="mod">
          <ac:chgData name="Eileen Fleming Suse" userId="S::efs3844@ads.northwestern.edu::725c94ef-d051-42d7-9d33-8572765d592b" providerId="AD" clId="Web-{2D3E1CBF-0F08-92B9-6543-9FE5E77E56E9}" dt="2023-10-28T14:25:31.623" v="160" actId="1076"/>
          <ac:spMkLst>
            <pc:docMk/>
            <pc:sldMk cId="411397640" sldId="635"/>
            <ac:spMk id="4" creationId="{24F154B2-4E01-4816-22AD-EE966850CD86}"/>
          </ac:spMkLst>
        </pc:spChg>
        <pc:spChg chg="mod">
          <ac:chgData name="Eileen Fleming Suse" userId="S::efs3844@ads.northwestern.edu::725c94ef-d051-42d7-9d33-8572765d592b" providerId="AD" clId="Web-{2D3E1CBF-0F08-92B9-6543-9FE5E77E56E9}" dt="2023-10-28T14:25:40.717" v="163" actId="1076"/>
          <ac:spMkLst>
            <pc:docMk/>
            <pc:sldMk cId="411397640" sldId="635"/>
            <ac:spMk id="6" creationId="{5061076E-BCAA-95BB-947C-06473AB43500}"/>
          </ac:spMkLst>
        </pc:spChg>
        <pc:spChg chg="add mod">
          <ac:chgData name="Eileen Fleming Suse" userId="S::efs3844@ads.northwestern.edu::725c94ef-d051-42d7-9d33-8572765d592b" providerId="AD" clId="Web-{2D3E1CBF-0F08-92B9-6543-9FE5E77E56E9}" dt="2023-10-28T14:54:31.633" v="266" actId="688"/>
          <ac:spMkLst>
            <pc:docMk/>
            <pc:sldMk cId="411397640" sldId="635"/>
            <ac:spMk id="7" creationId="{C4CE6283-A808-AE07-353B-1EEB0D5BF6FD}"/>
          </ac:spMkLst>
        </pc:spChg>
        <pc:spChg chg="add del mod">
          <ac:chgData name="Eileen Fleming Suse" userId="S::efs3844@ads.northwestern.edu::725c94ef-d051-42d7-9d33-8572765d592b" providerId="AD" clId="Web-{2D3E1CBF-0F08-92B9-6543-9FE5E77E56E9}" dt="2023-10-28T14:19:12.080" v="118"/>
          <ac:spMkLst>
            <pc:docMk/>
            <pc:sldMk cId="411397640" sldId="635"/>
            <ac:spMk id="9" creationId="{F51C096E-2197-06DC-5548-06F7FD861993}"/>
          </ac:spMkLst>
        </pc:spChg>
        <pc:spChg chg="mod">
          <ac:chgData name="Eileen Fleming Suse" userId="S::efs3844@ads.northwestern.edu::725c94ef-d051-42d7-9d33-8572765d592b" providerId="AD" clId="Web-{2D3E1CBF-0F08-92B9-6543-9FE5E77E56E9}" dt="2023-10-28T14:25:31.639" v="162" actId="1076"/>
          <ac:spMkLst>
            <pc:docMk/>
            <pc:sldMk cId="411397640" sldId="635"/>
            <ac:spMk id="11" creationId="{1001CA27-B312-ABF1-7B46-5CD64FE61847}"/>
          </ac:spMkLst>
        </pc:spChg>
        <pc:picChg chg="del">
          <ac:chgData name="Eileen Fleming Suse" userId="S::efs3844@ads.northwestern.edu::725c94ef-d051-42d7-9d33-8572765d592b" providerId="AD" clId="Web-{2D3E1CBF-0F08-92B9-6543-9FE5E77E56E9}" dt="2023-10-28T00:28:46.656" v="77"/>
          <ac:picMkLst>
            <pc:docMk/>
            <pc:sldMk cId="411397640" sldId="635"/>
            <ac:picMk id="8" creationId="{69FCDDB0-47F5-DBE4-711A-C6061E65FD92}"/>
          </ac:picMkLst>
        </pc:picChg>
        <pc:picChg chg="mod">
          <ac:chgData name="Eileen Fleming Suse" userId="S::efs3844@ads.northwestern.edu::725c94ef-d051-42d7-9d33-8572765d592b" providerId="AD" clId="Web-{2D3E1CBF-0F08-92B9-6543-9FE5E77E56E9}" dt="2023-10-28T14:25:31.623" v="161" actId="1076"/>
          <ac:picMkLst>
            <pc:docMk/>
            <pc:sldMk cId="411397640" sldId="635"/>
            <ac:picMk id="10" creationId="{25B68D3E-AF30-F369-D540-A435E064866C}"/>
          </ac:picMkLst>
        </pc:picChg>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2D3E1CBF-0F08-92B9-6543-9FE5E77E56E9}" dt="2023-10-28T14:54:21.070" v="265"/>
              <pc2:cmMkLst xmlns:pc2="http://schemas.microsoft.com/office/powerpoint/2019/9/main/command">
                <pc:docMk/>
                <pc:sldMk cId="411397640" sldId="635"/>
                <pc2:cmMk id="{3C68ED1F-70B6-42FD-A606-A0188A0C1982}"/>
              </pc2:cmMkLst>
            </pc226:cmChg>
            <pc226:cmChg xmlns:pc226="http://schemas.microsoft.com/office/powerpoint/2022/06/main/command" chg="del">
              <pc226:chgData name="Eileen Fleming Suse" userId="S::efs3844@ads.northwestern.edu::725c94ef-d051-42d7-9d33-8572765d592b" providerId="AD" clId="Web-{2D3E1CBF-0F08-92B9-6543-9FE5E77E56E9}" dt="2023-10-28T14:54:09.819" v="264"/>
              <pc2:cmMkLst xmlns:pc2="http://schemas.microsoft.com/office/powerpoint/2019/9/main/command">
                <pc:docMk/>
                <pc:sldMk cId="411397640" sldId="635"/>
                <pc2:cmMk id="{00E11887-98E4-479A-8DA4-445B0A6D85E8}"/>
              </pc2:cmMkLst>
            </pc226:cmChg>
          </p:ext>
        </pc:extLst>
      </pc:sldChg>
      <pc:sldChg chg="addSp delSp modSp new modNotes">
        <pc:chgData name="Eileen Fleming Suse" userId="S::efs3844@ads.northwestern.edu::725c94ef-d051-42d7-9d33-8572765d592b" providerId="AD" clId="Web-{2D3E1CBF-0F08-92B9-6543-9FE5E77E56E9}" dt="2023-10-28T14:53:29.990" v="260"/>
        <pc:sldMkLst>
          <pc:docMk/>
          <pc:sldMk cId="975286347" sldId="636"/>
        </pc:sldMkLst>
        <pc:spChg chg="mod">
          <ac:chgData name="Eileen Fleming Suse" userId="S::efs3844@ads.northwestern.edu::725c94ef-d051-42d7-9d33-8572765d592b" providerId="AD" clId="Web-{2D3E1CBF-0F08-92B9-6543-9FE5E77E56E9}" dt="2023-10-28T14:53:20.443" v="259" actId="1076"/>
          <ac:spMkLst>
            <pc:docMk/>
            <pc:sldMk cId="975286347" sldId="636"/>
            <ac:spMk id="2" creationId="{BB53F377-28A9-F2D5-76A8-8CDE2A9E7535}"/>
          </ac:spMkLst>
        </pc:spChg>
        <pc:spChg chg="del">
          <ac:chgData name="Eileen Fleming Suse" userId="S::efs3844@ads.northwestern.edu::725c94ef-d051-42d7-9d33-8572765d592b" providerId="AD" clId="Web-{2D3E1CBF-0F08-92B9-6543-9FE5E77E56E9}" dt="2023-10-28T14:38:30.570" v="209"/>
          <ac:spMkLst>
            <pc:docMk/>
            <pc:sldMk cId="975286347" sldId="636"/>
            <ac:spMk id="3" creationId="{AA591B85-8B99-0001-0D2D-E197FD1E29FA}"/>
          </ac:spMkLst>
        </pc:spChg>
        <pc:spChg chg="add mod">
          <ac:chgData name="Eileen Fleming Suse" userId="S::efs3844@ads.northwestern.edu::725c94ef-d051-42d7-9d33-8572765d592b" providerId="AD" clId="Web-{2D3E1CBF-0F08-92B9-6543-9FE5E77E56E9}" dt="2023-10-28T14:53:10.302" v="258" actId="1076"/>
          <ac:spMkLst>
            <pc:docMk/>
            <pc:sldMk cId="975286347" sldId="636"/>
            <ac:spMk id="6" creationId="{F6338EC5-0A81-7DC2-69F0-D3BF4953F92A}"/>
          </ac:spMkLst>
        </pc:spChg>
        <pc:spChg chg="add mod">
          <ac:chgData name="Eileen Fleming Suse" userId="S::efs3844@ads.northwestern.edu::725c94ef-d051-42d7-9d33-8572765d592b" providerId="AD" clId="Web-{2D3E1CBF-0F08-92B9-6543-9FE5E77E56E9}" dt="2023-10-28T14:51:22.283" v="247" actId="20577"/>
          <ac:spMkLst>
            <pc:docMk/>
            <pc:sldMk cId="975286347" sldId="636"/>
            <ac:spMk id="7" creationId="{3AA2C132-6976-52A2-A4F0-D81D09CBB1EA}"/>
          </ac:spMkLst>
        </pc:spChg>
        <pc:picChg chg="add mod">
          <ac:chgData name="Eileen Fleming Suse" userId="S::efs3844@ads.northwestern.edu::725c94ef-d051-42d7-9d33-8572765d592b" providerId="AD" clId="Web-{2D3E1CBF-0F08-92B9-6543-9FE5E77E56E9}" dt="2023-10-28T14:52:59.786" v="257" actId="1076"/>
          <ac:picMkLst>
            <pc:docMk/>
            <pc:sldMk cId="975286347" sldId="636"/>
            <ac:picMk id="8" creationId="{F6AF464B-BCF9-C413-1A61-5938E8025FD8}"/>
          </ac:picMkLst>
        </pc:picChg>
        <pc:picChg chg="add mod">
          <ac:chgData name="Eileen Fleming Suse" userId="S::efs3844@ads.northwestern.edu::725c94ef-d051-42d7-9d33-8572765d592b" providerId="AD" clId="Web-{2D3E1CBF-0F08-92B9-6543-9FE5E77E56E9}" dt="2023-10-28T14:52:49.004" v="256" actId="14100"/>
          <ac:picMkLst>
            <pc:docMk/>
            <pc:sldMk cId="975286347" sldId="636"/>
            <ac:picMk id="9" creationId="{8553280F-F27E-3A70-1DDD-92D0DF0018F9}"/>
          </ac:picMkLst>
        </pc:picChg>
      </pc:sldChg>
    </pc:docChg>
  </pc:docChgLst>
  <pc:docChgLst>
    <pc:chgData name="Eileen Fleming Suse" userId="S::efs3844@ads.northwestern.edu::725c94ef-d051-42d7-9d33-8572765d592b" providerId="AD" clId="Web-{C93D31B3-2B8C-DAAF-7090-3A2197BCB065}"/>
    <pc:docChg chg="addSld delSld modSld sldOrd">
      <pc:chgData name="Eileen Fleming Suse" userId="S::efs3844@ads.northwestern.edu::725c94ef-d051-42d7-9d33-8572765d592b" providerId="AD" clId="Web-{C93D31B3-2B8C-DAAF-7090-3A2197BCB065}" dt="2023-10-27T21:32:15.542" v="226"/>
      <pc:docMkLst>
        <pc:docMk/>
      </pc:docMkLst>
      <pc:sldChg chg="delCm">
        <pc:chgData name="Eileen Fleming Suse" userId="S::efs3844@ads.northwestern.edu::725c94ef-d051-42d7-9d33-8572765d592b" providerId="AD" clId="Web-{C93D31B3-2B8C-DAAF-7090-3A2197BCB065}" dt="2023-10-27T20:38:25.630" v="101"/>
        <pc:sldMkLst>
          <pc:docMk/>
          <pc:sldMk cId="2351229145" sldId="544"/>
        </pc:sldMkLst>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C93D31B3-2B8C-DAAF-7090-3A2197BCB065}" dt="2023-10-27T20:38:25.630" v="101"/>
              <pc2:cmMkLst xmlns:pc2="http://schemas.microsoft.com/office/powerpoint/2019/9/main/command">
                <pc:docMk/>
                <pc:sldMk cId="2351229145" sldId="544"/>
                <pc2:cmMk id="{94040B62-D001-43B9-8FD0-0A8B0C9B684C}"/>
              </pc2:cmMkLst>
            </pc226:cmChg>
          </p:ext>
        </pc:extLst>
      </pc:sldChg>
      <pc:sldChg chg="modSp">
        <pc:chgData name="Eileen Fleming Suse" userId="S::efs3844@ads.northwestern.edu::725c94ef-d051-42d7-9d33-8572765d592b" providerId="AD" clId="Web-{C93D31B3-2B8C-DAAF-7090-3A2197BCB065}" dt="2023-10-27T20:37:55.739" v="100" actId="20577"/>
        <pc:sldMkLst>
          <pc:docMk/>
          <pc:sldMk cId="1141815353" sldId="562"/>
        </pc:sldMkLst>
        <pc:spChg chg="mod">
          <ac:chgData name="Eileen Fleming Suse" userId="S::efs3844@ads.northwestern.edu::725c94ef-d051-42d7-9d33-8572765d592b" providerId="AD" clId="Web-{C93D31B3-2B8C-DAAF-7090-3A2197BCB065}" dt="2023-10-27T20:37:55.739" v="100" actId="20577"/>
          <ac:spMkLst>
            <pc:docMk/>
            <pc:sldMk cId="1141815353" sldId="562"/>
            <ac:spMk id="2" creationId="{05579FEB-3306-A04E-6516-F16994F3B0F9}"/>
          </ac:spMkLst>
        </pc:spChg>
        <pc:spChg chg="mod">
          <ac:chgData name="Eileen Fleming Suse" userId="S::efs3844@ads.northwestern.edu::725c94ef-d051-42d7-9d33-8572765d592b" providerId="AD" clId="Web-{C93D31B3-2B8C-DAAF-7090-3A2197BCB065}" dt="2023-10-27T20:37:49.195" v="99"/>
          <ac:spMkLst>
            <pc:docMk/>
            <pc:sldMk cId="1141815353" sldId="562"/>
            <ac:spMk id="360" creationId="{FE59A3A2-BFF2-9772-51D6-9CCB620AEB53}"/>
          </ac:spMkLst>
        </pc:spChg>
        <pc:graphicFrameChg chg="modGraphic">
          <ac:chgData name="Eileen Fleming Suse" userId="S::efs3844@ads.northwestern.edu::725c94ef-d051-42d7-9d33-8572765d592b" providerId="AD" clId="Web-{C93D31B3-2B8C-DAAF-7090-3A2197BCB065}" dt="2023-10-27T20:37:40.614" v="96" actId="20577"/>
          <ac:graphicFrameMkLst>
            <pc:docMk/>
            <pc:sldMk cId="1141815353" sldId="562"/>
            <ac:graphicFrameMk id="137" creationId="{61D68665-D38F-2DB1-AAFC-535C715B7F9F}"/>
          </ac:graphicFrameMkLst>
        </pc:graphicFrameChg>
      </pc:sldChg>
      <pc:sldChg chg="addAnim">
        <pc:chgData name="Eileen Fleming Suse" userId="S::efs3844@ads.northwestern.edu::725c94ef-d051-42d7-9d33-8572765d592b" providerId="AD" clId="Web-{C93D31B3-2B8C-DAAF-7090-3A2197BCB065}" dt="2023-10-27T20:34:45.141" v="77"/>
        <pc:sldMkLst>
          <pc:docMk/>
          <pc:sldMk cId="3845418986" sldId="563"/>
        </pc:sldMkLst>
      </pc:sldChg>
      <pc:sldChg chg="addAnim delAnim modAnim">
        <pc:chgData name="Eileen Fleming Suse" userId="S::efs3844@ads.northwestern.edu::725c94ef-d051-42d7-9d33-8572765d592b" providerId="AD" clId="Web-{C93D31B3-2B8C-DAAF-7090-3A2197BCB065}" dt="2023-10-27T20:34:35.282" v="76"/>
        <pc:sldMkLst>
          <pc:docMk/>
          <pc:sldMk cId="1536434647" sldId="564"/>
        </pc:sldMkLst>
      </pc:sldChg>
      <pc:sldChg chg="delSp">
        <pc:chgData name="Eileen Fleming Suse" userId="S::efs3844@ads.northwestern.edu::725c94ef-d051-42d7-9d33-8572765d592b" providerId="AD" clId="Web-{C93D31B3-2B8C-DAAF-7090-3A2197BCB065}" dt="2023-10-27T20:25:58.630" v="11"/>
        <pc:sldMkLst>
          <pc:docMk/>
          <pc:sldMk cId="3870927286" sldId="583"/>
        </pc:sldMkLst>
        <pc:spChg chg="del">
          <ac:chgData name="Eileen Fleming Suse" userId="S::efs3844@ads.northwestern.edu::725c94ef-d051-42d7-9d33-8572765d592b" providerId="AD" clId="Web-{C93D31B3-2B8C-DAAF-7090-3A2197BCB065}" dt="2023-10-27T20:25:58.630" v="8"/>
          <ac:spMkLst>
            <pc:docMk/>
            <pc:sldMk cId="3870927286" sldId="583"/>
            <ac:spMk id="48" creationId="{00000000-0000-0000-0000-000000000000}"/>
          </ac:spMkLst>
        </pc:spChg>
        <pc:spChg chg="del">
          <ac:chgData name="Eileen Fleming Suse" userId="S::efs3844@ads.northwestern.edu::725c94ef-d051-42d7-9d33-8572765d592b" providerId="AD" clId="Web-{C93D31B3-2B8C-DAAF-7090-3A2197BCB065}" dt="2023-10-27T20:25:58.630" v="7"/>
          <ac:spMkLst>
            <pc:docMk/>
            <pc:sldMk cId="3870927286" sldId="583"/>
            <ac:spMk id="49" creationId="{00000000-0000-0000-0000-000000000000}"/>
          </ac:spMkLst>
        </pc:spChg>
        <pc:spChg chg="del">
          <ac:chgData name="Eileen Fleming Suse" userId="S::efs3844@ads.northwestern.edu::725c94ef-d051-42d7-9d33-8572765d592b" providerId="AD" clId="Web-{C93D31B3-2B8C-DAAF-7090-3A2197BCB065}" dt="2023-10-27T20:25:58.630" v="6"/>
          <ac:spMkLst>
            <pc:docMk/>
            <pc:sldMk cId="3870927286" sldId="583"/>
            <ac:spMk id="50" creationId="{00000000-0000-0000-0000-000000000000}"/>
          </ac:spMkLst>
        </pc:spChg>
        <pc:grpChg chg="del">
          <ac:chgData name="Eileen Fleming Suse" userId="S::efs3844@ads.northwestern.edu::725c94ef-d051-42d7-9d33-8572765d592b" providerId="AD" clId="Web-{C93D31B3-2B8C-DAAF-7090-3A2197BCB065}" dt="2023-10-27T20:25:58.630" v="11"/>
          <ac:grpSpMkLst>
            <pc:docMk/>
            <pc:sldMk cId="3870927286" sldId="583"/>
            <ac:grpSpMk id="18" creationId="{00000000-0000-0000-0000-000000000000}"/>
          </ac:grpSpMkLst>
        </pc:grpChg>
        <pc:grpChg chg="del">
          <ac:chgData name="Eileen Fleming Suse" userId="S::efs3844@ads.northwestern.edu::725c94ef-d051-42d7-9d33-8572765d592b" providerId="AD" clId="Web-{C93D31B3-2B8C-DAAF-7090-3A2197BCB065}" dt="2023-10-27T20:25:58.630" v="10"/>
          <ac:grpSpMkLst>
            <pc:docMk/>
            <pc:sldMk cId="3870927286" sldId="583"/>
            <ac:grpSpMk id="42" creationId="{00000000-0000-0000-0000-000000000000}"/>
          </ac:grpSpMkLst>
        </pc:grpChg>
        <pc:grpChg chg="del">
          <ac:chgData name="Eileen Fleming Suse" userId="S::efs3844@ads.northwestern.edu::725c94ef-d051-42d7-9d33-8572765d592b" providerId="AD" clId="Web-{C93D31B3-2B8C-DAAF-7090-3A2197BCB065}" dt="2023-10-27T20:25:58.630" v="9"/>
          <ac:grpSpMkLst>
            <pc:docMk/>
            <pc:sldMk cId="3870927286" sldId="583"/>
            <ac:grpSpMk id="45" creationId="{00000000-0000-0000-0000-000000000000}"/>
          </ac:grpSpMkLst>
        </pc:grpChg>
      </pc:sldChg>
      <pc:sldChg chg="addAnim">
        <pc:chgData name="Eileen Fleming Suse" userId="S::efs3844@ads.northwestern.edu::725c94ef-d051-42d7-9d33-8572765d592b" providerId="AD" clId="Web-{C93D31B3-2B8C-DAAF-7090-3A2197BCB065}" dt="2023-10-27T20:36:02.424" v="82"/>
        <pc:sldMkLst>
          <pc:docMk/>
          <pc:sldMk cId="3561966490" sldId="585"/>
        </pc:sldMkLst>
      </pc:sldChg>
      <pc:sldChg chg="addAnim">
        <pc:chgData name="Eileen Fleming Suse" userId="S::efs3844@ads.northwestern.edu::725c94ef-d051-42d7-9d33-8572765d592b" providerId="AD" clId="Web-{C93D31B3-2B8C-DAAF-7090-3A2197BCB065}" dt="2023-10-27T20:35:43.361" v="81"/>
        <pc:sldMkLst>
          <pc:docMk/>
          <pc:sldMk cId="3809547791" sldId="586"/>
        </pc:sldMkLst>
      </pc:sldChg>
      <pc:sldChg chg="addAnim">
        <pc:chgData name="Eileen Fleming Suse" userId="S::efs3844@ads.northwestern.edu::725c94ef-d051-42d7-9d33-8572765d592b" providerId="AD" clId="Web-{C93D31B3-2B8C-DAAF-7090-3A2197BCB065}" dt="2023-10-27T20:35:34.392" v="80"/>
        <pc:sldMkLst>
          <pc:docMk/>
          <pc:sldMk cId="1598854783" sldId="587"/>
        </pc:sldMkLst>
      </pc:sldChg>
      <pc:sldChg chg="addAnim">
        <pc:chgData name="Eileen Fleming Suse" userId="S::efs3844@ads.northwestern.edu::725c94ef-d051-42d7-9d33-8572765d592b" providerId="AD" clId="Web-{C93D31B3-2B8C-DAAF-7090-3A2197BCB065}" dt="2023-10-27T20:35:16.720" v="79"/>
        <pc:sldMkLst>
          <pc:docMk/>
          <pc:sldMk cId="3832963388" sldId="588"/>
        </pc:sldMkLst>
      </pc:sldChg>
      <pc:sldChg chg="addAnim">
        <pc:chgData name="Eileen Fleming Suse" userId="S::efs3844@ads.northwestern.edu::725c94ef-d051-42d7-9d33-8572765d592b" providerId="AD" clId="Web-{C93D31B3-2B8C-DAAF-7090-3A2197BCB065}" dt="2023-10-27T20:35:00.423" v="78"/>
        <pc:sldMkLst>
          <pc:docMk/>
          <pc:sldMk cId="629433230" sldId="591"/>
        </pc:sldMkLst>
      </pc:sldChg>
      <pc:sldChg chg="modNotes">
        <pc:chgData name="Eileen Fleming Suse" userId="S::efs3844@ads.northwestern.edu::725c94ef-d051-42d7-9d33-8572765d592b" providerId="AD" clId="Web-{C93D31B3-2B8C-DAAF-7090-3A2197BCB065}" dt="2023-10-27T20:51:02.849" v="104"/>
        <pc:sldMkLst>
          <pc:docMk/>
          <pc:sldMk cId="2470795492" sldId="599"/>
        </pc:sldMkLst>
      </pc:sldChg>
      <pc:sldChg chg="addSp delSp modSp modCm">
        <pc:chgData name="Eileen Fleming Suse" userId="S::efs3844@ads.northwestern.edu::725c94ef-d051-42d7-9d33-8572765d592b" providerId="AD" clId="Web-{C93D31B3-2B8C-DAAF-7090-3A2197BCB065}" dt="2023-10-27T21:31:50.088" v="225"/>
        <pc:sldMkLst>
          <pc:docMk/>
          <pc:sldMk cId="3355787309" sldId="604"/>
        </pc:sldMkLst>
        <pc:spChg chg="mod">
          <ac:chgData name="Eileen Fleming Suse" userId="S::efs3844@ads.northwestern.edu::725c94ef-d051-42d7-9d33-8572765d592b" providerId="AD" clId="Web-{C93D31B3-2B8C-DAAF-7090-3A2197BCB065}" dt="2023-10-27T21:31:34.291" v="220" actId="1076"/>
          <ac:spMkLst>
            <pc:docMk/>
            <pc:sldMk cId="3355787309" sldId="604"/>
            <ac:spMk id="2" creationId="{3D3DB2FD-422B-6FE2-6A77-68A0BED56A59}"/>
          </ac:spMkLst>
        </pc:spChg>
        <pc:spChg chg="del mod">
          <ac:chgData name="Eileen Fleming Suse" userId="S::efs3844@ads.northwestern.edu::725c94ef-d051-42d7-9d33-8572765d592b" providerId="AD" clId="Web-{C93D31B3-2B8C-DAAF-7090-3A2197BCB065}" dt="2023-10-27T21:02:41.005" v="106"/>
          <ac:spMkLst>
            <pc:docMk/>
            <pc:sldMk cId="3355787309" sldId="604"/>
            <ac:spMk id="3" creationId="{B1DF9D3E-53CE-A0B4-3C3C-775A3E3EE2E0}"/>
          </ac:spMkLst>
        </pc:spChg>
        <pc:spChg chg="add mod">
          <ac:chgData name="Eileen Fleming Suse" userId="S::efs3844@ads.northwestern.edu::725c94ef-d051-42d7-9d33-8572765d592b" providerId="AD" clId="Web-{C93D31B3-2B8C-DAAF-7090-3A2197BCB065}" dt="2023-10-27T21:31:44.448" v="224" actId="14100"/>
          <ac:spMkLst>
            <pc:docMk/>
            <pc:sldMk cId="3355787309" sldId="604"/>
            <ac:spMk id="7" creationId="{C2C4A4FB-85F0-1A6F-FCE0-0B66658A2386}"/>
          </ac:spMkLst>
        </pc:spChg>
        <pc:picChg chg="add del mod">
          <ac:chgData name="Eileen Fleming Suse" userId="S::efs3844@ads.northwestern.edu::725c94ef-d051-42d7-9d33-8572765d592b" providerId="AD" clId="Web-{C93D31B3-2B8C-DAAF-7090-3A2197BCB065}" dt="2023-10-27T21:29:46.945" v="207"/>
          <ac:picMkLst>
            <pc:docMk/>
            <pc:sldMk cId="3355787309" sldId="604"/>
            <ac:picMk id="8" creationId="{CFCA719F-085D-BF88-9706-0C08E8805D92}"/>
          </ac:picMkLst>
        </pc:picChg>
        <pc:picChg chg="add del mod">
          <ac:chgData name="Eileen Fleming Suse" userId="S::efs3844@ads.northwestern.edu::725c94ef-d051-42d7-9d33-8572765d592b" providerId="AD" clId="Web-{C93D31B3-2B8C-DAAF-7090-3A2197BCB065}" dt="2023-10-27T21:30:15.743" v="212"/>
          <ac:picMkLst>
            <pc:docMk/>
            <pc:sldMk cId="3355787309" sldId="604"/>
            <ac:picMk id="9" creationId="{A76D19E5-C9EB-D9B7-1001-C47E41765400}"/>
          </ac:picMkLst>
        </pc:picChg>
        <pc:picChg chg="add mod">
          <ac:chgData name="Eileen Fleming Suse" userId="S::efs3844@ads.northwestern.edu::725c94ef-d051-42d7-9d33-8572765d592b" providerId="AD" clId="Web-{C93D31B3-2B8C-DAAF-7090-3A2197BCB065}" dt="2023-10-27T21:31:30.338" v="218" actId="1076"/>
          <ac:picMkLst>
            <pc:docMk/>
            <pc:sldMk cId="3355787309" sldId="604"/>
            <ac:picMk id="10" creationId="{66E5EB26-086B-E77E-CBE6-BB12DE36113C}"/>
          </ac:picMkLst>
        </pc:picChg>
        <pc:extLst>
          <p:ext xmlns:p="http://schemas.openxmlformats.org/presentationml/2006/main" uri="{D6D511B9-2390-475A-947B-AFAB55BFBCF1}">
            <pc226:cmChg xmlns:pc226="http://schemas.microsoft.com/office/powerpoint/2022/06/main/command" chg="mod">
              <pc226:chgData name="Eileen Fleming Suse" userId="S::efs3844@ads.northwestern.edu::725c94ef-d051-42d7-9d33-8572765d592b" providerId="AD" clId="Web-{C93D31B3-2B8C-DAAF-7090-3A2197BCB065}" dt="2023-10-27T21:31:50.088" v="225"/>
              <pc2:cmMkLst xmlns:pc2="http://schemas.microsoft.com/office/powerpoint/2019/9/main/command">
                <pc:docMk/>
                <pc:sldMk cId="3355787309" sldId="604"/>
                <pc2:cmMk id="{5635E0A6-AC69-4FB6-B7FE-9DA078BBCAEE}"/>
              </pc2:cmMkLst>
            </pc226:cmChg>
          </p:ext>
        </pc:extLst>
      </pc:sldChg>
      <pc:sldChg chg="addSp delSp modSp">
        <pc:chgData name="Eileen Fleming Suse" userId="S::efs3844@ads.northwestern.edu::725c94ef-d051-42d7-9d33-8572765d592b" providerId="AD" clId="Web-{C93D31B3-2B8C-DAAF-7090-3A2197BCB065}" dt="2023-10-27T21:04:15.366" v="110"/>
        <pc:sldMkLst>
          <pc:docMk/>
          <pc:sldMk cId="1452140663" sldId="605"/>
        </pc:sldMkLst>
        <pc:spChg chg="add del mod">
          <ac:chgData name="Eileen Fleming Suse" userId="S::efs3844@ads.northwestern.edu::725c94ef-d051-42d7-9d33-8572765d592b" providerId="AD" clId="Web-{C93D31B3-2B8C-DAAF-7090-3A2197BCB065}" dt="2023-10-27T21:04:15.366" v="110"/>
          <ac:spMkLst>
            <pc:docMk/>
            <pc:sldMk cId="1452140663" sldId="605"/>
            <ac:spMk id="3" creationId="{7DA7F350-CE79-EDF6-B779-CC8CCCE0E40A}"/>
          </ac:spMkLst>
        </pc:spChg>
      </pc:sldChg>
      <pc:sldChg chg="delCm">
        <pc:chgData name="Eileen Fleming Suse" userId="S::efs3844@ads.northwestern.edu::725c94ef-d051-42d7-9d33-8572765d592b" providerId="AD" clId="Web-{C93D31B3-2B8C-DAAF-7090-3A2197BCB065}" dt="2023-10-27T21:32:15.542" v="226"/>
        <pc:sldMkLst>
          <pc:docMk/>
          <pc:sldMk cId="2003568291" sldId="609"/>
        </pc:sldMkLst>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C93D31B3-2B8C-DAAF-7090-3A2197BCB065}" dt="2023-10-27T21:32:15.542" v="226"/>
              <pc2:cmMkLst xmlns:pc2="http://schemas.microsoft.com/office/powerpoint/2019/9/main/command">
                <pc:docMk/>
                <pc:sldMk cId="2003568291" sldId="609"/>
                <pc2:cmMk id="{AE1B6C45-0EF0-4CD3-8E51-393E7FE3AF62}"/>
              </pc2:cmMkLst>
            </pc226:cmChg>
          </p:ext>
        </pc:extLst>
      </pc:sldChg>
      <pc:sldChg chg="modSp">
        <pc:chgData name="Eileen Fleming Suse" userId="S::efs3844@ads.northwestern.edu::725c94ef-d051-42d7-9d33-8572765d592b" providerId="AD" clId="Web-{C93D31B3-2B8C-DAAF-7090-3A2197BCB065}" dt="2023-10-27T20:25:18.004" v="5" actId="1076"/>
        <pc:sldMkLst>
          <pc:docMk/>
          <pc:sldMk cId="3726638559" sldId="616"/>
        </pc:sldMkLst>
        <pc:spChg chg="mod">
          <ac:chgData name="Eileen Fleming Suse" userId="S::efs3844@ads.northwestern.edu::725c94ef-d051-42d7-9d33-8572765d592b" providerId="AD" clId="Web-{C93D31B3-2B8C-DAAF-7090-3A2197BCB065}" dt="2023-10-27T20:25:18.004" v="5" actId="1076"/>
          <ac:spMkLst>
            <pc:docMk/>
            <pc:sldMk cId="3726638559" sldId="616"/>
            <ac:spMk id="2175" creationId="{00000000-0000-0000-0000-000000000000}"/>
          </ac:spMkLst>
        </pc:spChg>
      </pc:sldChg>
      <pc:sldChg chg="addSp modSp addAnim delAnim">
        <pc:chgData name="Eileen Fleming Suse" userId="S::efs3844@ads.northwestern.edu::725c94ef-d051-42d7-9d33-8572765d592b" providerId="AD" clId="Web-{C93D31B3-2B8C-DAAF-7090-3A2197BCB065}" dt="2023-10-27T20:31:31.278" v="42"/>
        <pc:sldMkLst>
          <pc:docMk/>
          <pc:sldMk cId="1210022179" sldId="617"/>
        </pc:sldMkLst>
        <pc:spChg chg="add mod">
          <ac:chgData name="Eileen Fleming Suse" userId="S::efs3844@ads.northwestern.edu::725c94ef-d051-42d7-9d33-8572765d592b" providerId="AD" clId="Web-{C93D31B3-2B8C-DAAF-7090-3A2197BCB065}" dt="2023-10-27T20:28:42.899" v="19" actId="14100"/>
          <ac:spMkLst>
            <pc:docMk/>
            <pc:sldMk cId="1210022179" sldId="617"/>
            <ac:spMk id="3" creationId="{58E28592-FDD2-A9FB-FF64-0D7E537442D4}"/>
          </ac:spMkLst>
        </pc:spChg>
        <pc:spChg chg="add mod">
          <ac:chgData name="Eileen Fleming Suse" userId="S::efs3844@ads.northwestern.edu::725c94ef-d051-42d7-9d33-8572765d592b" providerId="AD" clId="Web-{C93D31B3-2B8C-DAAF-7090-3A2197BCB065}" dt="2023-10-27T20:31:20.653" v="40" actId="20577"/>
          <ac:spMkLst>
            <pc:docMk/>
            <pc:sldMk cId="1210022179" sldId="617"/>
            <ac:spMk id="6" creationId="{602B4FC7-02B4-B308-F882-1F10636CBFF9}"/>
          </ac:spMkLst>
        </pc:spChg>
      </pc:sldChg>
      <pc:sldChg chg="del">
        <pc:chgData name="Eileen Fleming Suse" userId="S::efs3844@ads.northwestern.edu::725c94ef-d051-42d7-9d33-8572765d592b" providerId="AD" clId="Web-{C93D31B3-2B8C-DAAF-7090-3A2197BCB065}" dt="2023-10-27T20:29:09.806" v="23"/>
        <pc:sldMkLst>
          <pc:docMk/>
          <pc:sldMk cId="3431700372" sldId="618"/>
        </pc:sldMkLst>
      </pc:sldChg>
      <pc:sldChg chg="del">
        <pc:chgData name="Eileen Fleming Suse" userId="S::efs3844@ads.northwestern.edu::725c94ef-d051-42d7-9d33-8572765d592b" providerId="AD" clId="Web-{C93D31B3-2B8C-DAAF-7090-3A2197BCB065}" dt="2023-10-27T20:29:39.400" v="26"/>
        <pc:sldMkLst>
          <pc:docMk/>
          <pc:sldMk cId="923498403" sldId="619"/>
        </pc:sldMkLst>
      </pc:sldChg>
      <pc:sldChg chg="del">
        <pc:chgData name="Eileen Fleming Suse" userId="S::efs3844@ads.northwestern.edu::725c94ef-d051-42d7-9d33-8572765d592b" providerId="AD" clId="Web-{C93D31B3-2B8C-DAAF-7090-3A2197BCB065}" dt="2023-10-27T20:29:49.526" v="27"/>
        <pc:sldMkLst>
          <pc:docMk/>
          <pc:sldMk cId="3074345071" sldId="620"/>
        </pc:sldMkLst>
      </pc:sldChg>
      <pc:sldChg chg="ord addAnim">
        <pc:chgData name="Eileen Fleming Suse" userId="S::efs3844@ads.northwestern.edu::725c94ef-d051-42d7-9d33-8572765d592b" providerId="AD" clId="Web-{C93D31B3-2B8C-DAAF-7090-3A2197BCB065}" dt="2023-10-27T20:27:46.132" v="13"/>
        <pc:sldMkLst>
          <pc:docMk/>
          <pc:sldMk cId="3850125703" sldId="622"/>
        </pc:sldMkLst>
      </pc:sldChg>
      <pc:sldChg chg="addSp modSp add replId addAnim">
        <pc:chgData name="Eileen Fleming Suse" userId="S::efs3844@ads.northwestern.edu::725c94ef-d051-42d7-9d33-8572765d592b" providerId="AD" clId="Web-{C93D31B3-2B8C-DAAF-7090-3A2197BCB065}" dt="2023-10-27T20:32:10.872" v="46" actId="20577"/>
        <pc:sldMkLst>
          <pc:docMk/>
          <pc:sldMk cId="2561278274" sldId="630"/>
        </pc:sldMkLst>
        <pc:spChg chg="mod">
          <ac:chgData name="Eileen Fleming Suse" userId="S::efs3844@ads.northwestern.edu::725c94ef-d051-42d7-9d33-8572765d592b" providerId="AD" clId="Web-{C93D31B3-2B8C-DAAF-7090-3A2197BCB065}" dt="2023-10-27T20:29:06.103" v="22" actId="1076"/>
          <ac:spMkLst>
            <pc:docMk/>
            <pc:sldMk cId="2561278274" sldId="630"/>
            <ac:spMk id="3" creationId="{58E28592-FDD2-A9FB-FF64-0D7E537442D4}"/>
          </ac:spMkLst>
        </pc:spChg>
        <pc:spChg chg="add mod">
          <ac:chgData name="Eileen Fleming Suse" userId="S::efs3844@ads.northwestern.edu::725c94ef-d051-42d7-9d33-8572765d592b" providerId="AD" clId="Web-{C93D31B3-2B8C-DAAF-7090-3A2197BCB065}" dt="2023-10-27T20:32:10.872" v="46" actId="20577"/>
          <ac:spMkLst>
            <pc:docMk/>
            <pc:sldMk cId="2561278274" sldId="630"/>
            <ac:spMk id="7" creationId="{8496B0C4-3602-7272-3A32-22184B4B8223}"/>
          </ac:spMkLst>
        </pc:spChg>
      </pc:sldChg>
      <pc:sldChg chg="addSp modSp add replId addAnim delAnim">
        <pc:chgData name="Eileen Fleming Suse" userId="S::efs3844@ads.northwestern.edu::725c94ef-d051-42d7-9d33-8572765d592b" providerId="AD" clId="Web-{C93D31B3-2B8C-DAAF-7090-3A2197BCB065}" dt="2023-10-27T20:32:37.435" v="51"/>
        <pc:sldMkLst>
          <pc:docMk/>
          <pc:sldMk cId="488873692" sldId="631"/>
        </pc:sldMkLst>
        <pc:spChg chg="mod">
          <ac:chgData name="Eileen Fleming Suse" userId="S::efs3844@ads.northwestern.edu::725c94ef-d051-42d7-9d33-8572765d592b" providerId="AD" clId="Web-{C93D31B3-2B8C-DAAF-7090-3A2197BCB065}" dt="2023-10-27T20:29:32.728" v="25" actId="1076"/>
          <ac:spMkLst>
            <pc:docMk/>
            <pc:sldMk cId="488873692" sldId="631"/>
            <ac:spMk id="3" creationId="{58E28592-FDD2-A9FB-FF64-0D7E537442D4}"/>
          </ac:spMkLst>
        </pc:spChg>
        <pc:spChg chg="add mod">
          <ac:chgData name="Eileen Fleming Suse" userId="S::efs3844@ads.northwestern.edu::725c94ef-d051-42d7-9d33-8572765d592b" providerId="AD" clId="Web-{C93D31B3-2B8C-DAAF-7090-3A2197BCB065}" dt="2023-10-27T20:32:37.201" v="50" actId="20577"/>
          <ac:spMkLst>
            <pc:docMk/>
            <pc:sldMk cId="488873692" sldId="631"/>
            <ac:spMk id="7" creationId="{DFD5A0D1-51F6-710D-06A4-BD15D9E25C76}"/>
          </ac:spMkLst>
        </pc:spChg>
      </pc:sldChg>
      <pc:sldChg chg="addSp modSp add ord replId addAnim">
        <pc:chgData name="Eileen Fleming Suse" userId="S::efs3844@ads.northwestern.edu::725c94ef-d051-42d7-9d33-8572765d592b" providerId="AD" clId="Web-{C93D31B3-2B8C-DAAF-7090-3A2197BCB065}" dt="2023-10-27T20:32:48.670" v="54" actId="20577"/>
        <pc:sldMkLst>
          <pc:docMk/>
          <pc:sldMk cId="3115055849" sldId="632"/>
        </pc:sldMkLst>
        <pc:spChg chg="mod">
          <ac:chgData name="Eileen Fleming Suse" userId="S::efs3844@ads.northwestern.edu::725c94ef-d051-42d7-9d33-8572765d592b" providerId="AD" clId="Web-{C93D31B3-2B8C-DAAF-7090-3A2197BCB065}" dt="2023-10-27T20:30:07.417" v="30" actId="1076"/>
          <ac:spMkLst>
            <pc:docMk/>
            <pc:sldMk cId="3115055849" sldId="632"/>
            <ac:spMk id="3" creationId="{58E28592-FDD2-A9FB-FF64-0D7E537442D4}"/>
          </ac:spMkLst>
        </pc:spChg>
        <pc:spChg chg="add mod">
          <ac:chgData name="Eileen Fleming Suse" userId="S::efs3844@ads.northwestern.edu::725c94ef-d051-42d7-9d33-8572765d592b" providerId="AD" clId="Web-{C93D31B3-2B8C-DAAF-7090-3A2197BCB065}" dt="2023-10-27T20:32:48.670" v="54" actId="20577"/>
          <ac:spMkLst>
            <pc:docMk/>
            <pc:sldMk cId="3115055849" sldId="632"/>
            <ac:spMk id="7" creationId="{C2E32C2D-903E-520B-06DF-BD02CDACB918}"/>
          </ac:spMkLst>
        </pc:spChg>
      </pc:sldChg>
      <pc:sldChg chg="addSp modSp add replId addAnim">
        <pc:chgData name="Eileen Fleming Suse" userId="S::efs3844@ads.northwestern.edu::725c94ef-d051-42d7-9d33-8572765d592b" providerId="AD" clId="Web-{C93D31B3-2B8C-DAAF-7090-3A2197BCB065}" dt="2023-10-27T20:33:06.811" v="57" actId="20577"/>
        <pc:sldMkLst>
          <pc:docMk/>
          <pc:sldMk cId="3999708931" sldId="633"/>
        </pc:sldMkLst>
        <pc:spChg chg="mod">
          <ac:chgData name="Eileen Fleming Suse" userId="S::efs3844@ads.northwestern.edu::725c94ef-d051-42d7-9d33-8572765d592b" providerId="AD" clId="Web-{C93D31B3-2B8C-DAAF-7090-3A2197BCB065}" dt="2023-10-27T20:30:30.042" v="32" actId="1076"/>
          <ac:spMkLst>
            <pc:docMk/>
            <pc:sldMk cId="3999708931" sldId="633"/>
            <ac:spMk id="3" creationId="{58E28592-FDD2-A9FB-FF64-0D7E537442D4}"/>
          </ac:spMkLst>
        </pc:spChg>
        <pc:spChg chg="add mod">
          <ac:chgData name="Eileen Fleming Suse" userId="S::efs3844@ads.northwestern.edu::725c94ef-d051-42d7-9d33-8572765d592b" providerId="AD" clId="Web-{C93D31B3-2B8C-DAAF-7090-3A2197BCB065}" dt="2023-10-27T20:33:06.811" v="57" actId="20577"/>
          <ac:spMkLst>
            <pc:docMk/>
            <pc:sldMk cId="3999708931" sldId="633"/>
            <ac:spMk id="7" creationId="{32D43D21-12EB-57B8-92CD-FBCBE656C832}"/>
          </ac:spMkLst>
        </pc:spChg>
      </pc:sldChg>
    </pc:docChg>
  </pc:docChgLst>
  <pc:docChgLst>
    <pc:chgData name="Caldarelli, Leslie" userId="S::lcaldarelli_luriechildrens.org#ext#@nuwildcat.onmicrosoft.com::cd79b54d-c14e-4199-a04a-39c6f592e710" providerId="AD" clId="Web-{96B049F1-23A1-EFBD-700B-2889CC878206}"/>
    <pc:docChg chg="addSld delSld modSld">
      <pc:chgData name="Caldarelli, Leslie" userId="S::lcaldarelli_luriechildrens.org#ext#@nuwildcat.onmicrosoft.com::cd79b54d-c14e-4199-a04a-39c6f592e710" providerId="AD" clId="Web-{96B049F1-23A1-EFBD-700B-2889CC878206}" dt="2023-10-31T04:45:48.858" v="115"/>
      <pc:docMkLst>
        <pc:docMk/>
      </pc:docMkLst>
      <pc:sldChg chg="modSp">
        <pc:chgData name="Caldarelli, Leslie" userId="S::lcaldarelli_luriechildrens.org#ext#@nuwildcat.onmicrosoft.com::cd79b54d-c14e-4199-a04a-39c6f592e710" providerId="AD" clId="Web-{96B049F1-23A1-EFBD-700B-2889CC878206}" dt="2023-10-31T04:36:15.700" v="10" actId="1076"/>
        <pc:sldMkLst>
          <pc:docMk/>
          <pc:sldMk cId="3472964082" sldId="550"/>
        </pc:sldMkLst>
        <pc:spChg chg="mod">
          <ac:chgData name="Caldarelli, Leslie" userId="S::lcaldarelli_luriechildrens.org#ext#@nuwildcat.onmicrosoft.com::cd79b54d-c14e-4199-a04a-39c6f592e710" providerId="AD" clId="Web-{96B049F1-23A1-EFBD-700B-2889CC878206}" dt="2023-10-31T04:36:15.700" v="10" actId="1076"/>
          <ac:spMkLst>
            <pc:docMk/>
            <pc:sldMk cId="3472964082" sldId="550"/>
            <ac:spMk id="14" creationId="{00000000-0000-0000-0000-000000000000}"/>
          </ac:spMkLst>
        </pc:spChg>
      </pc:sldChg>
      <pc:sldChg chg="modSp">
        <pc:chgData name="Caldarelli, Leslie" userId="S::lcaldarelli_luriechildrens.org#ext#@nuwildcat.onmicrosoft.com::cd79b54d-c14e-4199-a04a-39c6f592e710" providerId="AD" clId="Web-{96B049F1-23A1-EFBD-700B-2889CC878206}" dt="2023-10-31T04:36:05.231" v="8" actId="14100"/>
        <pc:sldMkLst>
          <pc:docMk/>
          <pc:sldMk cId="2562283095" sldId="551"/>
        </pc:sldMkLst>
        <pc:spChg chg="mod">
          <ac:chgData name="Caldarelli, Leslie" userId="S::lcaldarelli_luriechildrens.org#ext#@nuwildcat.onmicrosoft.com::cd79b54d-c14e-4199-a04a-39c6f592e710" providerId="AD" clId="Web-{96B049F1-23A1-EFBD-700B-2889CC878206}" dt="2023-10-31T04:36:05.231" v="8" actId="14100"/>
          <ac:spMkLst>
            <pc:docMk/>
            <pc:sldMk cId="2562283095" sldId="551"/>
            <ac:spMk id="14" creationId="{00000000-0000-0000-0000-000000000000}"/>
          </ac:spMkLst>
        </pc:spChg>
      </pc:sldChg>
      <pc:sldChg chg="modSp">
        <pc:chgData name="Caldarelli, Leslie" userId="S::lcaldarelli_luriechildrens.org#ext#@nuwildcat.onmicrosoft.com::cd79b54d-c14e-4199-a04a-39c6f592e710" providerId="AD" clId="Web-{96B049F1-23A1-EFBD-700B-2889CC878206}" dt="2023-10-31T04:38:09.080" v="32" actId="1076"/>
        <pc:sldMkLst>
          <pc:docMk/>
          <pc:sldMk cId="714682852" sldId="552"/>
        </pc:sldMkLst>
        <pc:spChg chg="mod">
          <ac:chgData name="Caldarelli, Leslie" userId="S::lcaldarelli_luriechildrens.org#ext#@nuwildcat.onmicrosoft.com::cd79b54d-c14e-4199-a04a-39c6f592e710" providerId="AD" clId="Web-{96B049F1-23A1-EFBD-700B-2889CC878206}" dt="2023-10-31T04:38:09.080" v="32" actId="1076"/>
          <ac:spMkLst>
            <pc:docMk/>
            <pc:sldMk cId="714682852" sldId="552"/>
            <ac:spMk id="6" creationId="{D07E332C-4452-C8D5-59CC-C21023DE9083}"/>
          </ac:spMkLst>
        </pc:spChg>
      </pc:sldChg>
      <pc:sldChg chg="del">
        <pc:chgData name="Caldarelli, Leslie" userId="S::lcaldarelli_luriechildrens.org#ext#@nuwildcat.onmicrosoft.com::cd79b54d-c14e-4199-a04a-39c6f592e710" providerId="AD" clId="Web-{96B049F1-23A1-EFBD-700B-2889CC878206}" dt="2023-10-31T04:43:40.230" v="99"/>
        <pc:sldMkLst>
          <pc:docMk/>
          <pc:sldMk cId="613071383" sldId="561"/>
        </pc:sldMkLst>
      </pc:sldChg>
      <pc:sldChg chg="modSp modNotes">
        <pc:chgData name="Caldarelli, Leslie" userId="S::lcaldarelli_luriechildrens.org#ext#@nuwildcat.onmicrosoft.com::cd79b54d-c14e-4199-a04a-39c6f592e710" providerId="AD" clId="Web-{96B049F1-23A1-EFBD-700B-2889CC878206}" dt="2023-10-31T04:44:16.840" v="109"/>
        <pc:sldMkLst>
          <pc:docMk/>
          <pc:sldMk cId="1141815353" sldId="562"/>
        </pc:sldMkLst>
        <pc:spChg chg="mod">
          <ac:chgData name="Caldarelli, Leslie" userId="S::lcaldarelli_luriechildrens.org#ext#@nuwildcat.onmicrosoft.com::cd79b54d-c14e-4199-a04a-39c6f592e710" providerId="AD" clId="Web-{96B049F1-23A1-EFBD-700B-2889CC878206}" dt="2023-10-31T04:44:11.074" v="108" actId="1076"/>
          <ac:spMkLst>
            <pc:docMk/>
            <pc:sldMk cId="1141815353" sldId="562"/>
            <ac:spMk id="2" creationId="{05579FEB-3306-A04E-6516-F16994F3B0F9}"/>
          </ac:spMkLst>
        </pc:spChg>
      </pc:sldChg>
      <pc:sldChg chg="modSp">
        <pc:chgData name="Caldarelli, Leslie" userId="S::lcaldarelli_luriechildrens.org#ext#@nuwildcat.onmicrosoft.com::cd79b54d-c14e-4199-a04a-39c6f592e710" providerId="AD" clId="Web-{96B049F1-23A1-EFBD-700B-2889CC878206}" dt="2023-10-31T04:35:14.683" v="3" actId="14100"/>
        <pc:sldMkLst>
          <pc:docMk/>
          <pc:sldMk cId="3561966490" sldId="585"/>
        </pc:sldMkLst>
        <pc:spChg chg="mod">
          <ac:chgData name="Caldarelli, Leslie" userId="S::lcaldarelli_luriechildrens.org#ext#@nuwildcat.onmicrosoft.com::cd79b54d-c14e-4199-a04a-39c6f592e710" providerId="AD" clId="Web-{96B049F1-23A1-EFBD-700B-2889CC878206}" dt="2023-10-31T04:35:14.683" v="3" actId="14100"/>
          <ac:spMkLst>
            <pc:docMk/>
            <pc:sldMk cId="3561966490" sldId="585"/>
            <ac:spMk id="19" creationId="{00000000-0000-0000-0000-000000000000}"/>
          </ac:spMkLst>
        </pc:spChg>
      </pc:sldChg>
      <pc:sldChg chg="modSp">
        <pc:chgData name="Caldarelli, Leslie" userId="S::lcaldarelli_luriechildrens.org#ext#@nuwildcat.onmicrosoft.com::cd79b54d-c14e-4199-a04a-39c6f592e710" providerId="AD" clId="Web-{96B049F1-23A1-EFBD-700B-2889CC878206}" dt="2023-10-31T04:35:05.339" v="1" actId="1076"/>
        <pc:sldMkLst>
          <pc:docMk/>
          <pc:sldMk cId="3809547791" sldId="586"/>
        </pc:sldMkLst>
        <pc:spChg chg="mod">
          <ac:chgData name="Caldarelli, Leslie" userId="S::lcaldarelli_luriechildrens.org#ext#@nuwildcat.onmicrosoft.com::cd79b54d-c14e-4199-a04a-39c6f592e710" providerId="AD" clId="Web-{96B049F1-23A1-EFBD-700B-2889CC878206}" dt="2023-10-31T04:34:57.432" v="0" actId="1076"/>
          <ac:spMkLst>
            <pc:docMk/>
            <pc:sldMk cId="3809547791" sldId="586"/>
            <ac:spMk id="45" creationId="{C77E478B-4FF6-99F3-8EF6-9EC4CBF20CDC}"/>
          </ac:spMkLst>
        </pc:spChg>
        <pc:spChg chg="mod">
          <ac:chgData name="Caldarelli, Leslie" userId="S::lcaldarelli_luriechildrens.org#ext#@nuwildcat.onmicrosoft.com::cd79b54d-c14e-4199-a04a-39c6f592e710" providerId="AD" clId="Web-{96B049F1-23A1-EFBD-700B-2889CC878206}" dt="2023-10-31T04:35:05.339" v="1" actId="1076"/>
          <ac:spMkLst>
            <pc:docMk/>
            <pc:sldMk cId="3809547791" sldId="586"/>
            <ac:spMk id="47" creationId="{B8E0B5F5-B6A2-711D-2F6F-422E5E01B221}"/>
          </ac:spMkLst>
        </pc:spChg>
      </pc:sldChg>
      <pc:sldChg chg="modNotes">
        <pc:chgData name="Caldarelli, Leslie" userId="S::lcaldarelli_luriechildrens.org#ext#@nuwildcat.onmicrosoft.com::cd79b54d-c14e-4199-a04a-39c6f592e710" providerId="AD" clId="Web-{96B049F1-23A1-EFBD-700B-2889CC878206}" dt="2023-10-31T04:45:48.858" v="115"/>
        <pc:sldMkLst>
          <pc:docMk/>
          <pc:sldMk cId="3557549611" sldId="639"/>
        </pc:sldMkLst>
      </pc:sldChg>
      <pc:sldChg chg="addSp delSp modSp">
        <pc:chgData name="Caldarelli, Leslie" userId="S::lcaldarelli_luriechildrens.org#ext#@nuwildcat.onmicrosoft.com::cd79b54d-c14e-4199-a04a-39c6f592e710" providerId="AD" clId="Web-{96B049F1-23A1-EFBD-700B-2889CC878206}" dt="2023-10-31T04:38:59.597" v="37" actId="1076"/>
        <pc:sldMkLst>
          <pc:docMk/>
          <pc:sldMk cId="2443892533" sldId="643"/>
        </pc:sldMkLst>
        <pc:spChg chg="add del">
          <ac:chgData name="Caldarelli, Leslie" userId="S::lcaldarelli_luriechildrens.org#ext#@nuwildcat.onmicrosoft.com::cd79b54d-c14e-4199-a04a-39c6f592e710" providerId="AD" clId="Web-{96B049F1-23A1-EFBD-700B-2889CC878206}" dt="2023-10-31T04:38:46.097" v="35"/>
          <ac:spMkLst>
            <pc:docMk/>
            <pc:sldMk cId="2443892533" sldId="643"/>
            <ac:spMk id="11" creationId="{581D0C8D-2C93-30F9-7F42-CCAD53566229}"/>
          </ac:spMkLst>
        </pc:spChg>
        <pc:picChg chg="del">
          <ac:chgData name="Caldarelli, Leslie" userId="S::lcaldarelli_luriechildrens.org#ext#@nuwildcat.onmicrosoft.com::cd79b54d-c14e-4199-a04a-39c6f592e710" providerId="AD" clId="Web-{96B049F1-23A1-EFBD-700B-2889CC878206}" dt="2023-10-31T04:38:37.643" v="34"/>
          <ac:picMkLst>
            <pc:docMk/>
            <pc:sldMk cId="2443892533" sldId="643"/>
            <ac:picMk id="6" creationId="{3066B4FD-BDBD-74CF-7224-C3F9CDFF7807}"/>
          </ac:picMkLst>
        </pc:picChg>
        <pc:picChg chg="add mod">
          <ac:chgData name="Caldarelli, Leslie" userId="S::lcaldarelli_luriechildrens.org#ext#@nuwildcat.onmicrosoft.com::cd79b54d-c14e-4199-a04a-39c6f592e710" providerId="AD" clId="Web-{96B049F1-23A1-EFBD-700B-2889CC878206}" dt="2023-10-31T04:38:59.597" v="37" actId="1076"/>
          <ac:picMkLst>
            <pc:docMk/>
            <pc:sldMk cId="2443892533" sldId="643"/>
            <ac:picMk id="12" creationId="{9D8440DA-935D-14D8-8E90-E43A542C29BF}"/>
          </ac:picMkLst>
        </pc:picChg>
      </pc:sldChg>
      <pc:sldChg chg="new del modNotes">
        <pc:chgData name="Caldarelli, Leslie" userId="S::lcaldarelli_luriechildrens.org#ext#@nuwildcat.onmicrosoft.com::cd79b54d-c14e-4199-a04a-39c6f592e710" providerId="AD" clId="Web-{96B049F1-23A1-EFBD-700B-2889CC878206}" dt="2023-10-31T04:40:30.584" v="55"/>
        <pc:sldMkLst>
          <pc:docMk/>
          <pc:sldMk cId="1086780328" sldId="644"/>
        </pc:sldMkLst>
      </pc:sldChg>
      <pc:sldChg chg="new del modNotes">
        <pc:chgData name="Caldarelli, Leslie" userId="S::lcaldarelli_luriechildrens.org#ext#@nuwildcat.onmicrosoft.com::cd79b54d-c14e-4199-a04a-39c6f592e710" providerId="AD" clId="Web-{96B049F1-23A1-EFBD-700B-2889CC878206}" dt="2023-10-31T04:43:35.714" v="98"/>
        <pc:sldMkLst>
          <pc:docMk/>
          <pc:sldMk cId="97814466" sldId="645"/>
        </pc:sldMkLst>
      </pc:sldChg>
      <pc:sldChg chg="modSp add replId modNotes">
        <pc:chgData name="Caldarelli, Leslie" userId="S::lcaldarelli_luriechildrens.org#ext#@nuwildcat.onmicrosoft.com::cd79b54d-c14e-4199-a04a-39c6f592e710" providerId="AD" clId="Web-{96B049F1-23A1-EFBD-700B-2889CC878206}" dt="2023-10-31T04:43:27.510" v="97" actId="20577"/>
        <pc:sldMkLst>
          <pc:docMk/>
          <pc:sldMk cId="226321953" sldId="646"/>
        </pc:sldMkLst>
        <pc:spChg chg="mod">
          <ac:chgData name="Caldarelli, Leslie" userId="S::lcaldarelli_luriechildrens.org#ext#@nuwildcat.onmicrosoft.com::cd79b54d-c14e-4199-a04a-39c6f592e710" providerId="AD" clId="Web-{96B049F1-23A1-EFBD-700B-2889CC878206}" dt="2023-10-31T04:43:27.510" v="97" actId="20577"/>
          <ac:spMkLst>
            <pc:docMk/>
            <pc:sldMk cId="226321953" sldId="646"/>
            <ac:spMk id="2" creationId="{966FAC69-62AA-D40E-C4BD-DAD5BF599C69}"/>
          </ac:spMkLst>
        </pc:spChg>
      </pc:sldChg>
      <pc:sldChg chg="add replId">
        <pc:chgData name="Caldarelli, Leslie" userId="S::lcaldarelli_luriechildrens.org#ext#@nuwildcat.onmicrosoft.com::cd79b54d-c14e-4199-a04a-39c6f592e710" providerId="AD" clId="Web-{96B049F1-23A1-EFBD-700B-2889CC878206}" dt="2023-10-31T04:41:40.695" v="84"/>
        <pc:sldMkLst>
          <pc:docMk/>
          <pc:sldMk cId="1661337475" sldId="647"/>
        </pc:sldMkLst>
      </pc:sldChg>
      <pc:sldChg chg="add replId">
        <pc:chgData name="Caldarelli, Leslie" userId="S::lcaldarelli_luriechildrens.org#ext#@nuwildcat.onmicrosoft.com::cd79b54d-c14e-4199-a04a-39c6f592e710" providerId="AD" clId="Web-{96B049F1-23A1-EFBD-700B-2889CC878206}" dt="2023-10-31T04:42:47.353" v="85"/>
        <pc:sldMkLst>
          <pc:docMk/>
          <pc:sldMk cId="641611787" sldId="648"/>
        </pc:sldMkLst>
      </pc:sldChg>
    </pc:docChg>
  </pc:docChgLst>
  <pc:docChgLst>
    <pc:chgData name="Alana Rivera" userId="S::arg3669@ads.northwestern.edu::fc8b707a-b7e9-4f2a-8d71-2d76819b7881" providerId="AD" clId="Web-{B4964270-B086-4309-6459-65EA28D1CB38}"/>
    <pc:docChg chg="delSld modSld">
      <pc:chgData name="Alana Rivera" userId="S::arg3669@ads.northwestern.edu::fc8b707a-b7e9-4f2a-8d71-2d76819b7881" providerId="AD" clId="Web-{B4964270-B086-4309-6459-65EA28D1CB38}" dt="2023-10-26T06:44:01.652" v="2"/>
      <pc:docMkLst>
        <pc:docMk/>
      </pc:docMkLst>
      <pc:sldChg chg="modSp">
        <pc:chgData name="Alana Rivera" userId="S::arg3669@ads.northwestern.edu::fc8b707a-b7e9-4f2a-8d71-2d76819b7881" providerId="AD" clId="Web-{B4964270-B086-4309-6459-65EA28D1CB38}" dt="2023-10-26T05:22:48.823" v="1" actId="14100"/>
        <pc:sldMkLst>
          <pc:docMk/>
          <pc:sldMk cId="2564870475" sldId="566"/>
        </pc:sldMkLst>
        <pc:spChg chg="mod">
          <ac:chgData name="Alana Rivera" userId="S::arg3669@ads.northwestern.edu::fc8b707a-b7e9-4f2a-8d71-2d76819b7881" providerId="AD" clId="Web-{B4964270-B086-4309-6459-65EA28D1CB38}" dt="2023-10-26T05:22:48.823" v="1" actId="14100"/>
          <ac:spMkLst>
            <pc:docMk/>
            <pc:sldMk cId="2564870475" sldId="566"/>
            <ac:spMk id="11" creationId="{00000000-0000-0000-0000-000000000000}"/>
          </ac:spMkLst>
        </pc:spChg>
      </pc:sldChg>
      <pc:sldChg chg="del">
        <pc:chgData name="Alana Rivera" userId="S::arg3669@ads.northwestern.edu::fc8b707a-b7e9-4f2a-8d71-2d76819b7881" providerId="AD" clId="Web-{B4964270-B086-4309-6459-65EA28D1CB38}" dt="2023-10-26T06:44:01.652" v="2"/>
        <pc:sldMkLst>
          <pc:docMk/>
          <pc:sldMk cId="4290994232" sldId="578"/>
        </pc:sldMkLst>
      </pc:sldChg>
    </pc:docChg>
  </pc:docChgLst>
  <pc:docChgLst>
    <pc:chgData name="Alana Rivera" userId="S::arg3669@ads.northwestern.edu::fc8b707a-b7e9-4f2a-8d71-2d76819b7881" providerId="AD" clId="Web-{5DC65600-F3C9-4205-B138-3708EB0A1C1D}"/>
    <pc:docChg chg="sldOrd">
      <pc:chgData name="Alana Rivera" userId="S::arg3669@ads.northwestern.edu::fc8b707a-b7e9-4f2a-8d71-2d76819b7881" providerId="AD" clId="Web-{5DC65600-F3C9-4205-B138-3708EB0A1C1D}" dt="2023-05-09T18:50:49.614" v="0"/>
      <pc:docMkLst>
        <pc:docMk/>
      </pc:docMkLst>
      <pc:sldChg chg="ord">
        <pc:chgData name="Alana Rivera" userId="S::arg3669@ads.northwestern.edu::fc8b707a-b7e9-4f2a-8d71-2d76819b7881" providerId="AD" clId="Web-{5DC65600-F3C9-4205-B138-3708EB0A1C1D}" dt="2023-05-09T18:50:49.614" v="0"/>
        <pc:sldMkLst>
          <pc:docMk/>
          <pc:sldMk cId="52189943" sldId="343"/>
        </pc:sldMkLst>
      </pc:sldChg>
    </pc:docChg>
  </pc:docChgLst>
  <pc:docChgLst>
    <pc:chgData name="Eileen Fleming Suse" userId="S::efs3844@ads.northwestern.edu::725c94ef-d051-42d7-9d33-8572765d592b" providerId="AD" clId="Web-{22D2D811-4E65-4C88-896C-E87684E0524E}"/>
    <pc:docChg chg="addSld delSld modSld sldOrd addMainMaster modMainMaster">
      <pc:chgData name="Eileen Fleming Suse" userId="S::efs3844@ads.northwestern.edu::725c94ef-d051-42d7-9d33-8572765d592b" providerId="AD" clId="Web-{22D2D811-4E65-4C88-896C-E87684E0524E}" dt="2023-10-27T19:12:45.418" v="258" actId="1076"/>
      <pc:docMkLst>
        <pc:docMk/>
      </pc:docMkLst>
      <pc:sldChg chg="modSp">
        <pc:chgData name="Eileen Fleming Suse" userId="S::efs3844@ads.northwestern.edu::725c94ef-d051-42d7-9d33-8572765d592b" providerId="AD" clId="Web-{22D2D811-4E65-4C88-896C-E87684E0524E}" dt="2023-10-27T18:33:04.306" v="44" actId="20577"/>
        <pc:sldMkLst>
          <pc:docMk/>
          <pc:sldMk cId="3472964082" sldId="550"/>
        </pc:sldMkLst>
        <pc:spChg chg="mod">
          <ac:chgData name="Eileen Fleming Suse" userId="S::efs3844@ads.northwestern.edu::725c94ef-d051-42d7-9d33-8572765d592b" providerId="AD" clId="Web-{22D2D811-4E65-4C88-896C-E87684E0524E}" dt="2023-10-27T18:33:04.306" v="44" actId="20577"/>
          <ac:spMkLst>
            <pc:docMk/>
            <pc:sldMk cId="3472964082" sldId="550"/>
            <ac:spMk id="23" creationId="{00000000-0000-0000-0000-000000000000}"/>
          </ac:spMkLst>
        </pc:spChg>
      </pc:sldChg>
      <pc:sldChg chg="modNotes">
        <pc:chgData name="Eileen Fleming Suse" userId="S::efs3844@ads.northwestern.edu::725c94ef-d051-42d7-9d33-8572765d592b" providerId="AD" clId="Web-{22D2D811-4E65-4C88-896C-E87684E0524E}" dt="2023-10-27T18:11:52.843" v="38"/>
        <pc:sldMkLst>
          <pc:docMk/>
          <pc:sldMk cId="2562283095" sldId="551"/>
        </pc:sldMkLst>
      </pc:sldChg>
      <pc:sldChg chg="modSp modNotes">
        <pc:chgData name="Eileen Fleming Suse" userId="S::efs3844@ads.northwestern.edu::725c94ef-d051-42d7-9d33-8572765d592b" providerId="AD" clId="Web-{22D2D811-4E65-4C88-896C-E87684E0524E}" dt="2023-10-27T18:51:13.798" v="179" actId="20577"/>
        <pc:sldMkLst>
          <pc:docMk/>
          <pc:sldMk cId="3067427377" sldId="560"/>
        </pc:sldMkLst>
        <pc:spChg chg="mod">
          <ac:chgData name="Eileen Fleming Suse" userId="S::efs3844@ads.northwestern.edu::725c94ef-d051-42d7-9d33-8572765d592b" providerId="AD" clId="Web-{22D2D811-4E65-4C88-896C-E87684E0524E}" dt="2023-10-27T18:51:13.798" v="179" actId="20577"/>
          <ac:spMkLst>
            <pc:docMk/>
            <pc:sldMk cId="3067427377" sldId="560"/>
            <ac:spMk id="3" creationId="{E7ECD19B-85BC-6652-2856-676802964CFA}"/>
          </ac:spMkLst>
        </pc:spChg>
      </pc:sldChg>
      <pc:sldChg chg="modSp modNotes">
        <pc:chgData name="Eileen Fleming Suse" userId="S::efs3844@ads.northwestern.edu::725c94ef-d051-42d7-9d33-8572765d592b" providerId="AD" clId="Web-{22D2D811-4E65-4C88-896C-E87684E0524E}" dt="2023-10-27T19:12:45.418" v="258" actId="1076"/>
        <pc:sldMkLst>
          <pc:docMk/>
          <pc:sldMk cId="1141815353" sldId="562"/>
        </pc:sldMkLst>
        <pc:spChg chg="mod">
          <ac:chgData name="Eileen Fleming Suse" userId="S::efs3844@ads.northwestern.edu::725c94ef-d051-42d7-9d33-8572765d592b" providerId="AD" clId="Web-{22D2D811-4E65-4C88-896C-E87684E0524E}" dt="2023-10-27T19:12:45.418" v="258" actId="1076"/>
          <ac:spMkLst>
            <pc:docMk/>
            <pc:sldMk cId="1141815353" sldId="562"/>
            <ac:spMk id="2" creationId="{05579FEB-3306-A04E-6516-F16994F3B0F9}"/>
          </ac:spMkLst>
        </pc:spChg>
        <pc:spChg chg="mod">
          <ac:chgData name="Eileen Fleming Suse" userId="S::efs3844@ads.northwestern.edu::725c94ef-d051-42d7-9d33-8572765d592b" providerId="AD" clId="Web-{22D2D811-4E65-4C88-896C-E87684E0524E}" dt="2023-10-27T19:12:36.012" v="257" actId="1076"/>
          <ac:spMkLst>
            <pc:docMk/>
            <pc:sldMk cId="1141815353" sldId="562"/>
            <ac:spMk id="360" creationId="{FE59A3A2-BFF2-9772-51D6-9CCB620AEB53}"/>
          </ac:spMkLst>
        </pc:spChg>
        <pc:graphicFrameChg chg="mod modGraphic">
          <ac:chgData name="Eileen Fleming Suse" userId="S::efs3844@ads.northwestern.edu::725c94ef-d051-42d7-9d33-8572765d592b" providerId="AD" clId="Web-{22D2D811-4E65-4C88-896C-E87684E0524E}" dt="2023-10-27T19:12:25.184" v="255" actId="20577"/>
          <ac:graphicFrameMkLst>
            <pc:docMk/>
            <pc:sldMk cId="1141815353" sldId="562"/>
            <ac:graphicFrameMk id="137" creationId="{61D68665-D38F-2DB1-AAFC-535C715B7F9F}"/>
          </ac:graphicFrameMkLst>
        </pc:graphicFrameChg>
      </pc:sldChg>
      <pc:sldChg chg="ord modNotes">
        <pc:chgData name="Eileen Fleming Suse" userId="S::efs3844@ads.northwestern.edu::725c94ef-d051-42d7-9d33-8572765d592b" providerId="AD" clId="Web-{22D2D811-4E65-4C88-896C-E87684E0524E}" dt="2023-10-27T19:01:49.670" v="207"/>
        <pc:sldMkLst>
          <pc:docMk/>
          <pc:sldMk cId="1536434647" sldId="564"/>
        </pc:sldMkLst>
      </pc:sldChg>
      <pc:sldChg chg="modCm">
        <pc:chgData name="Eileen Fleming Suse" userId="S::efs3844@ads.northwestern.edu::725c94ef-d051-42d7-9d33-8572765d592b" providerId="AD" clId="Web-{22D2D811-4E65-4C88-896C-E87684E0524E}" dt="2023-10-27T18:24:45.031" v="40"/>
        <pc:sldMkLst>
          <pc:docMk/>
          <pc:sldMk cId="2564870475" sldId="566"/>
        </pc:sldMkLst>
        <pc:extLst>
          <p:ext xmlns:p="http://schemas.openxmlformats.org/presentationml/2006/main" uri="{D6D511B9-2390-475A-947B-AFAB55BFBCF1}">
            <pc226:cmChg xmlns:pc226="http://schemas.microsoft.com/office/powerpoint/2022/06/main/command" chg="mod">
              <pc226:chgData name="Eileen Fleming Suse" userId="S::efs3844@ads.northwestern.edu::725c94ef-d051-42d7-9d33-8572765d592b" providerId="AD" clId="Web-{22D2D811-4E65-4C88-896C-E87684E0524E}" dt="2023-10-27T18:24:45.031" v="40"/>
              <pc2:cmMkLst xmlns:pc2="http://schemas.microsoft.com/office/powerpoint/2019/9/main/command">
                <pc:docMk/>
                <pc:sldMk cId="2564870475" sldId="566"/>
                <pc2:cmMk id="{2E54611F-EF9E-406A-A7DB-E8AA469FE59F}"/>
              </pc2:cmMkLst>
            </pc226:cmChg>
          </p:ext>
        </pc:extLst>
      </pc:sldChg>
      <pc:sldChg chg="modSp">
        <pc:chgData name="Eileen Fleming Suse" userId="S::efs3844@ads.northwestern.edu::725c94ef-d051-42d7-9d33-8572765d592b" providerId="AD" clId="Web-{22D2D811-4E65-4C88-896C-E87684E0524E}" dt="2023-10-27T18:30:50.210" v="42" actId="14100"/>
        <pc:sldMkLst>
          <pc:docMk/>
          <pc:sldMk cId="3419957415" sldId="577"/>
        </pc:sldMkLst>
        <pc:cxnChg chg="mod">
          <ac:chgData name="Eileen Fleming Suse" userId="S::efs3844@ads.northwestern.edu::725c94ef-d051-42d7-9d33-8572765d592b" providerId="AD" clId="Web-{22D2D811-4E65-4C88-896C-E87684E0524E}" dt="2023-10-27T18:30:50.210" v="42" actId="14100"/>
          <ac:cxnSpMkLst>
            <pc:docMk/>
            <pc:sldMk cId="3419957415" sldId="577"/>
            <ac:cxnSpMk id="60" creationId="{0780975F-40AC-4431-7277-8634D267BA1E}"/>
          </ac:cxnSpMkLst>
        </pc:cxnChg>
      </pc:sldChg>
      <pc:sldChg chg="modCm">
        <pc:chgData name="Eileen Fleming Suse" userId="S::efs3844@ads.northwestern.edu::725c94ef-d051-42d7-9d33-8572765d592b" providerId="AD" clId="Web-{22D2D811-4E65-4C88-896C-E87684E0524E}" dt="2023-10-27T17:42:13.365" v="0"/>
        <pc:sldMkLst>
          <pc:docMk/>
          <pc:sldMk cId="1478149357" sldId="598"/>
        </pc:sldMkLst>
        <pc:extLst>
          <p:ext xmlns:p="http://schemas.openxmlformats.org/presentationml/2006/main" uri="{D6D511B9-2390-475A-947B-AFAB55BFBCF1}">
            <pc226:cmChg xmlns:pc226="http://schemas.microsoft.com/office/powerpoint/2022/06/main/command" chg="mod">
              <pc226:chgData name="Eileen Fleming Suse" userId="S::efs3844@ads.northwestern.edu::725c94ef-d051-42d7-9d33-8572765d592b" providerId="AD" clId="Web-{22D2D811-4E65-4C88-896C-E87684E0524E}" dt="2023-10-27T17:42:13.365" v="0"/>
              <pc2:cmMkLst xmlns:pc2="http://schemas.microsoft.com/office/powerpoint/2019/9/main/command">
                <pc:docMk/>
                <pc:sldMk cId="1478149357" sldId="598"/>
                <pc2:cmMk id="{137A254D-2737-4985-B0AB-6839DDC46AE0}"/>
              </pc2:cmMkLst>
            </pc226:cmChg>
          </p:ext>
        </pc:extLst>
      </pc:sldChg>
      <pc:sldChg chg="modCm">
        <pc:chgData name="Eileen Fleming Suse" userId="S::efs3844@ads.northwestern.edu::725c94ef-d051-42d7-9d33-8572765d592b" providerId="AD" clId="Web-{22D2D811-4E65-4C88-896C-E87684E0524E}" dt="2023-10-27T17:46:43.921" v="1"/>
        <pc:sldMkLst>
          <pc:docMk/>
          <pc:sldMk cId="3355787309" sldId="604"/>
        </pc:sldMkLst>
        <pc:extLst>
          <p:ext xmlns:p="http://schemas.openxmlformats.org/presentationml/2006/main" uri="{D6D511B9-2390-475A-947B-AFAB55BFBCF1}">
            <pc226:cmChg xmlns:pc226="http://schemas.microsoft.com/office/powerpoint/2022/06/main/command" chg="">
              <pc226:chgData name="Eileen Fleming Suse" userId="S::efs3844@ads.northwestern.edu::725c94ef-d051-42d7-9d33-8572765d592b" providerId="AD" clId="Web-{22D2D811-4E65-4C88-896C-E87684E0524E}" dt="2023-10-27T17:46:43.921" v="1"/>
              <pc2:cmMkLst xmlns:pc2="http://schemas.microsoft.com/office/powerpoint/2019/9/main/command">
                <pc:docMk/>
                <pc:sldMk cId="3355787309" sldId="604"/>
                <pc2:cmMk id="{5635E0A6-AC69-4FB6-B7FE-9DA078BBCAEE}"/>
              </pc2:cmMkLst>
              <pc226:cmRplyChg chg="add">
                <pc226:chgData name="Eileen Fleming Suse" userId="S::efs3844@ads.northwestern.edu::725c94ef-d051-42d7-9d33-8572765d592b" providerId="AD" clId="Web-{22D2D811-4E65-4C88-896C-E87684E0524E}" dt="2023-10-27T17:46:43.921" v="1"/>
                <pc2:cmRplyMkLst xmlns:pc2="http://schemas.microsoft.com/office/powerpoint/2019/9/main/command">
                  <pc:docMk/>
                  <pc:sldMk cId="3355787309" sldId="604"/>
                  <pc2:cmMk id="{5635E0A6-AC69-4FB6-B7FE-9DA078BBCAEE}"/>
                  <pc2:cmRplyMk id="{3053D263-C269-4BCE-98DF-ACFFCD7AE076}"/>
                </pc2:cmRplyMkLst>
              </pc226:cmRplyChg>
            </pc226:cmChg>
          </p:ext>
        </pc:extLst>
      </pc:sldChg>
      <pc:sldChg chg="modSp new del">
        <pc:chgData name="Eileen Fleming Suse" userId="S::efs3844@ads.northwestern.edu::725c94ef-d051-42d7-9d33-8572765d592b" providerId="AD" clId="Web-{22D2D811-4E65-4C88-896C-E87684E0524E}" dt="2023-10-27T18:54:20.755" v="180"/>
        <pc:sldMkLst>
          <pc:docMk/>
          <pc:sldMk cId="2702190378" sldId="615"/>
        </pc:sldMkLst>
        <pc:spChg chg="mod">
          <ac:chgData name="Eileen Fleming Suse" userId="S::efs3844@ads.northwestern.edu::725c94ef-d051-42d7-9d33-8572765d592b" providerId="AD" clId="Web-{22D2D811-4E65-4C88-896C-E87684E0524E}" dt="2023-10-27T17:49:36.442" v="12" actId="20577"/>
          <ac:spMkLst>
            <pc:docMk/>
            <pc:sldMk cId="2702190378" sldId="615"/>
            <ac:spMk id="2" creationId="{4F445AD1-E0AF-6269-62AE-B7B0FF43D0CD}"/>
          </ac:spMkLst>
        </pc:spChg>
        <pc:spChg chg="mod">
          <ac:chgData name="Eileen Fleming Suse" userId="S::efs3844@ads.northwestern.edu::725c94ef-d051-42d7-9d33-8572765d592b" providerId="AD" clId="Web-{22D2D811-4E65-4C88-896C-E87684E0524E}" dt="2023-10-27T17:49:58.974" v="18" actId="1076"/>
          <ac:spMkLst>
            <pc:docMk/>
            <pc:sldMk cId="2702190378" sldId="615"/>
            <ac:spMk id="3" creationId="{71F04961-CC8C-E39E-33CE-8C1BD7F5DC38}"/>
          </ac:spMkLst>
        </pc:spChg>
      </pc:sldChg>
      <pc:sldChg chg="add">
        <pc:chgData name="Eileen Fleming Suse" userId="S::efs3844@ads.northwestern.edu::725c94ef-d051-42d7-9d33-8572765d592b" providerId="AD" clId="Web-{22D2D811-4E65-4C88-896C-E87684E0524E}" dt="2023-10-27T18:23:08.497" v="39"/>
        <pc:sldMkLst>
          <pc:docMk/>
          <pc:sldMk cId="3726638559" sldId="616"/>
        </pc:sldMkLst>
      </pc:sldChg>
      <pc:sldChg chg="add replId">
        <pc:chgData name="Eileen Fleming Suse" userId="S::efs3844@ads.northwestern.edu::725c94ef-d051-42d7-9d33-8572765d592b" providerId="AD" clId="Web-{22D2D811-4E65-4C88-896C-E87684E0524E}" dt="2023-10-27T19:03:54.095" v="208"/>
        <pc:sldMkLst>
          <pc:docMk/>
          <pc:sldMk cId="1210022179" sldId="617"/>
        </pc:sldMkLst>
      </pc:sldChg>
      <pc:sldChg chg="add replId">
        <pc:chgData name="Eileen Fleming Suse" userId="S::efs3844@ads.northwestern.edu::725c94ef-d051-42d7-9d33-8572765d592b" providerId="AD" clId="Web-{22D2D811-4E65-4C88-896C-E87684E0524E}" dt="2023-10-27T19:04:00.548" v="209"/>
        <pc:sldMkLst>
          <pc:docMk/>
          <pc:sldMk cId="3431700372" sldId="618"/>
        </pc:sldMkLst>
      </pc:sldChg>
      <pc:sldChg chg="add replId">
        <pc:chgData name="Eileen Fleming Suse" userId="S::efs3844@ads.northwestern.edu::725c94ef-d051-42d7-9d33-8572765d592b" providerId="AD" clId="Web-{22D2D811-4E65-4C88-896C-E87684E0524E}" dt="2023-10-27T19:04:16.017" v="210"/>
        <pc:sldMkLst>
          <pc:docMk/>
          <pc:sldMk cId="923498403" sldId="619"/>
        </pc:sldMkLst>
      </pc:sldChg>
      <pc:sldChg chg="add replId">
        <pc:chgData name="Eileen Fleming Suse" userId="S::efs3844@ads.northwestern.edu::725c94ef-d051-42d7-9d33-8572765d592b" providerId="AD" clId="Web-{22D2D811-4E65-4C88-896C-E87684E0524E}" dt="2023-10-27T19:04:20.345" v="211"/>
        <pc:sldMkLst>
          <pc:docMk/>
          <pc:sldMk cId="3074345071" sldId="620"/>
        </pc:sldMkLst>
      </pc:sldChg>
      <pc:sldChg chg="new del">
        <pc:chgData name="Eileen Fleming Suse" userId="S::efs3844@ads.northwestern.edu::725c94ef-d051-42d7-9d33-8572765d592b" providerId="AD" clId="Web-{22D2D811-4E65-4C88-896C-E87684E0524E}" dt="2023-10-27T19:06:30.676" v="219"/>
        <pc:sldMkLst>
          <pc:docMk/>
          <pc:sldMk cId="2826471173" sldId="621"/>
        </pc:sldMkLst>
      </pc:sldChg>
      <pc:sldChg chg="add replId modNotes">
        <pc:chgData name="Eileen Fleming Suse" userId="S::efs3844@ads.northwestern.edu::725c94ef-d051-42d7-9d33-8572765d592b" providerId="AD" clId="Web-{22D2D811-4E65-4C88-896C-E87684E0524E}" dt="2023-10-27T19:05:58.863" v="218"/>
        <pc:sldMkLst>
          <pc:docMk/>
          <pc:sldMk cId="3850125703" sldId="622"/>
        </pc:sldMkLst>
      </pc:sldChg>
      <pc:sldMasterChg chg="modSldLayout">
        <pc:chgData name="Eileen Fleming Suse" userId="S::efs3844@ads.northwestern.edu::725c94ef-d051-42d7-9d33-8572765d592b" providerId="AD" clId="Web-{22D2D811-4E65-4C88-896C-E87684E0524E}" dt="2023-10-27T18:23:08.497" v="39"/>
        <pc:sldMasterMkLst>
          <pc:docMk/>
          <pc:sldMasterMk cId="3378073280" sldId="2147483756"/>
        </pc:sldMasterMkLst>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2670630771" sldId="2147487350"/>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783658486" sldId="2147487351"/>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09320368" sldId="2147487352"/>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410130633" sldId="2147487353"/>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698059872" sldId="2147487354"/>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709868767" sldId="2147487355"/>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91337409" sldId="2147487356"/>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075216660" sldId="2147487357"/>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476272431" sldId="2147487358"/>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069300124" sldId="2147487359"/>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480140117" sldId="2147487360"/>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855494103" sldId="2147487361"/>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998157548" sldId="2147487362"/>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939295337" sldId="2147487363"/>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402549073" sldId="2147487364"/>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705532739" sldId="2147487365"/>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758542806" sldId="2147487366"/>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967421487" sldId="2147487367"/>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803572776" sldId="2147487368"/>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980529727" sldId="2147487369"/>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709868767" sldId="2147487370"/>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998157548" sldId="2147487371"/>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069300124" sldId="2147487372"/>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480140117" sldId="2147487373"/>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059781530" sldId="2147487374"/>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855494103" sldId="2147487375"/>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91337409" sldId="2147487376"/>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075216660" sldId="2147487377"/>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476272431" sldId="2147487378"/>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803572776" sldId="2147487379"/>
          </pc:sldLayoutMkLst>
        </pc:sldLayoutChg>
      </pc:sldMasterChg>
      <pc:sldMasterChg chg="add addSldLayout">
        <pc:chgData name="Eileen Fleming Suse" userId="S::efs3844@ads.northwestern.edu::725c94ef-d051-42d7-9d33-8572765d592b" providerId="AD" clId="Web-{22D2D811-4E65-4C88-896C-E87684E0524E}" dt="2023-10-27T18:23:08.497" v="39"/>
        <pc:sldMasterMkLst>
          <pc:docMk/>
          <pc:sldMasterMk cId="0" sldId="2147484595"/>
        </pc:sldMasterMkLst>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6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8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8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8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1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1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1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2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4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4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4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59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59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59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60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60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5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5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5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8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8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8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3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3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3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4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4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4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4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7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7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9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0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0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8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81"/>
          </pc:sldLayoutMkLst>
        </pc:sldLayoutChg>
      </pc:sldMasterChg>
    </pc:docChg>
  </pc:docChgLst>
  <pc:docChgLst>
    <pc:chgData name="Eileen Fleming Suse" userId="S::efs3844@ads.northwestern.edu::725c94ef-d051-42d7-9d33-8572765d592b" providerId="AD" clId="Web-{FFAD42E9-C519-11DF-E299-D524098D897E}"/>
    <pc:docChg chg="addSld modSld">
      <pc:chgData name="Eileen Fleming Suse" userId="S::efs3844@ads.northwestern.edu::725c94ef-d051-42d7-9d33-8572765d592b" providerId="AD" clId="Web-{FFAD42E9-C519-11DF-E299-D524098D897E}" dt="2023-10-24T02:47:59.133" v="27" actId="14100"/>
      <pc:docMkLst>
        <pc:docMk/>
      </pc:docMkLst>
      <pc:sldChg chg="add">
        <pc:chgData name="Eileen Fleming Suse" userId="S::efs3844@ads.northwestern.edu::725c94ef-d051-42d7-9d33-8572765d592b" providerId="AD" clId="Web-{FFAD42E9-C519-11DF-E299-D524098D897E}" dt="2023-10-24T02:45:56.550" v="0"/>
        <pc:sldMkLst>
          <pc:docMk/>
          <pc:sldMk cId="3845418986" sldId="563"/>
        </pc:sldMkLst>
      </pc:sldChg>
      <pc:sldChg chg="modSp add">
        <pc:chgData name="Eileen Fleming Suse" userId="S::efs3844@ads.northwestern.edu::725c94ef-d051-42d7-9d33-8572765d592b" providerId="AD" clId="Web-{FFAD42E9-C519-11DF-E299-D524098D897E}" dt="2023-10-24T02:47:04.615" v="20" actId="1076"/>
        <pc:sldMkLst>
          <pc:docMk/>
          <pc:sldMk cId="1536434647" sldId="564"/>
        </pc:sldMkLst>
        <pc:spChg chg="mod">
          <ac:chgData name="Eileen Fleming Suse" userId="S::efs3844@ads.northwestern.edu::725c94ef-d051-42d7-9d33-8572765d592b" providerId="AD" clId="Web-{FFAD42E9-C519-11DF-E299-D524098D897E}" dt="2023-10-24T02:46:24.114" v="5" actId="20577"/>
          <ac:spMkLst>
            <pc:docMk/>
            <pc:sldMk cId="1536434647" sldId="564"/>
            <ac:spMk id="39" creationId="{00000000-0000-0000-0000-000000000000}"/>
          </ac:spMkLst>
        </pc:spChg>
        <pc:spChg chg="mod">
          <ac:chgData name="Eileen Fleming Suse" userId="S::efs3844@ads.northwestern.edu::725c94ef-d051-42d7-9d33-8572765d592b" providerId="AD" clId="Web-{FFAD42E9-C519-11DF-E299-D524098D897E}" dt="2023-10-24T02:46:41.583" v="12" actId="20577"/>
          <ac:spMkLst>
            <pc:docMk/>
            <pc:sldMk cId="1536434647" sldId="564"/>
            <ac:spMk id="41" creationId="{00000000-0000-0000-0000-000000000000}"/>
          </ac:spMkLst>
        </pc:spChg>
        <pc:spChg chg="mod">
          <ac:chgData name="Eileen Fleming Suse" userId="S::efs3844@ads.northwestern.edu::725c94ef-d051-42d7-9d33-8572765d592b" providerId="AD" clId="Web-{FFAD42E9-C519-11DF-E299-D524098D897E}" dt="2023-10-24T02:46:54.552" v="18" actId="20577"/>
          <ac:spMkLst>
            <pc:docMk/>
            <pc:sldMk cId="1536434647" sldId="564"/>
            <ac:spMk id="43" creationId="{00000000-0000-0000-0000-000000000000}"/>
          </ac:spMkLst>
        </pc:spChg>
        <pc:spChg chg="mod">
          <ac:chgData name="Eileen Fleming Suse" userId="S::efs3844@ads.northwestern.edu::725c94ef-d051-42d7-9d33-8572765d592b" providerId="AD" clId="Web-{FFAD42E9-C519-11DF-E299-D524098D897E}" dt="2023-10-24T02:47:04.615" v="20" actId="1076"/>
          <ac:spMkLst>
            <pc:docMk/>
            <pc:sldMk cId="1536434647" sldId="564"/>
            <ac:spMk id="47" creationId="{00000000-0000-0000-0000-000000000000}"/>
          </ac:spMkLst>
        </pc:spChg>
      </pc:sldChg>
      <pc:sldChg chg="modSp add">
        <pc:chgData name="Eileen Fleming Suse" userId="S::efs3844@ads.northwestern.edu::725c94ef-d051-42d7-9d33-8572765d592b" providerId="AD" clId="Web-{FFAD42E9-C519-11DF-E299-D524098D897E}" dt="2023-10-24T02:47:59.133" v="27" actId="14100"/>
        <pc:sldMkLst>
          <pc:docMk/>
          <pc:sldMk cId="3004937174" sldId="565"/>
        </pc:sldMkLst>
        <pc:spChg chg="mod">
          <ac:chgData name="Eileen Fleming Suse" userId="S::efs3844@ads.northwestern.edu::725c94ef-d051-42d7-9d33-8572765d592b" providerId="AD" clId="Web-{FFAD42E9-C519-11DF-E299-D524098D897E}" dt="2023-10-24T02:47:55.679" v="26" actId="1076"/>
          <ac:spMkLst>
            <pc:docMk/>
            <pc:sldMk cId="3004937174" sldId="565"/>
            <ac:spMk id="33" creationId="{00000000-0000-0000-0000-000000000000}"/>
          </ac:spMkLst>
        </pc:spChg>
        <pc:spChg chg="mod">
          <ac:chgData name="Eileen Fleming Suse" userId="S::efs3844@ads.northwestern.edu::725c94ef-d051-42d7-9d33-8572765d592b" providerId="AD" clId="Web-{FFAD42E9-C519-11DF-E299-D524098D897E}" dt="2023-10-24T02:47:59.133" v="27" actId="14100"/>
          <ac:spMkLst>
            <pc:docMk/>
            <pc:sldMk cId="3004937174" sldId="565"/>
            <ac:spMk id="35" creationId="{00000000-0000-0000-0000-000000000000}"/>
          </ac:spMkLst>
        </pc:spChg>
        <pc:spChg chg="mod">
          <ac:chgData name="Eileen Fleming Suse" userId="S::efs3844@ads.northwestern.edu::725c94ef-d051-42d7-9d33-8572765d592b" providerId="AD" clId="Web-{FFAD42E9-C519-11DF-E299-D524098D897E}" dt="2023-10-24T02:47:35.194" v="22" actId="20577"/>
          <ac:spMkLst>
            <pc:docMk/>
            <pc:sldMk cId="3004937174" sldId="565"/>
            <ac:spMk id="37" creationId="{00000000-0000-0000-0000-000000000000}"/>
          </ac:spMkLst>
        </pc:spChg>
        <pc:spChg chg="mod">
          <ac:chgData name="Eileen Fleming Suse" userId="S::efs3844@ads.northwestern.edu::725c94ef-d051-42d7-9d33-8572765d592b" providerId="AD" clId="Web-{FFAD42E9-C519-11DF-E299-D524098D897E}" dt="2023-10-24T02:47:45.913" v="24" actId="20577"/>
          <ac:spMkLst>
            <pc:docMk/>
            <pc:sldMk cId="3004937174" sldId="565"/>
            <ac:spMk id="40" creationId="{00000000-0000-0000-0000-000000000000}"/>
          </ac:spMkLst>
        </pc:spChg>
      </pc:sldChg>
    </pc:docChg>
  </pc:docChgLst>
  <pc:docChgLst>
    <pc:chgData name="Aleena Lida Surenian" userId="S::als0813@ads.northwestern.edu::e2fd0e4e-6417-49b0-ab16-0ba26a1719f0" providerId="AD" clId="Web-{C3552A06-5909-6D3B-9B48-7F6146D07F3D}"/>
    <pc:docChg chg="addSld modSld sldOrd">
      <pc:chgData name="Aleena Lida Surenian" userId="S::als0813@ads.northwestern.edu::e2fd0e4e-6417-49b0-ab16-0ba26a1719f0" providerId="AD" clId="Web-{C3552A06-5909-6D3B-9B48-7F6146D07F3D}" dt="2023-10-30T19:52:03.786" v="107" actId="20577"/>
      <pc:docMkLst>
        <pc:docMk/>
      </pc:docMkLst>
      <pc:sldChg chg="modSp addCm">
        <pc:chgData name="Aleena Lida Surenian" userId="S::als0813@ads.northwestern.edu::e2fd0e4e-6417-49b0-ab16-0ba26a1719f0" providerId="AD" clId="Web-{C3552A06-5909-6D3B-9B48-7F6146D07F3D}" dt="2023-10-30T19:15:11.279" v="12" actId="1076"/>
        <pc:sldMkLst>
          <pc:docMk/>
          <pc:sldMk cId="4044691067" sldId="283"/>
        </pc:sldMkLst>
        <pc:spChg chg="mod">
          <ac:chgData name="Aleena Lida Surenian" userId="S::als0813@ads.northwestern.edu::e2fd0e4e-6417-49b0-ab16-0ba26a1719f0" providerId="AD" clId="Web-{C3552A06-5909-6D3B-9B48-7F6146D07F3D}" dt="2023-10-30T19:15:06.685" v="11" actId="1076"/>
          <ac:spMkLst>
            <pc:docMk/>
            <pc:sldMk cId="4044691067" sldId="283"/>
            <ac:spMk id="2" creationId="{00000000-0000-0000-0000-000000000000}"/>
          </ac:spMkLst>
        </pc:spChg>
        <pc:spChg chg="mod">
          <ac:chgData name="Aleena Lida Surenian" userId="S::als0813@ads.northwestern.edu::e2fd0e4e-6417-49b0-ab16-0ba26a1719f0" providerId="AD" clId="Web-{C3552A06-5909-6D3B-9B48-7F6146D07F3D}" dt="2023-10-30T19:15:11.279" v="12" actId="1076"/>
          <ac:spMkLst>
            <pc:docMk/>
            <pc:sldMk cId="4044691067" sldId="283"/>
            <ac:spMk id="3" creationId="{00000000-0000-0000-0000-000000000000}"/>
          </ac:spMkLst>
        </pc:spChg>
        <pc:spChg chg="mod">
          <ac:chgData name="Aleena Lida Surenian" userId="S::als0813@ads.northwestern.edu::e2fd0e4e-6417-49b0-ab16-0ba26a1719f0" providerId="AD" clId="Web-{C3552A06-5909-6D3B-9B48-7F6146D07F3D}" dt="2023-10-30T19:15:02.420" v="10" actId="14100"/>
          <ac:spMkLst>
            <pc:docMk/>
            <pc:sldMk cId="4044691067" sldId="283"/>
            <ac:spMk id="16387" creationId="{00000000-0000-0000-0000-000000000000}"/>
          </ac:spMkLst>
        </pc:spChg>
        <pc:extLst>
          <p:ext xmlns:p="http://schemas.openxmlformats.org/presentationml/2006/main" uri="{D6D511B9-2390-475A-947B-AFAB55BFBCF1}">
            <pc226:cmChg xmlns:pc226="http://schemas.microsoft.com/office/powerpoint/2022/06/main/command" chg="add">
              <pc226:chgData name="Aleena Lida Surenian" userId="S::als0813@ads.northwestern.edu::e2fd0e4e-6417-49b0-ab16-0ba26a1719f0" providerId="AD" clId="Web-{C3552A06-5909-6D3B-9B48-7F6146D07F3D}" dt="2023-10-30T19:14:00.558" v="0"/>
              <pc2:cmMkLst xmlns:pc2="http://schemas.microsoft.com/office/powerpoint/2019/9/main/command">
                <pc:docMk/>
                <pc:sldMk cId="4044691067" sldId="283"/>
                <pc2:cmMk id="{51D99AE4-D60E-4433-99C8-10E7EA141D41}"/>
              </pc2:cmMkLst>
            </pc226:cmChg>
          </p:ext>
        </pc:extLst>
      </pc:sldChg>
      <pc:sldChg chg="modSp">
        <pc:chgData name="Aleena Lida Surenian" userId="S::als0813@ads.northwestern.edu::e2fd0e4e-6417-49b0-ab16-0ba26a1719f0" providerId="AD" clId="Web-{C3552A06-5909-6D3B-9B48-7F6146D07F3D}" dt="2023-10-30T19:26:16.305" v="23" actId="1076"/>
        <pc:sldMkLst>
          <pc:docMk/>
          <pc:sldMk cId="714682852" sldId="552"/>
        </pc:sldMkLst>
        <pc:spChg chg="mod">
          <ac:chgData name="Aleena Lida Surenian" userId="S::als0813@ads.northwestern.edu::e2fd0e4e-6417-49b0-ab16-0ba26a1719f0" providerId="AD" clId="Web-{C3552A06-5909-6D3B-9B48-7F6146D07F3D}" dt="2023-10-30T19:26:16.305" v="23" actId="1076"/>
          <ac:spMkLst>
            <pc:docMk/>
            <pc:sldMk cId="714682852" sldId="552"/>
            <ac:spMk id="3" creationId="{B5F4F3C7-3634-23BA-9CDD-53123F8398D7}"/>
          </ac:spMkLst>
        </pc:spChg>
      </pc:sldChg>
      <pc:sldChg chg="modSp">
        <pc:chgData name="Aleena Lida Surenian" userId="S::als0813@ads.northwestern.edu::e2fd0e4e-6417-49b0-ab16-0ba26a1719f0" providerId="AD" clId="Web-{C3552A06-5909-6D3B-9B48-7F6146D07F3D}" dt="2023-10-30T19:23:51.737" v="18" actId="20577"/>
        <pc:sldMkLst>
          <pc:docMk/>
          <pc:sldMk cId="1514756035" sldId="556"/>
        </pc:sldMkLst>
        <pc:spChg chg="mod">
          <ac:chgData name="Aleena Lida Surenian" userId="S::als0813@ads.northwestern.edu::e2fd0e4e-6417-49b0-ab16-0ba26a1719f0" providerId="AD" clId="Web-{C3552A06-5909-6D3B-9B48-7F6146D07F3D}" dt="2023-10-30T19:23:51.737" v="18" actId="20577"/>
          <ac:spMkLst>
            <pc:docMk/>
            <pc:sldMk cId="1514756035" sldId="556"/>
            <ac:spMk id="28" creationId="{8C1D734D-3C73-E6F6-D1A8-CF64A5F8112D}"/>
          </ac:spMkLst>
        </pc:spChg>
      </pc:sldChg>
      <pc:sldChg chg="modSp">
        <pc:chgData name="Aleena Lida Surenian" userId="S::als0813@ads.northwestern.edu::e2fd0e4e-6417-49b0-ab16-0ba26a1719f0" providerId="AD" clId="Web-{C3552A06-5909-6D3B-9B48-7F6146D07F3D}" dt="2023-10-30T19:52:03.786" v="107" actId="20577"/>
        <pc:sldMkLst>
          <pc:docMk/>
          <pc:sldMk cId="4283907660" sldId="580"/>
        </pc:sldMkLst>
        <pc:spChg chg="mod">
          <ac:chgData name="Aleena Lida Surenian" userId="S::als0813@ads.northwestern.edu::e2fd0e4e-6417-49b0-ab16-0ba26a1719f0" providerId="AD" clId="Web-{C3552A06-5909-6D3B-9B48-7F6146D07F3D}" dt="2023-10-30T19:52:03.786" v="107" actId="20577"/>
          <ac:spMkLst>
            <pc:docMk/>
            <pc:sldMk cId="4283907660" sldId="580"/>
            <ac:spMk id="68" creationId="{00000000-0000-0000-0000-000000000000}"/>
          </ac:spMkLst>
        </pc:spChg>
      </pc:sldChg>
      <pc:sldChg chg="addSp modSp">
        <pc:chgData name="Aleena Lida Surenian" userId="S::als0813@ads.northwestern.edu::e2fd0e4e-6417-49b0-ab16-0ba26a1719f0" providerId="AD" clId="Web-{C3552A06-5909-6D3B-9B48-7F6146D07F3D}" dt="2023-10-30T19:35:15.325" v="96" actId="1076"/>
        <pc:sldMkLst>
          <pc:docMk/>
          <pc:sldMk cId="3870927286" sldId="583"/>
        </pc:sldMkLst>
        <pc:spChg chg="mod">
          <ac:chgData name="Aleena Lida Surenian" userId="S::als0813@ads.northwestern.edu::e2fd0e4e-6417-49b0-ab16-0ba26a1719f0" providerId="AD" clId="Web-{C3552A06-5909-6D3B-9B48-7F6146D07F3D}" dt="2023-10-30T19:34:35.464" v="92" actId="20577"/>
          <ac:spMkLst>
            <pc:docMk/>
            <pc:sldMk cId="3870927286" sldId="583"/>
            <ac:spMk id="2" creationId="{00000000-0000-0000-0000-000000000000}"/>
          </ac:spMkLst>
        </pc:spChg>
        <pc:spChg chg="mod">
          <ac:chgData name="Aleena Lida Surenian" userId="S::als0813@ads.northwestern.edu::e2fd0e4e-6417-49b0-ab16-0ba26a1719f0" providerId="AD" clId="Web-{C3552A06-5909-6D3B-9B48-7F6146D07F3D}" dt="2023-10-30T19:33:12.274" v="60" actId="20577"/>
          <ac:spMkLst>
            <pc:docMk/>
            <pc:sldMk cId="3870927286" sldId="583"/>
            <ac:spMk id="12" creationId="{00000000-0000-0000-0000-000000000000}"/>
          </ac:spMkLst>
        </pc:spChg>
        <pc:spChg chg="mod">
          <ac:chgData name="Aleena Lida Surenian" userId="S::als0813@ads.northwestern.edu::e2fd0e4e-6417-49b0-ab16-0ba26a1719f0" providerId="AD" clId="Web-{C3552A06-5909-6D3B-9B48-7F6146D07F3D}" dt="2023-10-30T19:33:23.134" v="62" actId="20577"/>
          <ac:spMkLst>
            <pc:docMk/>
            <pc:sldMk cId="3870927286" sldId="583"/>
            <ac:spMk id="27" creationId="{00000000-0000-0000-0000-000000000000}"/>
          </ac:spMkLst>
        </pc:spChg>
        <pc:spChg chg="mod">
          <ac:chgData name="Aleena Lida Surenian" userId="S::als0813@ads.northwestern.edu::e2fd0e4e-6417-49b0-ab16-0ba26a1719f0" providerId="AD" clId="Web-{C3552A06-5909-6D3B-9B48-7F6146D07F3D}" dt="2023-10-30T19:33:39.494" v="65" actId="14100"/>
          <ac:spMkLst>
            <pc:docMk/>
            <pc:sldMk cId="3870927286" sldId="583"/>
            <ac:spMk id="39" creationId="{00000000-0000-0000-0000-000000000000}"/>
          </ac:spMkLst>
        </pc:spChg>
        <pc:picChg chg="add mod">
          <ac:chgData name="Aleena Lida Surenian" userId="S::als0813@ads.northwestern.edu::e2fd0e4e-6417-49b0-ab16-0ba26a1719f0" providerId="AD" clId="Web-{C3552A06-5909-6D3B-9B48-7F6146D07F3D}" dt="2023-10-30T19:35:15.325" v="96" actId="1076"/>
          <ac:picMkLst>
            <pc:docMk/>
            <pc:sldMk cId="3870927286" sldId="583"/>
            <ac:picMk id="18" creationId="{1199796C-BA73-A007-E570-EBC0C69CD679}"/>
          </ac:picMkLst>
        </pc:picChg>
      </pc:sldChg>
      <pc:sldChg chg="modSp">
        <pc:chgData name="Aleena Lida Surenian" userId="S::als0813@ads.northwestern.edu::e2fd0e4e-6417-49b0-ab16-0ba26a1719f0" providerId="AD" clId="Web-{C3552A06-5909-6D3B-9B48-7F6146D07F3D}" dt="2023-10-30T19:44:55.722" v="105" actId="1076"/>
        <pc:sldMkLst>
          <pc:docMk/>
          <pc:sldMk cId="629433230" sldId="591"/>
        </pc:sldMkLst>
        <pc:spChg chg="mod">
          <ac:chgData name="Aleena Lida Surenian" userId="S::als0813@ads.northwestern.edu::e2fd0e4e-6417-49b0-ab16-0ba26a1719f0" providerId="AD" clId="Web-{C3552A06-5909-6D3B-9B48-7F6146D07F3D}" dt="2023-10-30T19:44:50.566" v="104" actId="14100"/>
          <ac:spMkLst>
            <pc:docMk/>
            <pc:sldMk cId="629433230" sldId="591"/>
            <ac:spMk id="24" creationId="{82DED22A-2957-2107-97D2-7694FF88F0A5}"/>
          </ac:spMkLst>
        </pc:spChg>
        <pc:spChg chg="mod">
          <ac:chgData name="Aleena Lida Surenian" userId="S::als0813@ads.northwestern.edu::e2fd0e4e-6417-49b0-ab16-0ba26a1719f0" providerId="AD" clId="Web-{C3552A06-5909-6D3B-9B48-7F6146D07F3D}" dt="2023-10-30T19:44:55.722" v="105" actId="1076"/>
          <ac:spMkLst>
            <pc:docMk/>
            <pc:sldMk cId="629433230" sldId="591"/>
            <ac:spMk id="26" creationId="{7ADA2A22-B85F-E8A9-52B3-7FA1A111EB25}"/>
          </ac:spMkLst>
        </pc:spChg>
      </pc:sldChg>
      <pc:sldChg chg="mod modShow">
        <pc:chgData name="Aleena Lida Surenian" userId="S::als0813@ads.northwestern.edu::e2fd0e4e-6417-49b0-ab16-0ba26a1719f0" providerId="AD" clId="Web-{C3552A06-5909-6D3B-9B48-7F6146D07F3D}" dt="2023-10-30T19:17:10.971" v="14"/>
        <pc:sldMkLst>
          <pc:docMk/>
          <pc:sldMk cId="2628065282" sldId="597"/>
        </pc:sldMkLst>
      </pc:sldChg>
      <pc:sldChg chg="mod modShow">
        <pc:chgData name="Aleena Lida Surenian" userId="S::als0813@ads.northwestern.edu::e2fd0e4e-6417-49b0-ab16-0ba26a1719f0" providerId="AD" clId="Web-{C3552A06-5909-6D3B-9B48-7F6146D07F3D}" dt="2023-10-30T19:16:52.439" v="13"/>
        <pc:sldMkLst>
          <pc:docMk/>
          <pc:sldMk cId="1478149357" sldId="598"/>
        </pc:sldMkLst>
      </pc:sldChg>
      <pc:sldChg chg="modSp">
        <pc:chgData name="Aleena Lida Surenian" userId="S::als0813@ads.northwestern.edu::e2fd0e4e-6417-49b0-ab16-0ba26a1719f0" providerId="AD" clId="Web-{C3552A06-5909-6D3B-9B48-7F6146D07F3D}" dt="2023-10-30T19:19:19.586" v="17"/>
        <pc:sldMkLst>
          <pc:docMk/>
          <pc:sldMk cId="2470795492" sldId="599"/>
        </pc:sldMkLst>
        <pc:spChg chg="mod">
          <ac:chgData name="Aleena Lida Surenian" userId="S::als0813@ads.northwestern.edu::e2fd0e4e-6417-49b0-ab16-0ba26a1719f0" providerId="AD" clId="Web-{C3552A06-5909-6D3B-9B48-7F6146D07F3D}" dt="2023-10-30T19:19:19.586" v="17"/>
          <ac:spMkLst>
            <pc:docMk/>
            <pc:sldMk cId="2470795492" sldId="599"/>
            <ac:spMk id="16386" creationId="{00000000-0000-0000-0000-000000000000}"/>
          </ac:spMkLst>
        </pc:spChg>
      </pc:sldChg>
      <pc:sldChg chg="modSp">
        <pc:chgData name="Aleena Lida Surenian" userId="S::als0813@ads.northwestern.edu::e2fd0e4e-6417-49b0-ab16-0ba26a1719f0" providerId="AD" clId="Web-{C3552A06-5909-6D3B-9B48-7F6146D07F3D}" dt="2023-10-30T19:19:10.882" v="16"/>
        <pc:sldMkLst>
          <pc:docMk/>
          <pc:sldMk cId="2592767400" sldId="600"/>
        </pc:sldMkLst>
        <pc:spChg chg="mod">
          <ac:chgData name="Aleena Lida Surenian" userId="S::als0813@ads.northwestern.edu::e2fd0e4e-6417-49b0-ab16-0ba26a1719f0" providerId="AD" clId="Web-{C3552A06-5909-6D3B-9B48-7F6146D07F3D}" dt="2023-10-30T19:19:10.882" v="16"/>
          <ac:spMkLst>
            <pc:docMk/>
            <pc:sldMk cId="2592767400" sldId="600"/>
            <ac:spMk id="16386" creationId="{00000000-0000-0000-0000-000000000000}"/>
          </ac:spMkLst>
        </pc:spChg>
      </pc:sldChg>
      <pc:sldChg chg="modSp">
        <pc:chgData name="Aleena Lida Surenian" userId="S::als0813@ads.northwestern.edu::e2fd0e4e-6417-49b0-ab16-0ba26a1719f0" providerId="AD" clId="Web-{C3552A06-5909-6D3B-9B48-7F6146D07F3D}" dt="2023-10-30T19:17:40.566" v="15"/>
        <pc:sldMkLst>
          <pc:docMk/>
          <pc:sldMk cId="1011826885" sldId="602"/>
        </pc:sldMkLst>
        <pc:spChg chg="mod">
          <ac:chgData name="Aleena Lida Surenian" userId="S::als0813@ads.northwestern.edu::e2fd0e4e-6417-49b0-ab16-0ba26a1719f0" providerId="AD" clId="Web-{C3552A06-5909-6D3B-9B48-7F6146D07F3D}" dt="2023-10-30T19:17:40.566" v="15"/>
          <ac:spMkLst>
            <pc:docMk/>
            <pc:sldMk cId="1011826885" sldId="602"/>
            <ac:spMk id="16386" creationId="{00000000-0000-0000-0000-000000000000}"/>
          </ac:spMkLst>
        </pc:spChg>
      </pc:sldChg>
      <pc:sldChg chg="ord">
        <pc:chgData name="Aleena Lida Surenian" userId="S::als0813@ads.northwestern.edu::e2fd0e4e-6417-49b0-ab16-0ba26a1719f0" providerId="AD" clId="Web-{C3552A06-5909-6D3B-9B48-7F6146D07F3D}" dt="2023-10-30T19:24:26.644" v="19"/>
        <pc:sldMkLst>
          <pc:docMk/>
          <pc:sldMk cId="3726638559" sldId="616"/>
        </pc:sldMkLst>
      </pc:sldChg>
      <pc:sldChg chg="modSp new">
        <pc:chgData name="Aleena Lida Surenian" userId="S::als0813@ads.northwestern.edu::e2fd0e4e-6417-49b0-ab16-0ba26a1719f0" providerId="AD" clId="Web-{C3552A06-5909-6D3B-9B48-7F6146D07F3D}" dt="2023-10-30T19:29:50.454" v="27" actId="20577"/>
        <pc:sldMkLst>
          <pc:docMk/>
          <pc:sldMk cId="3321596273" sldId="640"/>
        </pc:sldMkLst>
        <pc:spChg chg="mod">
          <ac:chgData name="Aleena Lida Surenian" userId="S::als0813@ads.northwestern.edu::e2fd0e4e-6417-49b0-ab16-0ba26a1719f0" providerId="AD" clId="Web-{C3552A06-5909-6D3B-9B48-7F6146D07F3D}" dt="2023-10-30T19:29:50.454" v="27" actId="20577"/>
          <ac:spMkLst>
            <pc:docMk/>
            <pc:sldMk cId="3321596273" sldId="640"/>
            <ac:spMk id="2" creationId="{ED485DCA-3B68-AC74-53C8-6A271DAAA7B7}"/>
          </ac:spMkLst>
        </pc:spChg>
      </pc:sldChg>
      <pc:sldChg chg="modSp new">
        <pc:chgData name="Aleena Lida Surenian" userId="S::als0813@ads.northwestern.edu::e2fd0e4e-6417-49b0-ab16-0ba26a1719f0" providerId="AD" clId="Web-{C3552A06-5909-6D3B-9B48-7F6146D07F3D}" dt="2023-10-30T19:30:34.611" v="51" actId="20577"/>
        <pc:sldMkLst>
          <pc:docMk/>
          <pc:sldMk cId="2460321206" sldId="641"/>
        </pc:sldMkLst>
        <pc:spChg chg="mod">
          <ac:chgData name="Aleena Lida Surenian" userId="S::als0813@ads.northwestern.edu::e2fd0e4e-6417-49b0-ab16-0ba26a1719f0" providerId="AD" clId="Web-{C3552A06-5909-6D3B-9B48-7F6146D07F3D}" dt="2023-10-30T19:30:34.611" v="51" actId="20577"/>
          <ac:spMkLst>
            <pc:docMk/>
            <pc:sldMk cId="2460321206" sldId="641"/>
            <ac:spMk id="2" creationId="{F341808F-A4FF-102A-993E-7096843D4FE9}"/>
          </ac:spMkLst>
        </pc:spChg>
      </pc:sldChg>
      <pc:sldChg chg="modSp new">
        <pc:chgData name="Aleena Lida Surenian" userId="S::als0813@ads.northwestern.edu::e2fd0e4e-6417-49b0-ab16-0ba26a1719f0" providerId="AD" clId="Web-{C3552A06-5909-6D3B-9B48-7F6146D07F3D}" dt="2023-10-30T19:37:13.486" v="103" actId="20577"/>
        <pc:sldMkLst>
          <pc:docMk/>
          <pc:sldMk cId="113281680" sldId="642"/>
        </pc:sldMkLst>
        <pc:spChg chg="mod">
          <ac:chgData name="Aleena Lida Surenian" userId="S::als0813@ads.northwestern.edu::e2fd0e4e-6417-49b0-ab16-0ba26a1719f0" providerId="AD" clId="Web-{C3552A06-5909-6D3B-9B48-7F6146D07F3D}" dt="2023-10-30T19:37:13.486" v="103" actId="20577"/>
          <ac:spMkLst>
            <pc:docMk/>
            <pc:sldMk cId="113281680" sldId="642"/>
            <ac:spMk id="2" creationId="{F4AFEDD1-1B2F-10C8-9EFB-EFBD0CAB6989}"/>
          </ac:spMkLst>
        </pc:spChg>
      </pc:sldChg>
    </pc:docChg>
  </pc:docChgLst>
  <pc:docChgLst>
    <pc:chgData name="Eileen Fleming Suse" userId="S::efs3844@ads.northwestern.edu::725c94ef-d051-42d7-9d33-8572765d592b" providerId="AD" clId="Web-{AC5E249F-4AD8-EC7C-FB2F-902F01AC2000}"/>
    <pc:docChg chg="addSld delSld modSld sldOrd">
      <pc:chgData name="Eileen Fleming Suse" userId="S::efs3844@ads.northwestern.edu::725c94ef-d051-42d7-9d33-8572765d592b" providerId="AD" clId="Web-{AC5E249F-4AD8-EC7C-FB2F-902F01AC2000}" dt="2023-10-27T16:29:18.072" v="456" actId="1076"/>
      <pc:docMkLst>
        <pc:docMk/>
      </pc:docMkLst>
      <pc:sldChg chg="modSp modNotes">
        <pc:chgData name="Eileen Fleming Suse" userId="S::efs3844@ads.northwestern.edu::725c94ef-d051-42d7-9d33-8572765d592b" providerId="AD" clId="Web-{AC5E249F-4AD8-EC7C-FB2F-902F01AC2000}" dt="2023-10-27T16:29:18.072" v="456" actId="1076"/>
        <pc:sldMkLst>
          <pc:docMk/>
          <pc:sldMk cId="4044691067" sldId="283"/>
        </pc:sldMkLst>
        <pc:spChg chg="mod">
          <ac:chgData name="Eileen Fleming Suse" userId="S::efs3844@ads.northwestern.edu::725c94ef-d051-42d7-9d33-8572765d592b" providerId="AD" clId="Web-{AC5E249F-4AD8-EC7C-FB2F-902F01AC2000}" dt="2023-10-27T16:29:18.072" v="456" actId="1076"/>
          <ac:spMkLst>
            <pc:docMk/>
            <pc:sldMk cId="4044691067" sldId="283"/>
            <ac:spMk id="2" creationId="{00000000-0000-0000-0000-000000000000}"/>
          </ac:spMkLst>
        </pc:spChg>
        <pc:spChg chg="mod">
          <ac:chgData name="Eileen Fleming Suse" userId="S::efs3844@ads.northwestern.edu::725c94ef-d051-42d7-9d33-8572765d592b" providerId="AD" clId="Web-{AC5E249F-4AD8-EC7C-FB2F-902F01AC2000}" dt="2023-10-27T16:29:15.931" v="455" actId="1076"/>
          <ac:spMkLst>
            <pc:docMk/>
            <pc:sldMk cId="4044691067" sldId="283"/>
            <ac:spMk id="3" creationId="{00000000-0000-0000-0000-000000000000}"/>
          </ac:spMkLst>
        </pc:spChg>
        <pc:spChg chg="mod">
          <ac:chgData name="Eileen Fleming Suse" userId="S::efs3844@ads.northwestern.edu::725c94ef-d051-42d7-9d33-8572765d592b" providerId="AD" clId="Web-{AC5E249F-4AD8-EC7C-FB2F-902F01AC2000}" dt="2023-10-27T16:29:10.446" v="454" actId="14100"/>
          <ac:spMkLst>
            <pc:docMk/>
            <pc:sldMk cId="4044691067" sldId="283"/>
            <ac:spMk id="16387" creationId="{00000000-0000-0000-0000-000000000000}"/>
          </ac:spMkLst>
        </pc:spChg>
      </pc:sldChg>
      <pc:sldChg chg="addSp delSp">
        <pc:chgData name="Eileen Fleming Suse" userId="S::efs3844@ads.northwestern.edu::725c94ef-d051-42d7-9d33-8572765d592b" providerId="AD" clId="Web-{AC5E249F-4AD8-EC7C-FB2F-902F01AC2000}" dt="2023-10-26T21:58:41.182" v="151"/>
        <pc:sldMkLst>
          <pc:docMk/>
          <pc:sldMk cId="2351229145" sldId="544"/>
        </pc:sldMkLst>
        <pc:spChg chg="add del">
          <ac:chgData name="Eileen Fleming Suse" userId="S::efs3844@ads.northwestern.edu::725c94ef-d051-42d7-9d33-8572765d592b" providerId="AD" clId="Web-{AC5E249F-4AD8-EC7C-FB2F-902F01AC2000}" dt="2023-10-26T21:58:06.181" v="147"/>
          <ac:spMkLst>
            <pc:docMk/>
            <pc:sldMk cId="2351229145" sldId="544"/>
            <ac:spMk id="5" creationId="{36680922-E1CE-BE2F-3876-A01BCC5F7C11}"/>
          </ac:spMkLst>
        </pc:spChg>
        <pc:spChg chg="add del">
          <ac:chgData name="Eileen Fleming Suse" userId="S::efs3844@ads.northwestern.edu::725c94ef-d051-42d7-9d33-8572765d592b" providerId="AD" clId="Web-{AC5E249F-4AD8-EC7C-FB2F-902F01AC2000}" dt="2023-10-26T21:58:26.150" v="149"/>
          <ac:spMkLst>
            <pc:docMk/>
            <pc:sldMk cId="2351229145" sldId="544"/>
            <ac:spMk id="7" creationId="{DEE6C46D-5131-EC35-0A2F-8AA9AE4340CC}"/>
          </ac:spMkLst>
        </pc:spChg>
        <pc:spChg chg="add del">
          <ac:chgData name="Eileen Fleming Suse" userId="S::efs3844@ads.northwestern.edu::725c94ef-d051-42d7-9d33-8572765d592b" providerId="AD" clId="Web-{AC5E249F-4AD8-EC7C-FB2F-902F01AC2000}" dt="2023-10-26T21:58:41.182" v="151"/>
          <ac:spMkLst>
            <pc:docMk/>
            <pc:sldMk cId="2351229145" sldId="544"/>
            <ac:spMk id="9" creationId="{A6920F2C-76F5-7A5F-BA4C-F207C33F8197}"/>
          </ac:spMkLst>
        </pc:spChg>
      </pc:sldChg>
      <pc:sldChg chg="modSp">
        <pc:chgData name="Eileen Fleming Suse" userId="S::efs3844@ads.northwestern.edu::725c94ef-d051-42d7-9d33-8572765d592b" providerId="AD" clId="Web-{AC5E249F-4AD8-EC7C-FB2F-902F01AC2000}" dt="2023-10-26T19:51:49.576" v="8" actId="20577"/>
        <pc:sldMkLst>
          <pc:docMk/>
          <pc:sldMk cId="1036043289" sldId="546"/>
        </pc:sldMkLst>
        <pc:spChg chg="mod">
          <ac:chgData name="Eileen Fleming Suse" userId="S::efs3844@ads.northwestern.edu::725c94ef-d051-42d7-9d33-8572765d592b" providerId="AD" clId="Web-{AC5E249F-4AD8-EC7C-FB2F-902F01AC2000}" dt="2023-10-26T19:51:49.576" v="8" actId="20577"/>
          <ac:spMkLst>
            <pc:docMk/>
            <pc:sldMk cId="1036043289" sldId="546"/>
            <ac:spMk id="2" creationId="{67E16CF5-47C8-BEAD-25F8-81514DC0AF8B}"/>
          </ac:spMkLst>
        </pc:spChg>
      </pc:sldChg>
      <pc:sldChg chg="del">
        <pc:chgData name="Eileen Fleming Suse" userId="S::efs3844@ads.northwestern.edu::725c94ef-d051-42d7-9d33-8572765d592b" providerId="AD" clId="Web-{AC5E249F-4AD8-EC7C-FB2F-902F01AC2000}" dt="2023-10-26T22:03:16.959" v="182"/>
        <pc:sldMkLst>
          <pc:docMk/>
          <pc:sldMk cId="4024842338" sldId="547"/>
        </pc:sldMkLst>
      </pc:sldChg>
      <pc:sldChg chg="addSp delSp modSp">
        <pc:chgData name="Eileen Fleming Suse" userId="S::efs3844@ads.northwestern.edu::725c94ef-d051-42d7-9d33-8572765d592b" providerId="AD" clId="Web-{AC5E249F-4AD8-EC7C-FB2F-902F01AC2000}" dt="2023-10-26T22:07:46.547" v="215"/>
        <pc:sldMkLst>
          <pc:docMk/>
          <pc:sldMk cId="3067427377" sldId="560"/>
        </pc:sldMkLst>
        <pc:spChg chg="mod">
          <ac:chgData name="Eileen Fleming Suse" userId="S::efs3844@ads.northwestern.edu::725c94ef-d051-42d7-9d33-8572765d592b" providerId="AD" clId="Web-{AC5E249F-4AD8-EC7C-FB2F-902F01AC2000}" dt="2023-10-26T22:07:00.390" v="210" actId="14100"/>
          <ac:spMkLst>
            <pc:docMk/>
            <pc:sldMk cId="3067427377" sldId="560"/>
            <ac:spMk id="3" creationId="{E7ECD19B-85BC-6652-2856-676802964CFA}"/>
          </ac:spMkLst>
        </pc:spChg>
        <pc:spChg chg="add del">
          <ac:chgData name="Eileen Fleming Suse" userId="S::efs3844@ads.northwestern.edu::725c94ef-d051-42d7-9d33-8572765d592b" providerId="AD" clId="Web-{AC5E249F-4AD8-EC7C-FB2F-902F01AC2000}" dt="2023-10-26T22:07:33.687" v="213"/>
          <ac:spMkLst>
            <pc:docMk/>
            <pc:sldMk cId="3067427377" sldId="560"/>
            <ac:spMk id="7" creationId="{A02B2455-F99D-2227-02B8-F9E1B069703B}"/>
          </ac:spMkLst>
        </pc:spChg>
        <pc:spChg chg="add del mod">
          <ac:chgData name="Eileen Fleming Suse" userId="S::efs3844@ads.northwestern.edu::725c94ef-d051-42d7-9d33-8572765d592b" providerId="AD" clId="Web-{AC5E249F-4AD8-EC7C-FB2F-902F01AC2000}" dt="2023-10-26T22:07:22.296" v="212"/>
          <ac:spMkLst>
            <pc:docMk/>
            <pc:sldMk cId="3067427377" sldId="560"/>
            <ac:spMk id="9" creationId="{584AC78D-2AB3-FFCF-7E6D-6AD502FC54D4}"/>
          </ac:spMkLst>
        </pc:spChg>
        <pc:spChg chg="add del">
          <ac:chgData name="Eileen Fleming Suse" userId="S::efs3844@ads.northwestern.edu::725c94ef-d051-42d7-9d33-8572765d592b" providerId="AD" clId="Web-{AC5E249F-4AD8-EC7C-FB2F-902F01AC2000}" dt="2023-10-26T22:07:34.875" v="214"/>
          <ac:spMkLst>
            <pc:docMk/>
            <pc:sldMk cId="3067427377" sldId="560"/>
            <ac:spMk id="11" creationId="{25AE46F6-8873-C45A-4460-9B1E673C65E0}"/>
          </ac:spMkLst>
        </pc:spChg>
        <pc:spChg chg="add del">
          <ac:chgData name="Eileen Fleming Suse" userId="S::efs3844@ads.northwestern.edu::725c94ef-d051-42d7-9d33-8572765d592b" providerId="AD" clId="Web-{AC5E249F-4AD8-EC7C-FB2F-902F01AC2000}" dt="2023-10-26T22:07:46.547" v="215"/>
          <ac:spMkLst>
            <pc:docMk/>
            <pc:sldMk cId="3067427377" sldId="560"/>
            <ac:spMk id="13" creationId="{01F6CB6F-B810-DCDD-2A4B-90C738ED3EA9}"/>
          </ac:spMkLst>
        </pc:spChg>
      </pc:sldChg>
      <pc:sldChg chg="addSp delSp modSp">
        <pc:chgData name="Eileen Fleming Suse" userId="S::efs3844@ads.northwestern.edu::725c94ef-d051-42d7-9d33-8572765d592b" providerId="AD" clId="Web-{AC5E249F-4AD8-EC7C-FB2F-902F01AC2000}" dt="2023-10-26T22:17:19.116" v="276" actId="20577"/>
        <pc:sldMkLst>
          <pc:docMk/>
          <pc:sldMk cId="1141815353" sldId="562"/>
        </pc:sldMkLst>
        <pc:spChg chg="mod">
          <ac:chgData name="Eileen Fleming Suse" userId="S::efs3844@ads.northwestern.edu::725c94ef-d051-42d7-9d33-8572765d592b" providerId="AD" clId="Web-{AC5E249F-4AD8-EC7C-FB2F-902F01AC2000}" dt="2023-10-26T22:08:07.485" v="217" actId="20577"/>
          <ac:spMkLst>
            <pc:docMk/>
            <pc:sldMk cId="1141815353" sldId="562"/>
            <ac:spMk id="2" creationId="{05579FEB-3306-A04E-6516-F16994F3B0F9}"/>
          </ac:spMkLst>
        </pc:spChg>
        <pc:spChg chg="del mod">
          <ac:chgData name="Eileen Fleming Suse" userId="S::efs3844@ads.northwestern.edu::725c94ef-d051-42d7-9d33-8572765d592b" providerId="AD" clId="Web-{AC5E249F-4AD8-EC7C-FB2F-902F01AC2000}" dt="2023-10-26T22:12:46.574" v="249"/>
          <ac:spMkLst>
            <pc:docMk/>
            <pc:sldMk cId="1141815353" sldId="562"/>
            <ac:spMk id="3" creationId="{FAB96473-F45F-5893-CEB0-FAFF66B2B444}"/>
          </ac:spMkLst>
        </pc:spChg>
        <pc:spChg chg="add del mod">
          <ac:chgData name="Eileen Fleming Suse" userId="S::efs3844@ads.northwestern.edu::725c94ef-d051-42d7-9d33-8572765d592b" providerId="AD" clId="Web-{AC5E249F-4AD8-EC7C-FB2F-902F01AC2000}" dt="2023-10-26T22:13:35.529" v="256"/>
          <ac:spMkLst>
            <pc:docMk/>
            <pc:sldMk cId="1141815353" sldId="562"/>
            <ac:spMk id="299" creationId="{133B377F-EBFC-4D3A-E73F-A028F0C56783}"/>
          </ac:spMkLst>
        </pc:spChg>
        <pc:spChg chg="add mod">
          <ac:chgData name="Eileen Fleming Suse" userId="S::efs3844@ads.northwestern.edu::725c94ef-d051-42d7-9d33-8572765d592b" providerId="AD" clId="Web-{AC5E249F-4AD8-EC7C-FB2F-902F01AC2000}" dt="2023-10-26T22:17:19.116" v="276" actId="20577"/>
          <ac:spMkLst>
            <pc:docMk/>
            <pc:sldMk cId="1141815353" sldId="562"/>
            <ac:spMk id="360" creationId="{FE59A3A2-BFF2-9772-51D6-9CCB620AEB53}"/>
          </ac:spMkLst>
        </pc:spChg>
        <pc:graphicFrameChg chg="add del mod modGraphic">
          <ac:chgData name="Eileen Fleming Suse" userId="S::efs3844@ads.northwestern.edu::725c94ef-d051-42d7-9d33-8572765d592b" providerId="AD" clId="Web-{AC5E249F-4AD8-EC7C-FB2F-902F01AC2000}" dt="2023-10-26T22:10:00.037" v="231"/>
          <ac:graphicFrameMkLst>
            <pc:docMk/>
            <pc:sldMk cId="1141815353" sldId="562"/>
            <ac:graphicFrameMk id="4" creationId="{BE75C271-797A-15FE-F5A6-2846FCF41DA5}"/>
          </ac:graphicFrameMkLst>
        </pc:graphicFrameChg>
        <pc:graphicFrameChg chg="add mod modGraphic">
          <ac:chgData name="Eileen Fleming Suse" userId="S::efs3844@ads.northwestern.edu::725c94ef-d051-42d7-9d33-8572765d592b" providerId="AD" clId="Web-{AC5E249F-4AD8-EC7C-FB2F-902F01AC2000}" dt="2023-10-26T22:13:34.733" v="255" actId="1076"/>
          <ac:graphicFrameMkLst>
            <pc:docMk/>
            <pc:sldMk cId="1141815353" sldId="562"/>
            <ac:graphicFrameMk id="137" creationId="{61D68665-D38F-2DB1-AAFC-535C715B7F9F}"/>
          </ac:graphicFrameMkLst>
        </pc:graphicFrameChg>
      </pc:sldChg>
      <pc:sldChg chg="addSp delSp modSp ord">
        <pc:chgData name="Eileen Fleming Suse" userId="S::efs3844@ads.northwestern.edu::725c94ef-d051-42d7-9d33-8572765d592b" providerId="AD" clId="Web-{AC5E249F-4AD8-EC7C-FB2F-902F01AC2000}" dt="2023-10-27T16:06:46.831" v="342" actId="20577"/>
        <pc:sldMkLst>
          <pc:docMk/>
          <pc:sldMk cId="3845418986" sldId="563"/>
        </pc:sldMkLst>
        <pc:spChg chg="del mod">
          <ac:chgData name="Eileen Fleming Suse" userId="S::efs3844@ads.northwestern.edu::725c94ef-d051-42d7-9d33-8572765d592b" providerId="AD" clId="Web-{AC5E249F-4AD8-EC7C-FB2F-902F01AC2000}" dt="2023-10-27T16:05:33.188" v="312"/>
          <ac:spMkLst>
            <pc:docMk/>
            <pc:sldMk cId="3845418986" sldId="563"/>
            <ac:spMk id="2" creationId="{00000000-0000-0000-0000-000000000000}"/>
          </ac:spMkLst>
        </pc:spChg>
        <pc:spChg chg="mod">
          <ac:chgData name="Eileen Fleming Suse" userId="S::efs3844@ads.northwestern.edu::725c94ef-d051-42d7-9d33-8572765d592b" providerId="AD" clId="Web-{AC5E249F-4AD8-EC7C-FB2F-902F01AC2000}" dt="2023-10-27T16:05:40.469" v="313" actId="1076"/>
          <ac:spMkLst>
            <pc:docMk/>
            <pc:sldMk cId="3845418986" sldId="563"/>
            <ac:spMk id="3" creationId="{00000000-0000-0000-0000-000000000000}"/>
          </ac:spMkLst>
        </pc:spChg>
        <pc:spChg chg="del">
          <ac:chgData name="Eileen Fleming Suse" userId="S::efs3844@ads.northwestern.edu::725c94ef-d051-42d7-9d33-8572765d592b" providerId="AD" clId="Web-{AC5E249F-4AD8-EC7C-FB2F-902F01AC2000}" dt="2023-10-26T21:54:44.517" v="141"/>
          <ac:spMkLst>
            <pc:docMk/>
            <pc:sldMk cId="3845418986" sldId="563"/>
            <ac:spMk id="33" creationId="{00000000-0000-0000-0000-000000000000}"/>
          </ac:spMkLst>
        </pc:spChg>
        <pc:spChg chg="add mod">
          <ac:chgData name="Eileen Fleming Suse" userId="S::efs3844@ads.northwestern.edu::725c94ef-d051-42d7-9d33-8572765d592b" providerId="AD" clId="Web-{AC5E249F-4AD8-EC7C-FB2F-902F01AC2000}" dt="2023-10-27T16:06:46.831" v="342" actId="20577"/>
          <ac:spMkLst>
            <pc:docMk/>
            <pc:sldMk cId="3845418986" sldId="563"/>
            <ac:spMk id="33" creationId="{5C2A740E-7A02-31A5-EAAF-9CD8C0A41D47}"/>
          </ac:spMkLst>
        </pc:spChg>
        <pc:spChg chg="mod">
          <ac:chgData name="Eileen Fleming Suse" userId="S::efs3844@ads.northwestern.edu::725c94ef-d051-42d7-9d33-8572765d592b" providerId="AD" clId="Web-{AC5E249F-4AD8-EC7C-FB2F-902F01AC2000}" dt="2023-10-27T16:05:40.891" v="322" actId="1076"/>
          <ac:spMkLst>
            <pc:docMk/>
            <pc:sldMk cId="3845418986" sldId="563"/>
            <ac:spMk id="34" creationId="{00000000-0000-0000-0000-000000000000}"/>
          </ac:spMkLst>
        </pc:spChg>
        <pc:spChg chg="mod">
          <ac:chgData name="Eileen Fleming Suse" userId="S::efs3844@ads.northwestern.edu::725c94ef-d051-42d7-9d33-8572765d592b" providerId="AD" clId="Web-{AC5E249F-4AD8-EC7C-FB2F-902F01AC2000}" dt="2023-10-27T16:05:40.907" v="323" actId="1076"/>
          <ac:spMkLst>
            <pc:docMk/>
            <pc:sldMk cId="3845418986" sldId="563"/>
            <ac:spMk id="35" creationId="{00000000-0000-0000-0000-000000000000}"/>
          </ac:spMkLst>
        </pc:spChg>
        <pc:spChg chg="mod">
          <ac:chgData name="Eileen Fleming Suse" userId="S::efs3844@ads.northwestern.edu::725c94ef-d051-42d7-9d33-8572765d592b" providerId="AD" clId="Web-{AC5E249F-4AD8-EC7C-FB2F-902F01AC2000}" dt="2023-10-27T16:05:40.954" v="324" actId="1076"/>
          <ac:spMkLst>
            <pc:docMk/>
            <pc:sldMk cId="3845418986" sldId="563"/>
            <ac:spMk id="36" creationId="{00000000-0000-0000-0000-000000000000}"/>
          </ac:spMkLst>
        </pc:spChg>
        <pc:spChg chg="mod">
          <ac:chgData name="Eileen Fleming Suse" userId="S::efs3844@ads.northwestern.edu::725c94ef-d051-42d7-9d33-8572765d592b" providerId="AD" clId="Web-{AC5E249F-4AD8-EC7C-FB2F-902F01AC2000}" dt="2023-10-27T16:05:40.985" v="325" actId="1076"/>
          <ac:spMkLst>
            <pc:docMk/>
            <pc:sldMk cId="3845418986" sldId="563"/>
            <ac:spMk id="37" creationId="{00000000-0000-0000-0000-000000000000}"/>
          </ac:spMkLst>
        </pc:spChg>
        <pc:spChg chg="mod">
          <ac:chgData name="Eileen Fleming Suse" userId="S::efs3844@ads.northwestern.edu::725c94ef-d051-42d7-9d33-8572765d592b" providerId="AD" clId="Web-{AC5E249F-4AD8-EC7C-FB2F-902F01AC2000}" dt="2023-10-27T16:05:41.001" v="326" actId="1076"/>
          <ac:spMkLst>
            <pc:docMk/>
            <pc:sldMk cId="3845418986" sldId="563"/>
            <ac:spMk id="38" creationId="{00000000-0000-0000-0000-000000000000}"/>
          </ac:spMkLst>
        </pc:spChg>
        <pc:spChg chg="mod">
          <ac:chgData name="Eileen Fleming Suse" userId="S::efs3844@ads.northwestern.edu::725c94ef-d051-42d7-9d33-8572765d592b" providerId="AD" clId="Web-{AC5E249F-4AD8-EC7C-FB2F-902F01AC2000}" dt="2023-10-27T16:05:41.032" v="327" actId="1076"/>
          <ac:spMkLst>
            <pc:docMk/>
            <pc:sldMk cId="3845418986" sldId="563"/>
            <ac:spMk id="39" creationId="{00000000-0000-0000-0000-000000000000}"/>
          </ac:spMkLst>
        </pc:spChg>
        <pc:spChg chg="mod">
          <ac:chgData name="Eileen Fleming Suse" userId="S::efs3844@ads.northwestern.edu::725c94ef-d051-42d7-9d33-8572765d592b" providerId="AD" clId="Web-{AC5E249F-4AD8-EC7C-FB2F-902F01AC2000}" dt="2023-10-27T16:05:41.079" v="328" actId="1076"/>
          <ac:spMkLst>
            <pc:docMk/>
            <pc:sldMk cId="3845418986" sldId="563"/>
            <ac:spMk id="40" creationId="{00000000-0000-0000-0000-000000000000}"/>
          </ac:spMkLst>
        </pc:spChg>
        <pc:spChg chg="mod">
          <ac:chgData name="Eileen Fleming Suse" userId="S::efs3844@ads.northwestern.edu::725c94ef-d051-42d7-9d33-8572765d592b" providerId="AD" clId="Web-{AC5E249F-4AD8-EC7C-FB2F-902F01AC2000}" dt="2023-10-27T16:05:41.110" v="329" actId="1076"/>
          <ac:spMkLst>
            <pc:docMk/>
            <pc:sldMk cId="3845418986" sldId="563"/>
            <ac:spMk id="41" creationId="{00000000-0000-0000-0000-000000000000}"/>
          </ac:spMkLst>
        </pc:spChg>
        <pc:spChg chg="mod">
          <ac:chgData name="Eileen Fleming Suse" userId="S::efs3844@ads.northwestern.edu::725c94ef-d051-42d7-9d33-8572765d592b" providerId="AD" clId="Web-{AC5E249F-4AD8-EC7C-FB2F-902F01AC2000}" dt="2023-10-27T16:05:41.157" v="330" actId="1076"/>
          <ac:spMkLst>
            <pc:docMk/>
            <pc:sldMk cId="3845418986" sldId="563"/>
            <ac:spMk id="42" creationId="{00000000-0000-0000-0000-000000000000}"/>
          </ac:spMkLst>
        </pc:spChg>
        <pc:spChg chg="mod">
          <ac:chgData name="Eileen Fleming Suse" userId="S::efs3844@ads.northwestern.edu::725c94ef-d051-42d7-9d33-8572765d592b" providerId="AD" clId="Web-{AC5E249F-4AD8-EC7C-FB2F-902F01AC2000}" dt="2023-10-27T16:05:42.798" v="333" actId="1076"/>
          <ac:spMkLst>
            <pc:docMk/>
            <pc:sldMk cId="3845418986" sldId="563"/>
            <ac:spMk id="43" creationId="{00000000-0000-0000-0000-000000000000}"/>
          </ac:spMkLst>
        </pc:spChg>
        <pc:spChg chg="mod">
          <ac:chgData name="Eileen Fleming Suse" userId="S::efs3844@ads.northwestern.edu::725c94ef-d051-42d7-9d33-8572765d592b" providerId="AD" clId="Web-{AC5E249F-4AD8-EC7C-FB2F-902F01AC2000}" dt="2023-10-27T16:05:41.173" v="331" actId="1076"/>
          <ac:spMkLst>
            <pc:docMk/>
            <pc:sldMk cId="3845418986" sldId="563"/>
            <ac:spMk id="44" creationId="{00000000-0000-0000-0000-000000000000}"/>
          </ac:spMkLst>
        </pc:spChg>
        <pc:spChg chg="mod">
          <ac:chgData name="Eileen Fleming Suse" userId="S::efs3844@ads.northwestern.edu::725c94ef-d051-42d7-9d33-8572765d592b" providerId="AD" clId="Web-{AC5E249F-4AD8-EC7C-FB2F-902F01AC2000}" dt="2023-10-27T16:05:41.219" v="332" actId="1076"/>
          <ac:spMkLst>
            <pc:docMk/>
            <pc:sldMk cId="3845418986" sldId="563"/>
            <ac:spMk id="45" creationId="{00000000-0000-0000-0000-000000000000}"/>
          </ac:spMkLst>
        </pc:spChg>
        <pc:spChg chg="del">
          <ac:chgData name="Eileen Fleming Suse" userId="S::efs3844@ads.northwestern.edu::725c94ef-d051-42d7-9d33-8572765d592b" providerId="AD" clId="Web-{AC5E249F-4AD8-EC7C-FB2F-902F01AC2000}" dt="2023-10-26T21:54:44.454" v="140"/>
          <ac:spMkLst>
            <pc:docMk/>
            <pc:sldMk cId="3845418986" sldId="563"/>
            <ac:spMk id="48" creationId="{00000000-0000-0000-0000-000000000000}"/>
          </ac:spMkLst>
        </pc:spChg>
        <pc:spChg chg="add">
          <ac:chgData name="Eileen Fleming Suse" userId="S::efs3844@ads.northwestern.edu::725c94ef-d051-42d7-9d33-8572765d592b" providerId="AD" clId="Web-{AC5E249F-4AD8-EC7C-FB2F-902F01AC2000}" dt="2023-10-26T21:54:44.642" v="142"/>
          <ac:spMkLst>
            <pc:docMk/>
            <pc:sldMk cId="3845418986" sldId="563"/>
            <ac:spMk id="49" creationId="{4FD6BDF7-E6F5-6DC8-9332-E3E0DB7057F0}"/>
          </ac:spMkLst>
        </pc:spChg>
        <pc:spChg chg="add">
          <ac:chgData name="Eileen Fleming Suse" userId="S::efs3844@ads.northwestern.edu::725c94ef-d051-42d7-9d33-8572765d592b" providerId="AD" clId="Web-{AC5E249F-4AD8-EC7C-FB2F-902F01AC2000}" dt="2023-10-26T21:54:44.673" v="143"/>
          <ac:spMkLst>
            <pc:docMk/>
            <pc:sldMk cId="3845418986" sldId="563"/>
            <ac:spMk id="51" creationId="{233EFC40-2641-E728-F412-79899FC6D0D7}"/>
          </ac:spMkLst>
        </pc:spChg>
        <pc:spChg chg="add">
          <ac:chgData name="Eileen Fleming Suse" userId="S::efs3844@ads.northwestern.edu::725c94ef-d051-42d7-9d33-8572765d592b" providerId="AD" clId="Web-{AC5E249F-4AD8-EC7C-FB2F-902F01AC2000}" dt="2023-10-26T21:54:44.704" v="144"/>
          <ac:spMkLst>
            <pc:docMk/>
            <pc:sldMk cId="3845418986" sldId="563"/>
            <ac:spMk id="53" creationId="{66360ABF-1F2C-C63A-9187-17E2573B3DEB}"/>
          </ac:spMkLst>
        </pc:spChg>
        <pc:grpChg chg="mod">
          <ac:chgData name="Eileen Fleming Suse" userId="S::efs3844@ads.northwestern.edu::725c94ef-d051-42d7-9d33-8572765d592b" providerId="AD" clId="Web-{AC5E249F-4AD8-EC7C-FB2F-902F01AC2000}" dt="2023-10-27T16:05:40.548" v="314" actId="1076"/>
          <ac:grpSpMkLst>
            <pc:docMk/>
            <pc:sldMk cId="3845418986" sldId="563"/>
            <ac:grpSpMk id="6" creationId="{00000000-0000-0000-0000-000000000000}"/>
          </ac:grpSpMkLst>
        </pc:grpChg>
        <pc:grpChg chg="mod">
          <ac:chgData name="Eileen Fleming Suse" userId="S::efs3844@ads.northwestern.edu::725c94ef-d051-42d7-9d33-8572765d592b" providerId="AD" clId="Web-{AC5E249F-4AD8-EC7C-FB2F-902F01AC2000}" dt="2023-10-27T16:05:40.594" v="315" actId="1076"/>
          <ac:grpSpMkLst>
            <pc:docMk/>
            <pc:sldMk cId="3845418986" sldId="563"/>
            <ac:grpSpMk id="9" creationId="{00000000-0000-0000-0000-000000000000}"/>
          </ac:grpSpMkLst>
        </pc:grpChg>
        <pc:grpChg chg="mod">
          <ac:chgData name="Eileen Fleming Suse" userId="S::efs3844@ads.northwestern.edu::725c94ef-d051-42d7-9d33-8572765d592b" providerId="AD" clId="Web-{AC5E249F-4AD8-EC7C-FB2F-902F01AC2000}" dt="2023-10-27T16:05:40.641" v="316" actId="1076"/>
          <ac:grpSpMkLst>
            <pc:docMk/>
            <pc:sldMk cId="3845418986" sldId="563"/>
            <ac:grpSpMk id="12" creationId="{00000000-0000-0000-0000-000000000000}"/>
          </ac:grpSpMkLst>
        </pc:grpChg>
        <pc:grpChg chg="mod">
          <ac:chgData name="Eileen Fleming Suse" userId="S::efs3844@ads.northwestern.edu::725c94ef-d051-42d7-9d33-8572765d592b" providerId="AD" clId="Web-{AC5E249F-4AD8-EC7C-FB2F-902F01AC2000}" dt="2023-10-27T16:05:40.688" v="317" actId="1076"/>
          <ac:grpSpMkLst>
            <pc:docMk/>
            <pc:sldMk cId="3845418986" sldId="563"/>
            <ac:grpSpMk id="15" creationId="{00000000-0000-0000-0000-000000000000}"/>
          </ac:grpSpMkLst>
        </pc:grpChg>
        <pc:grpChg chg="mod">
          <ac:chgData name="Eileen Fleming Suse" userId="S::efs3844@ads.northwestern.edu::725c94ef-d051-42d7-9d33-8572765d592b" providerId="AD" clId="Web-{AC5E249F-4AD8-EC7C-FB2F-902F01AC2000}" dt="2023-10-27T16:05:40.719" v="318" actId="1076"/>
          <ac:grpSpMkLst>
            <pc:docMk/>
            <pc:sldMk cId="3845418986" sldId="563"/>
            <ac:grpSpMk id="18" creationId="{00000000-0000-0000-0000-000000000000}"/>
          </ac:grpSpMkLst>
        </pc:grpChg>
        <pc:grpChg chg="mod">
          <ac:chgData name="Eileen Fleming Suse" userId="S::efs3844@ads.northwestern.edu::725c94ef-d051-42d7-9d33-8572765d592b" providerId="AD" clId="Web-{AC5E249F-4AD8-EC7C-FB2F-902F01AC2000}" dt="2023-10-27T16:05:40.751" v="319" actId="1076"/>
          <ac:grpSpMkLst>
            <pc:docMk/>
            <pc:sldMk cId="3845418986" sldId="563"/>
            <ac:grpSpMk id="21" creationId="{00000000-0000-0000-0000-000000000000}"/>
          </ac:grpSpMkLst>
        </pc:grpChg>
        <pc:grpChg chg="mod">
          <ac:chgData name="Eileen Fleming Suse" userId="S::efs3844@ads.northwestern.edu::725c94ef-d051-42d7-9d33-8572765d592b" providerId="AD" clId="Web-{AC5E249F-4AD8-EC7C-FB2F-902F01AC2000}" dt="2023-10-27T16:05:40.797" v="320" actId="1076"/>
          <ac:grpSpMkLst>
            <pc:docMk/>
            <pc:sldMk cId="3845418986" sldId="563"/>
            <ac:grpSpMk id="24" creationId="{00000000-0000-0000-0000-000000000000}"/>
          </ac:grpSpMkLst>
        </pc:grpChg>
        <pc:grpChg chg="mod">
          <ac:chgData name="Eileen Fleming Suse" userId="S::efs3844@ads.northwestern.edu::725c94ef-d051-42d7-9d33-8572765d592b" providerId="AD" clId="Web-{AC5E249F-4AD8-EC7C-FB2F-902F01AC2000}" dt="2023-10-27T16:05:40.860" v="321" actId="1076"/>
          <ac:grpSpMkLst>
            <pc:docMk/>
            <pc:sldMk cId="3845418986" sldId="563"/>
            <ac:grpSpMk id="27" creationId="{00000000-0000-0000-0000-000000000000}"/>
          </ac:grpSpMkLst>
        </pc:grpChg>
      </pc:sldChg>
      <pc:sldChg chg="addSp delSp ord">
        <pc:chgData name="Eileen Fleming Suse" userId="S::efs3844@ads.northwestern.edu::725c94ef-d051-42d7-9d33-8572765d592b" providerId="AD" clId="Web-{AC5E249F-4AD8-EC7C-FB2F-902F01AC2000}" dt="2023-10-26T21:54:29.673" v="139"/>
        <pc:sldMkLst>
          <pc:docMk/>
          <pc:sldMk cId="1536434647" sldId="564"/>
        </pc:sldMkLst>
        <pc:spChg chg="del">
          <ac:chgData name="Eileen Fleming Suse" userId="S::efs3844@ads.northwestern.edu::725c94ef-d051-42d7-9d33-8572765d592b" providerId="AD" clId="Web-{AC5E249F-4AD8-EC7C-FB2F-902F01AC2000}" dt="2023-10-26T21:54:19.438" v="135"/>
          <ac:spMkLst>
            <pc:docMk/>
            <pc:sldMk cId="1536434647" sldId="564"/>
            <ac:spMk id="26" creationId="{00000000-0000-0000-0000-000000000000}"/>
          </ac:spMkLst>
        </pc:spChg>
        <pc:spChg chg="del">
          <ac:chgData name="Eileen Fleming Suse" userId="S::efs3844@ads.northwestern.edu::725c94ef-d051-42d7-9d33-8572765d592b" providerId="AD" clId="Web-{AC5E249F-4AD8-EC7C-FB2F-902F01AC2000}" dt="2023-10-26T21:54:28.954" v="136"/>
          <ac:spMkLst>
            <pc:docMk/>
            <pc:sldMk cId="1536434647" sldId="564"/>
            <ac:spMk id="48" creationId="{00000000-0000-0000-0000-000000000000}"/>
          </ac:spMkLst>
        </pc:spChg>
        <pc:spChg chg="add">
          <ac:chgData name="Eileen Fleming Suse" userId="S::efs3844@ads.northwestern.edu::725c94ef-d051-42d7-9d33-8572765d592b" providerId="AD" clId="Web-{AC5E249F-4AD8-EC7C-FB2F-902F01AC2000}" dt="2023-10-26T21:54:29.579" v="137"/>
          <ac:spMkLst>
            <pc:docMk/>
            <pc:sldMk cId="1536434647" sldId="564"/>
            <ac:spMk id="51" creationId="{DADB789B-D1D8-A439-C1FC-0121F131E706}"/>
          </ac:spMkLst>
        </pc:spChg>
        <pc:spChg chg="add">
          <ac:chgData name="Eileen Fleming Suse" userId="S::efs3844@ads.northwestern.edu::725c94ef-d051-42d7-9d33-8572765d592b" providerId="AD" clId="Web-{AC5E249F-4AD8-EC7C-FB2F-902F01AC2000}" dt="2023-10-26T21:54:29.626" v="138"/>
          <ac:spMkLst>
            <pc:docMk/>
            <pc:sldMk cId="1536434647" sldId="564"/>
            <ac:spMk id="53" creationId="{7AA1F7FA-AA52-FED3-1784-BE66C8A7FBFC}"/>
          </ac:spMkLst>
        </pc:spChg>
        <pc:spChg chg="add">
          <ac:chgData name="Eileen Fleming Suse" userId="S::efs3844@ads.northwestern.edu::725c94ef-d051-42d7-9d33-8572765d592b" providerId="AD" clId="Web-{AC5E249F-4AD8-EC7C-FB2F-902F01AC2000}" dt="2023-10-26T21:54:29.673" v="139"/>
          <ac:spMkLst>
            <pc:docMk/>
            <pc:sldMk cId="1536434647" sldId="564"/>
            <ac:spMk id="55" creationId="{20BABE46-A93F-751A-4C5F-3AC294D73230}"/>
          </ac:spMkLst>
        </pc:spChg>
      </pc:sldChg>
      <pc:sldChg chg="addSp ord">
        <pc:chgData name="Eileen Fleming Suse" userId="S::efs3844@ads.northwestern.edu::725c94ef-d051-42d7-9d33-8572765d592b" providerId="AD" clId="Web-{AC5E249F-4AD8-EC7C-FB2F-902F01AC2000}" dt="2023-10-26T21:54:54.814" v="145"/>
        <pc:sldMkLst>
          <pc:docMk/>
          <pc:sldMk cId="3004937174" sldId="565"/>
        </pc:sldMkLst>
        <pc:spChg chg="add">
          <ac:chgData name="Eileen Fleming Suse" userId="S::efs3844@ads.northwestern.edu::725c94ef-d051-42d7-9d33-8572765d592b" providerId="AD" clId="Web-{AC5E249F-4AD8-EC7C-FB2F-902F01AC2000}" dt="2023-10-26T21:54:54.814" v="145"/>
          <ac:spMkLst>
            <pc:docMk/>
            <pc:sldMk cId="3004937174" sldId="565"/>
            <ac:spMk id="43" creationId="{8306C3D8-831A-F712-3C29-BC96F5346A16}"/>
          </ac:spMkLst>
        </pc:spChg>
      </pc:sldChg>
      <pc:sldChg chg="del">
        <pc:chgData name="Eileen Fleming Suse" userId="S::efs3844@ads.northwestern.edu::725c94ef-d051-42d7-9d33-8572765d592b" providerId="AD" clId="Web-{AC5E249F-4AD8-EC7C-FB2F-902F01AC2000}" dt="2023-10-26T22:00:39.077" v="178"/>
        <pc:sldMkLst>
          <pc:docMk/>
          <pc:sldMk cId="3090389772" sldId="568"/>
        </pc:sldMkLst>
      </pc:sldChg>
      <pc:sldChg chg="del">
        <pc:chgData name="Eileen Fleming Suse" userId="S::efs3844@ads.northwestern.edu::725c94ef-d051-42d7-9d33-8572765d592b" providerId="AD" clId="Web-{AC5E249F-4AD8-EC7C-FB2F-902F01AC2000}" dt="2023-10-26T22:00:39.077" v="177"/>
        <pc:sldMkLst>
          <pc:docMk/>
          <pc:sldMk cId="1088329954" sldId="569"/>
        </pc:sldMkLst>
      </pc:sldChg>
      <pc:sldChg chg="del">
        <pc:chgData name="Eileen Fleming Suse" userId="S::efs3844@ads.northwestern.edu::725c94ef-d051-42d7-9d33-8572765d592b" providerId="AD" clId="Web-{AC5E249F-4AD8-EC7C-FB2F-902F01AC2000}" dt="2023-10-26T22:00:39.077" v="176"/>
        <pc:sldMkLst>
          <pc:docMk/>
          <pc:sldMk cId="2849312483" sldId="570"/>
        </pc:sldMkLst>
      </pc:sldChg>
      <pc:sldChg chg="del">
        <pc:chgData name="Eileen Fleming Suse" userId="S::efs3844@ads.northwestern.edu::725c94ef-d051-42d7-9d33-8572765d592b" providerId="AD" clId="Web-{AC5E249F-4AD8-EC7C-FB2F-902F01AC2000}" dt="2023-10-26T22:00:39.077" v="175"/>
        <pc:sldMkLst>
          <pc:docMk/>
          <pc:sldMk cId="1337825202" sldId="571"/>
        </pc:sldMkLst>
      </pc:sldChg>
      <pc:sldChg chg="del">
        <pc:chgData name="Eileen Fleming Suse" userId="S::efs3844@ads.northwestern.edu::725c94ef-d051-42d7-9d33-8572765d592b" providerId="AD" clId="Web-{AC5E249F-4AD8-EC7C-FB2F-902F01AC2000}" dt="2023-10-26T22:00:39.062" v="174"/>
        <pc:sldMkLst>
          <pc:docMk/>
          <pc:sldMk cId="1568500938" sldId="575"/>
        </pc:sldMkLst>
      </pc:sldChg>
      <pc:sldChg chg="del">
        <pc:chgData name="Eileen Fleming Suse" userId="S::efs3844@ads.northwestern.edu::725c94ef-d051-42d7-9d33-8572765d592b" providerId="AD" clId="Web-{AC5E249F-4AD8-EC7C-FB2F-902F01AC2000}" dt="2023-10-26T22:00:39.062" v="173"/>
        <pc:sldMkLst>
          <pc:docMk/>
          <pc:sldMk cId="1407824229" sldId="576"/>
        </pc:sldMkLst>
      </pc:sldChg>
      <pc:sldChg chg="addSp modSp">
        <pc:chgData name="Eileen Fleming Suse" userId="S::efs3844@ads.northwestern.edu::725c94ef-d051-42d7-9d33-8572765d592b" providerId="AD" clId="Web-{AC5E249F-4AD8-EC7C-FB2F-902F01AC2000}" dt="2023-10-27T16:25:23.018" v="443"/>
        <pc:sldMkLst>
          <pc:docMk/>
          <pc:sldMk cId="785115983" sldId="578"/>
        </pc:sldMkLst>
        <pc:cxnChg chg="add ord">
          <ac:chgData name="Eileen Fleming Suse" userId="S::efs3844@ads.northwestern.edu::725c94ef-d051-42d7-9d33-8572765d592b" providerId="AD" clId="Web-{AC5E249F-4AD8-EC7C-FB2F-902F01AC2000}" dt="2023-10-27T16:25:18.221" v="442"/>
          <ac:cxnSpMkLst>
            <pc:docMk/>
            <pc:sldMk cId="785115983" sldId="578"/>
            <ac:cxnSpMk id="53" creationId="{A7B5C048-F156-0D3C-D55F-4D731E35FA2E}"/>
          </ac:cxnSpMkLst>
        </pc:cxnChg>
        <pc:cxnChg chg="add mod ord">
          <ac:chgData name="Eileen Fleming Suse" userId="S::efs3844@ads.northwestern.edu::725c94ef-d051-42d7-9d33-8572765d592b" providerId="AD" clId="Web-{AC5E249F-4AD8-EC7C-FB2F-902F01AC2000}" dt="2023-10-27T16:25:13.221" v="441"/>
          <ac:cxnSpMkLst>
            <pc:docMk/>
            <pc:sldMk cId="785115983" sldId="578"/>
            <ac:cxnSpMk id="55" creationId="{6352D6FE-962F-E499-92FF-86F2420A2EA5}"/>
          </ac:cxnSpMkLst>
        </pc:cxnChg>
        <pc:cxnChg chg="add mod ord">
          <ac:chgData name="Eileen Fleming Suse" userId="S::efs3844@ads.northwestern.edu::725c94ef-d051-42d7-9d33-8572765d592b" providerId="AD" clId="Web-{AC5E249F-4AD8-EC7C-FB2F-902F01AC2000}" dt="2023-10-27T16:25:23.018" v="443"/>
          <ac:cxnSpMkLst>
            <pc:docMk/>
            <pc:sldMk cId="785115983" sldId="578"/>
            <ac:cxnSpMk id="57" creationId="{20BA68FA-6BDE-2EDB-723C-CD601AB032C2}"/>
          </ac:cxnSpMkLst>
        </pc:cxnChg>
      </pc:sldChg>
      <pc:sldChg chg="addSp modSp">
        <pc:chgData name="Eileen Fleming Suse" userId="S::efs3844@ads.northwestern.edu::725c94ef-d051-42d7-9d33-8572765d592b" providerId="AD" clId="Web-{AC5E249F-4AD8-EC7C-FB2F-902F01AC2000}" dt="2023-10-27T16:24:55.080" v="435"/>
        <pc:sldMkLst>
          <pc:docMk/>
          <pc:sldMk cId="3030449316" sldId="579"/>
        </pc:sldMkLst>
        <pc:spChg chg="mod">
          <ac:chgData name="Eileen Fleming Suse" userId="S::efs3844@ads.northwestern.edu::725c94ef-d051-42d7-9d33-8572765d592b" providerId="AD" clId="Web-{AC5E249F-4AD8-EC7C-FB2F-902F01AC2000}" dt="2023-10-26T22:18:25.994" v="281" actId="14100"/>
          <ac:spMkLst>
            <pc:docMk/>
            <pc:sldMk cId="3030449316" sldId="579"/>
            <ac:spMk id="33" creationId="{00000000-0000-0000-0000-000000000000}"/>
          </ac:spMkLst>
        </pc:spChg>
        <pc:spChg chg="mod">
          <ac:chgData name="Eileen Fleming Suse" userId="S::efs3844@ads.northwestern.edu::725c94ef-d051-42d7-9d33-8572765d592b" providerId="AD" clId="Web-{AC5E249F-4AD8-EC7C-FB2F-902F01AC2000}" dt="2023-10-26T21:53:50.015" v="134" actId="1076"/>
          <ac:spMkLst>
            <pc:docMk/>
            <pc:sldMk cId="3030449316" sldId="579"/>
            <ac:spMk id="44" creationId="{00000000-0000-0000-0000-000000000000}"/>
          </ac:spMkLst>
        </pc:spChg>
        <pc:cxnChg chg="add mod ord">
          <ac:chgData name="Eileen Fleming Suse" userId="S::efs3844@ads.northwestern.edu::725c94ef-d051-42d7-9d33-8572765d592b" providerId="AD" clId="Web-{AC5E249F-4AD8-EC7C-FB2F-902F01AC2000}" dt="2023-10-27T16:24:51.033" v="434"/>
          <ac:cxnSpMkLst>
            <pc:docMk/>
            <pc:sldMk cId="3030449316" sldId="579"/>
            <ac:cxnSpMk id="53" creationId="{A3366110-511F-BCB4-653F-4CCE780C10E1}"/>
          </ac:cxnSpMkLst>
        </pc:cxnChg>
        <pc:cxnChg chg="add mod ord">
          <ac:chgData name="Eileen Fleming Suse" userId="S::efs3844@ads.northwestern.edu::725c94ef-d051-42d7-9d33-8572765d592b" providerId="AD" clId="Web-{AC5E249F-4AD8-EC7C-FB2F-902F01AC2000}" dt="2023-10-27T16:24:46.126" v="433"/>
          <ac:cxnSpMkLst>
            <pc:docMk/>
            <pc:sldMk cId="3030449316" sldId="579"/>
            <ac:cxnSpMk id="54" creationId="{52D6BD58-A1C0-4097-567A-36996C8B9E0B}"/>
          </ac:cxnSpMkLst>
        </pc:cxnChg>
        <pc:cxnChg chg="add mod ord">
          <ac:chgData name="Eileen Fleming Suse" userId="S::efs3844@ads.northwestern.edu::725c94ef-d051-42d7-9d33-8572765d592b" providerId="AD" clId="Web-{AC5E249F-4AD8-EC7C-FB2F-902F01AC2000}" dt="2023-10-27T16:24:55.080" v="435"/>
          <ac:cxnSpMkLst>
            <pc:docMk/>
            <pc:sldMk cId="3030449316" sldId="579"/>
            <ac:cxnSpMk id="55" creationId="{8F46A2E8-EDC0-45C5-E8E6-4A5E6F1F4FA0}"/>
          </ac:cxnSpMkLst>
        </pc:cxnChg>
      </pc:sldChg>
      <pc:sldChg chg="addSp modSp">
        <pc:chgData name="Eileen Fleming Suse" userId="S::efs3844@ads.northwestern.edu::725c94ef-d051-42d7-9d33-8572765d592b" providerId="AD" clId="Web-{AC5E249F-4AD8-EC7C-FB2F-902F01AC2000}" dt="2023-10-27T16:24:18.438" v="425" actId="20577"/>
        <pc:sldMkLst>
          <pc:docMk/>
          <pc:sldMk cId="4283907660" sldId="580"/>
        </pc:sldMkLst>
        <pc:spChg chg="mod">
          <ac:chgData name="Eileen Fleming Suse" userId="S::efs3844@ads.northwestern.edu::725c94ef-d051-42d7-9d33-8572765d592b" providerId="AD" clId="Web-{AC5E249F-4AD8-EC7C-FB2F-902F01AC2000}" dt="2023-10-27T16:23:25.530" v="410" actId="1076"/>
          <ac:spMkLst>
            <pc:docMk/>
            <pc:sldMk cId="4283907660" sldId="580"/>
            <ac:spMk id="20" creationId="{00000000-0000-0000-0000-000000000000}"/>
          </ac:spMkLst>
        </pc:spChg>
        <pc:spChg chg="mod">
          <ac:chgData name="Eileen Fleming Suse" userId="S::efs3844@ads.northwestern.edu::725c94ef-d051-42d7-9d33-8572765d592b" providerId="AD" clId="Web-{AC5E249F-4AD8-EC7C-FB2F-902F01AC2000}" dt="2023-10-27T16:23:06.342" v="405" actId="1076"/>
          <ac:spMkLst>
            <pc:docMk/>
            <pc:sldMk cId="4283907660" sldId="580"/>
            <ac:spMk id="65" creationId="{00000000-0000-0000-0000-000000000000}"/>
          </ac:spMkLst>
        </pc:spChg>
        <pc:spChg chg="mod">
          <ac:chgData name="Eileen Fleming Suse" userId="S::efs3844@ads.northwestern.edu::725c94ef-d051-42d7-9d33-8572765d592b" providerId="AD" clId="Web-{AC5E249F-4AD8-EC7C-FB2F-902F01AC2000}" dt="2023-10-27T16:24:18.438" v="425" actId="20577"/>
          <ac:spMkLst>
            <pc:docMk/>
            <pc:sldMk cId="4283907660" sldId="580"/>
            <ac:spMk id="66" creationId="{00000000-0000-0000-0000-000000000000}"/>
          </ac:spMkLst>
        </pc:spChg>
        <pc:grpChg chg="mod">
          <ac:chgData name="Eileen Fleming Suse" userId="S::efs3844@ads.northwestern.edu::725c94ef-d051-42d7-9d33-8572765d592b" providerId="AD" clId="Web-{AC5E249F-4AD8-EC7C-FB2F-902F01AC2000}" dt="2023-10-27T16:23:06.311" v="404" actId="1076"/>
          <ac:grpSpMkLst>
            <pc:docMk/>
            <pc:sldMk cId="4283907660" sldId="580"/>
            <ac:grpSpMk id="41" creationId="{00000000-0000-0000-0000-000000000000}"/>
          </ac:grpSpMkLst>
        </pc:grpChg>
        <pc:grpChg chg="mod">
          <ac:chgData name="Eileen Fleming Suse" userId="S::efs3844@ads.northwestern.edu::725c94ef-d051-42d7-9d33-8572765d592b" providerId="AD" clId="Web-{AC5E249F-4AD8-EC7C-FB2F-902F01AC2000}" dt="2023-10-27T16:23:25.562" v="411" actId="1076"/>
          <ac:grpSpMkLst>
            <pc:docMk/>
            <pc:sldMk cId="4283907660" sldId="580"/>
            <ac:grpSpMk id="44" creationId="{00000000-0000-0000-0000-000000000000}"/>
          </ac:grpSpMkLst>
        </pc:grpChg>
        <pc:cxnChg chg="add mod ord">
          <ac:chgData name="Eileen Fleming Suse" userId="S::efs3844@ads.northwestern.edu::725c94ef-d051-42d7-9d33-8572765d592b" providerId="AD" clId="Web-{AC5E249F-4AD8-EC7C-FB2F-902F01AC2000}" dt="2023-10-27T16:22:36.779" v="396"/>
          <ac:cxnSpMkLst>
            <pc:docMk/>
            <pc:sldMk cId="4283907660" sldId="580"/>
            <ac:cxnSpMk id="70" creationId="{FAB1A723-05C8-C0B8-46CD-6CEC5D6BBD04}"/>
          </ac:cxnSpMkLst>
        </pc:cxnChg>
        <pc:cxnChg chg="add mod ord">
          <ac:chgData name="Eileen Fleming Suse" userId="S::efs3844@ads.northwestern.edu::725c94ef-d051-42d7-9d33-8572765d592b" providerId="AD" clId="Web-{AC5E249F-4AD8-EC7C-FB2F-902F01AC2000}" dt="2023-10-27T16:22:30.654" v="395"/>
          <ac:cxnSpMkLst>
            <pc:docMk/>
            <pc:sldMk cId="4283907660" sldId="580"/>
            <ac:cxnSpMk id="72" creationId="{707187BC-B253-F405-832D-75199CFA7D3B}"/>
          </ac:cxnSpMkLst>
        </pc:cxnChg>
        <pc:cxnChg chg="add mod">
          <ac:chgData name="Eileen Fleming Suse" userId="S::efs3844@ads.northwestern.edu::725c94ef-d051-42d7-9d33-8572765d592b" providerId="AD" clId="Web-{AC5E249F-4AD8-EC7C-FB2F-902F01AC2000}" dt="2023-10-27T16:23:09.358" v="406" actId="14100"/>
          <ac:cxnSpMkLst>
            <pc:docMk/>
            <pc:sldMk cId="4283907660" sldId="580"/>
            <ac:cxnSpMk id="74" creationId="{34699683-48B1-C584-C969-0FC12DE6D30A}"/>
          </ac:cxnSpMkLst>
        </pc:cxnChg>
        <pc:cxnChg chg="add mod">
          <ac:chgData name="Eileen Fleming Suse" userId="S::efs3844@ads.northwestern.edu::725c94ef-d051-42d7-9d33-8572765d592b" providerId="AD" clId="Web-{AC5E249F-4AD8-EC7C-FB2F-902F01AC2000}" dt="2023-10-27T16:23:30.609" v="414" actId="14100"/>
          <ac:cxnSpMkLst>
            <pc:docMk/>
            <pc:sldMk cId="4283907660" sldId="580"/>
            <ac:cxnSpMk id="76" creationId="{5FBD65C4-D121-6BFF-7A20-CC716D7037AD}"/>
          </ac:cxnSpMkLst>
        </pc:cxnChg>
        <pc:cxnChg chg="add mod">
          <ac:chgData name="Eileen Fleming Suse" userId="S::efs3844@ads.northwestern.edu::725c94ef-d051-42d7-9d33-8572765d592b" providerId="AD" clId="Web-{AC5E249F-4AD8-EC7C-FB2F-902F01AC2000}" dt="2023-10-27T16:23:13.718" v="408" actId="14100"/>
          <ac:cxnSpMkLst>
            <pc:docMk/>
            <pc:sldMk cId="4283907660" sldId="580"/>
            <ac:cxnSpMk id="78" creationId="{DFA24459-913C-819C-1FB9-882C0D69503C}"/>
          </ac:cxnSpMkLst>
        </pc:cxnChg>
        <pc:cxnChg chg="add mod">
          <ac:chgData name="Eileen Fleming Suse" userId="S::efs3844@ads.northwestern.edu::725c94ef-d051-42d7-9d33-8572765d592b" providerId="AD" clId="Web-{AC5E249F-4AD8-EC7C-FB2F-902F01AC2000}" dt="2023-10-27T16:23:52.859" v="419" actId="14100"/>
          <ac:cxnSpMkLst>
            <pc:docMk/>
            <pc:sldMk cId="4283907660" sldId="580"/>
            <ac:cxnSpMk id="80" creationId="{D146EC0A-53E9-15A6-4F6B-C7F1AE321A03}"/>
          </ac:cxnSpMkLst>
        </pc:cxnChg>
      </pc:sldChg>
      <pc:sldChg chg="addSp modSp">
        <pc:chgData name="Eileen Fleming Suse" userId="S::efs3844@ads.northwestern.edu::725c94ef-d051-42d7-9d33-8572765d592b" providerId="AD" clId="Web-{AC5E249F-4AD8-EC7C-FB2F-902F01AC2000}" dt="2023-10-27T16:21:31.137" v="386"/>
        <pc:sldMkLst>
          <pc:docMk/>
          <pc:sldMk cId="3429940818" sldId="581"/>
        </pc:sldMkLst>
        <pc:spChg chg="mod">
          <ac:chgData name="Eileen Fleming Suse" userId="S::efs3844@ads.northwestern.edu::725c94ef-d051-42d7-9d33-8572765d592b" providerId="AD" clId="Web-{AC5E249F-4AD8-EC7C-FB2F-902F01AC2000}" dt="2023-10-26T22:18:16.087" v="279" actId="1076"/>
          <ac:spMkLst>
            <pc:docMk/>
            <pc:sldMk cId="3429940818" sldId="581"/>
            <ac:spMk id="41" creationId="{00000000-0000-0000-0000-000000000000}"/>
          </ac:spMkLst>
        </pc:spChg>
        <pc:spChg chg="mod">
          <ac:chgData name="Eileen Fleming Suse" userId="S::efs3844@ads.northwestern.edu::725c94ef-d051-42d7-9d33-8572765d592b" providerId="AD" clId="Web-{AC5E249F-4AD8-EC7C-FB2F-902F01AC2000}" dt="2023-10-26T22:18:05.962" v="278" actId="14100"/>
          <ac:spMkLst>
            <pc:docMk/>
            <pc:sldMk cId="3429940818" sldId="581"/>
            <ac:spMk id="62" creationId="{00000000-0000-0000-0000-000000000000}"/>
          </ac:spMkLst>
        </pc:spChg>
        <pc:cxnChg chg="add mod">
          <ac:chgData name="Eileen Fleming Suse" userId="S::efs3844@ads.northwestern.edu::725c94ef-d051-42d7-9d33-8572765d592b" providerId="AD" clId="Web-{AC5E249F-4AD8-EC7C-FB2F-902F01AC2000}" dt="2023-10-27T16:19:43.727" v="367" actId="14100"/>
          <ac:cxnSpMkLst>
            <pc:docMk/>
            <pc:sldMk cId="3429940818" sldId="581"/>
            <ac:cxnSpMk id="72" creationId="{9DABEE7E-8BD3-4674-2C98-8E4DD5FD2BA4}"/>
          </ac:cxnSpMkLst>
        </pc:cxnChg>
        <pc:cxnChg chg="add mod">
          <ac:chgData name="Eileen Fleming Suse" userId="S::efs3844@ads.northwestern.edu::725c94ef-d051-42d7-9d33-8572765d592b" providerId="AD" clId="Web-{AC5E249F-4AD8-EC7C-FB2F-902F01AC2000}" dt="2023-10-27T16:19:49.212" v="369" actId="1076"/>
          <ac:cxnSpMkLst>
            <pc:docMk/>
            <pc:sldMk cId="3429940818" sldId="581"/>
            <ac:cxnSpMk id="74" creationId="{BEC4BABB-43C9-9000-ED55-9524836704C3}"/>
          </ac:cxnSpMkLst>
        </pc:cxnChg>
        <pc:cxnChg chg="add mod">
          <ac:chgData name="Eileen Fleming Suse" userId="S::efs3844@ads.northwestern.edu::725c94ef-d051-42d7-9d33-8572765d592b" providerId="AD" clId="Web-{AC5E249F-4AD8-EC7C-FB2F-902F01AC2000}" dt="2023-10-27T16:19:57.868" v="372" actId="14100"/>
          <ac:cxnSpMkLst>
            <pc:docMk/>
            <pc:sldMk cId="3429940818" sldId="581"/>
            <ac:cxnSpMk id="76" creationId="{144ECC94-4093-ABB7-73BA-06FC54548E83}"/>
          </ac:cxnSpMkLst>
        </pc:cxnChg>
        <pc:cxnChg chg="add mod">
          <ac:chgData name="Eileen Fleming Suse" userId="S::efs3844@ads.northwestern.edu::725c94ef-d051-42d7-9d33-8572765d592b" providerId="AD" clId="Web-{AC5E249F-4AD8-EC7C-FB2F-902F01AC2000}" dt="2023-10-27T16:20:22.697" v="379" actId="14100"/>
          <ac:cxnSpMkLst>
            <pc:docMk/>
            <pc:sldMk cId="3429940818" sldId="581"/>
            <ac:cxnSpMk id="78" creationId="{8982FD92-CD8A-7CA9-6F98-CE88B54846B1}"/>
          </ac:cxnSpMkLst>
        </pc:cxnChg>
        <pc:cxnChg chg="add mod ord">
          <ac:chgData name="Eileen Fleming Suse" userId="S::efs3844@ads.northwestern.edu::725c94ef-d051-42d7-9d33-8572765d592b" providerId="AD" clId="Web-{AC5E249F-4AD8-EC7C-FB2F-902F01AC2000}" dt="2023-10-27T16:21:31.137" v="386"/>
          <ac:cxnSpMkLst>
            <pc:docMk/>
            <pc:sldMk cId="3429940818" sldId="581"/>
            <ac:cxnSpMk id="80" creationId="{CAF7AEDC-38D6-4104-8736-1AFA4E6298B5}"/>
          </ac:cxnSpMkLst>
        </pc:cxnChg>
        <pc:cxnChg chg="add mod ord">
          <ac:chgData name="Eileen Fleming Suse" userId="S::efs3844@ads.northwestern.edu::725c94ef-d051-42d7-9d33-8572765d592b" providerId="AD" clId="Web-{AC5E249F-4AD8-EC7C-FB2F-902F01AC2000}" dt="2023-10-27T16:20:51.464" v="385"/>
          <ac:cxnSpMkLst>
            <pc:docMk/>
            <pc:sldMk cId="3429940818" sldId="581"/>
            <ac:cxnSpMk id="82" creationId="{EB8EE064-ABA2-EBF9-9A28-B95446D8989F}"/>
          </ac:cxnSpMkLst>
        </pc:cxnChg>
      </pc:sldChg>
      <pc:sldChg chg="modSp del">
        <pc:chgData name="Eileen Fleming Suse" userId="S::efs3844@ads.northwestern.edu::725c94ef-d051-42d7-9d33-8572765d592b" providerId="AD" clId="Web-{AC5E249F-4AD8-EC7C-FB2F-902F01AC2000}" dt="2023-10-27T16:07:11.566" v="344"/>
        <pc:sldMkLst>
          <pc:docMk/>
          <pc:sldMk cId="4156128006" sldId="582"/>
        </pc:sldMkLst>
        <pc:spChg chg="mod">
          <ac:chgData name="Eileen Fleming Suse" userId="S::efs3844@ads.northwestern.edu::725c94ef-d051-42d7-9d33-8572765d592b" providerId="AD" clId="Web-{AC5E249F-4AD8-EC7C-FB2F-902F01AC2000}" dt="2023-10-27T16:06:53.925" v="343" actId="1076"/>
          <ac:spMkLst>
            <pc:docMk/>
            <pc:sldMk cId="4156128006" sldId="582"/>
            <ac:spMk id="33" creationId="{00000000-0000-0000-0000-000000000000}"/>
          </ac:spMkLst>
        </pc:spChg>
      </pc:sldChg>
      <pc:sldChg chg="addSp modSp add ord">
        <pc:chgData name="Eileen Fleming Suse" userId="S::efs3844@ads.northwestern.edu::725c94ef-d051-42d7-9d33-8572765d592b" providerId="AD" clId="Web-{AC5E249F-4AD8-EC7C-FB2F-902F01AC2000}" dt="2023-10-27T16:15:16.423" v="349" actId="20577"/>
        <pc:sldMkLst>
          <pc:docMk/>
          <pc:sldMk cId="3561966490" sldId="585"/>
        </pc:sldMkLst>
        <pc:spChg chg="mod">
          <ac:chgData name="Eileen Fleming Suse" userId="S::efs3844@ads.northwestern.edu::725c94ef-d051-42d7-9d33-8572765d592b" providerId="AD" clId="Web-{AC5E249F-4AD8-EC7C-FB2F-902F01AC2000}" dt="2023-10-26T21:47:17.828" v="29" actId="1076"/>
          <ac:spMkLst>
            <pc:docMk/>
            <pc:sldMk cId="3561966490" sldId="585"/>
            <ac:spMk id="4" creationId="{00000000-0000-0000-0000-000000000000}"/>
          </ac:spMkLst>
        </pc:spChg>
        <pc:spChg chg="mod">
          <ac:chgData name="Eileen Fleming Suse" userId="S::efs3844@ads.northwestern.edu::725c94ef-d051-42d7-9d33-8572765d592b" providerId="AD" clId="Web-{AC5E249F-4AD8-EC7C-FB2F-902F01AC2000}" dt="2023-10-26T21:47:17.281" v="28" actId="1076"/>
          <ac:spMkLst>
            <pc:docMk/>
            <pc:sldMk cId="3561966490" sldId="585"/>
            <ac:spMk id="19" creationId="{00000000-0000-0000-0000-000000000000}"/>
          </ac:spMkLst>
        </pc:spChg>
        <pc:spChg chg="mod">
          <ac:chgData name="Eileen Fleming Suse" userId="S::efs3844@ads.northwestern.edu::725c94ef-d051-42d7-9d33-8572765d592b" providerId="AD" clId="Web-{AC5E249F-4AD8-EC7C-FB2F-902F01AC2000}" dt="2023-10-27T16:15:16.423" v="349" actId="20577"/>
          <ac:spMkLst>
            <pc:docMk/>
            <pc:sldMk cId="3561966490" sldId="585"/>
            <ac:spMk id="21" creationId="{00000000-0000-0000-0000-000000000000}"/>
          </ac:spMkLst>
        </pc:spChg>
        <pc:spChg chg="add mod">
          <ac:chgData name="Eileen Fleming Suse" userId="S::efs3844@ads.northwestern.edu::725c94ef-d051-42d7-9d33-8572765d592b" providerId="AD" clId="Web-{AC5E249F-4AD8-EC7C-FB2F-902F01AC2000}" dt="2023-10-26T21:47:17.938" v="30" actId="1076"/>
          <ac:spMkLst>
            <pc:docMk/>
            <pc:sldMk cId="3561966490" sldId="585"/>
            <ac:spMk id="24" creationId="{A8E8476A-44CA-2C4D-B3E7-31C44865373F}"/>
          </ac:spMkLst>
        </pc:spChg>
      </pc:sldChg>
      <pc:sldChg chg="addSp delSp modSp add ord">
        <pc:chgData name="Eileen Fleming Suse" userId="S::efs3844@ads.northwestern.edu::725c94ef-d051-42d7-9d33-8572765d592b" providerId="AD" clId="Web-{AC5E249F-4AD8-EC7C-FB2F-902F01AC2000}" dt="2023-10-27T16:15:54.174" v="364" actId="14100"/>
        <pc:sldMkLst>
          <pc:docMk/>
          <pc:sldMk cId="3809547791" sldId="586"/>
        </pc:sldMkLst>
        <pc:spChg chg="del">
          <ac:chgData name="Eileen Fleming Suse" userId="S::efs3844@ads.northwestern.edu::725c94ef-d051-42d7-9d33-8572765d592b" providerId="AD" clId="Web-{AC5E249F-4AD8-EC7C-FB2F-902F01AC2000}" dt="2023-10-26T21:47:33.578" v="33"/>
          <ac:spMkLst>
            <pc:docMk/>
            <pc:sldMk cId="3809547791" sldId="586"/>
            <ac:spMk id="4" creationId="{00000000-0000-0000-0000-000000000000}"/>
          </ac:spMkLst>
        </pc:spChg>
        <pc:spChg chg="del mod">
          <ac:chgData name="Eileen Fleming Suse" userId="S::efs3844@ads.northwestern.edu::725c94ef-d051-42d7-9d33-8572765d592b" providerId="AD" clId="Web-{AC5E249F-4AD8-EC7C-FB2F-902F01AC2000}" dt="2023-10-26T21:47:33.516" v="32"/>
          <ac:spMkLst>
            <pc:docMk/>
            <pc:sldMk cId="3809547791" sldId="586"/>
            <ac:spMk id="37" creationId="{00000000-0000-0000-0000-000000000000}"/>
          </ac:spMkLst>
        </pc:spChg>
        <pc:spChg chg="mod">
          <ac:chgData name="Eileen Fleming Suse" userId="S::efs3844@ads.northwestern.edu::725c94ef-d051-42d7-9d33-8572765d592b" providerId="AD" clId="Web-{AC5E249F-4AD8-EC7C-FB2F-902F01AC2000}" dt="2023-10-27T16:15:54.174" v="364" actId="14100"/>
          <ac:spMkLst>
            <pc:docMk/>
            <pc:sldMk cId="3809547791" sldId="586"/>
            <ac:spMk id="41" creationId="{00000000-0000-0000-0000-000000000000}"/>
          </ac:spMkLst>
        </pc:spChg>
        <pc:spChg chg="mod">
          <ac:chgData name="Eileen Fleming Suse" userId="S::efs3844@ads.northwestern.edu::725c94ef-d051-42d7-9d33-8572765d592b" providerId="AD" clId="Web-{AC5E249F-4AD8-EC7C-FB2F-902F01AC2000}" dt="2023-10-26T21:46:19.794" v="20" actId="20577"/>
          <ac:spMkLst>
            <pc:docMk/>
            <pc:sldMk cId="3809547791" sldId="586"/>
            <ac:spMk id="42" creationId="{00000000-0000-0000-0000-000000000000}"/>
          </ac:spMkLst>
        </pc:spChg>
        <pc:spChg chg="add">
          <ac:chgData name="Eileen Fleming Suse" userId="S::efs3844@ads.northwestern.edu::725c94ef-d051-42d7-9d33-8572765d592b" providerId="AD" clId="Web-{AC5E249F-4AD8-EC7C-FB2F-902F01AC2000}" dt="2023-10-26T21:47:33.735" v="34"/>
          <ac:spMkLst>
            <pc:docMk/>
            <pc:sldMk cId="3809547791" sldId="586"/>
            <ac:spMk id="45" creationId="{C77E478B-4FF6-99F3-8EF6-9EC4CBF20CDC}"/>
          </ac:spMkLst>
        </pc:spChg>
        <pc:spChg chg="add">
          <ac:chgData name="Eileen Fleming Suse" userId="S::efs3844@ads.northwestern.edu::725c94ef-d051-42d7-9d33-8572765d592b" providerId="AD" clId="Web-{AC5E249F-4AD8-EC7C-FB2F-902F01AC2000}" dt="2023-10-26T21:47:33.750" v="35"/>
          <ac:spMkLst>
            <pc:docMk/>
            <pc:sldMk cId="3809547791" sldId="586"/>
            <ac:spMk id="47" creationId="{B8E0B5F5-B6A2-711D-2F6F-422E5E01B221}"/>
          </ac:spMkLst>
        </pc:spChg>
        <pc:spChg chg="add">
          <ac:chgData name="Eileen Fleming Suse" userId="S::efs3844@ads.northwestern.edu::725c94ef-d051-42d7-9d33-8572765d592b" providerId="AD" clId="Web-{AC5E249F-4AD8-EC7C-FB2F-902F01AC2000}" dt="2023-10-26T21:47:33.781" v="36"/>
          <ac:spMkLst>
            <pc:docMk/>
            <pc:sldMk cId="3809547791" sldId="586"/>
            <ac:spMk id="49" creationId="{725D5EF5-B77D-B401-7AC5-22CFBF1AA913}"/>
          </ac:spMkLst>
        </pc:spChg>
      </pc:sldChg>
      <pc:sldChg chg="addSp delSp modSp add ord">
        <pc:chgData name="Eileen Fleming Suse" userId="S::efs3844@ads.northwestern.edu::725c94ef-d051-42d7-9d33-8572765d592b" providerId="AD" clId="Web-{AC5E249F-4AD8-EC7C-FB2F-902F01AC2000}" dt="2023-10-27T16:13:30.342" v="345" actId="1076"/>
        <pc:sldMkLst>
          <pc:docMk/>
          <pc:sldMk cId="1598854783" sldId="587"/>
        </pc:sldMkLst>
        <pc:spChg chg="del">
          <ac:chgData name="Eileen Fleming Suse" userId="S::efs3844@ads.northwestern.edu::725c94ef-d051-42d7-9d33-8572765d592b" providerId="AD" clId="Web-{AC5E249F-4AD8-EC7C-FB2F-902F01AC2000}" dt="2023-10-26T21:48:54.894" v="58"/>
          <ac:spMkLst>
            <pc:docMk/>
            <pc:sldMk cId="1598854783" sldId="587"/>
            <ac:spMk id="31" creationId="{00000000-0000-0000-0000-000000000000}"/>
          </ac:spMkLst>
        </pc:spChg>
        <pc:spChg chg="mod">
          <ac:chgData name="Eileen Fleming Suse" userId="S::efs3844@ads.northwestern.edu::725c94ef-d051-42d7-9d33-8572765d592b" providerId="AD" clId="Web-{AC5E249F-4AD8-EC7C-FB2F-902F01AC2000}" dt="2023-10-26T21:52:40.637" v="124" actId="20577"/>
          <ac:spMkLst>
            <pc:docMk/>
            <pc:sldMk cId="1598854783" sldId="587"/>
            <ac:spMk id="36" creationId="{00000000-0000-0000-0000-000000000000}"/>
          </ac:spMkLst>
        </pc:spChg>
        <pc:spChg chg="mod">
          <ac:chgData name="Eileen Fleming Suse" userId="S::efs3844@ads.northwestern.edu::725c94ef-d051-42d7-9d33-8572765d592b" providerId="AD" clId="Web-{AC5E249F-4AD8-EC7C-FB2F-902F01AC2000}" dt="2023-10-26T21:51:27.275" v="105" actId="20577"/>
          <ac:spMkLst>
            <pc:docMk/>
            <pc:sldMk cId="1598854783" sldId="587"/>
            <ac:spMk id="37" creationId="{00000000-0000-0000-0000-000000000000}"/>
          </ac:spMkLst>
        </pc:spChg>
        <pc:spChg chg="mod">
          <ac:chgData name="Eileen Fleming Suse" userId="S::efs3844@ads.northwestern.edu::725c94ef-d051-42d7-9d33-8572765d592b" providerId="AD" clId="Web-{AC5E249F-4AD8-EC7C-FB2F-902F01AC2000}" dt="2023-10-26T21:52:40.387" v="123" actId="20577"/>
          <ac:spMkLst>
            <pc:docMk/>
            <pc:sldMk cId="1598854783" sldId="587"/>
            <ac:spMk id="38" creationId="{00000000-0000-0000-0000-000000000000}"/>
          </ac:spMkLst>
        </pc:spChg>
        <pc:spChg chg="mod">
          <ac:chgData name="Eileen Fleming Suse" userId="S::efs3844@ads.northwestern.edu::725c94ef-d051-42d7-9d33-8572765d592b" providerId="AD" clId="Web-{AC5E249F-4AD8-EC7C-FB2F-902F01AC2000}" dt="2023-10-26T21:51:27.619" v="108" actId="20577"/>
          <ac:spMkLst>
            <pc:docMk/>
            <pc:sldMk cId="1598854783" sldId="587"/>
            <ac:spMk id="39" creationId="{00000000-0000-0000-0000-000000000000}"/>
          </ac:spMkLst>
        </pc:spChg>
        <pc:spChg chg="mod">
          <ac:chgData name="Eileen Fleming Suse" userId="S::efs3844@ads.northwestern.edu::725c94ef-d051-42d7-9d33-8572765d592b" providerId="AD" clId="Web-{AC5E249F-4AD8-EC7C-FB2F-902F01AC2000}" dt="2023-10-26T21:53:11.091" v="133" actId="1076"/>
          <ac:spMkLst>
            <pc:docMk/>
            <pc:sldMk cId="1598854783" sldId="587"/>
            <ac:spMk id="40" creationId="{00000000-0000-0000-0000-000000000000}"/>
          </ac:spMkLst>
        </pc:spChg>
        <pc:spChg chg="mod">
          <ac:chgData name="Eileen Fleming Suse" userId="S::efs3844@ads.northwestern.edu::725c94ef-d051-42d7-9d33-8572765d592b" providerId="AD" clId="Web-{AC5E249F-4AD8-EC7C-FB2F-902F01AC2000}" dt="2023-10-26T21:52:55.356" v="128" actId="20577"/>
          <ac:spMkLst>
            <pc:docMk/>
            <pc:sldMk cId="1598854783" sldId="587"/>
            <ac:spMk id="42" creationId="{00000000-0000-0000-0000-000000000000}"/>
          </ac:spMkLst>
        </pc:spChg>
        <pc:spChg chg="mod">
          <ac:chgData name="Eileen Fleming Suse" userId="S::efs3844@ads.northwestern.edu::725c94ef-d051-42d7-9d33-8572765d592b" providerId="AD" clId="Web-{AC5E249F-4AD8-EC7C-FB2F-902F01AC2000}" dt="2023-10-26T21:51:31.041" v="110" actId="20577"/>
          <ac:spMkLst>
            <pc:docMk/>
            <pc:sldMk cId="1598854783" sldId="587"/>
            <ac:spMk id="43" creationId="{00000000-0000-0000-0000-000000000000}"/>
          </ac:spMkLst>
        </pc:spChg>
        <pc:spChg chg="mod">
          <ac:chgData name="Eileen Fleming Suse" userId="S::efs3844@ads.northwestern.edu::725c94ef-d051-42d7-9d33-8572765d592b" providerId="AD" clId="Web-{AC5E249F-4AD8-EC7C-FB2F-902F01AC2000}" dt="2023-10-26T21:48:56.488" v="65" actId="1076"/>
          <ac:spMkLst>
            <pc:docMk/>
            <pc:sldMk cId="1598854783" sldId="587"/>
            <ac:spMk id="45" creationId="{00000000-0000-0000-0000-000000000000}"/>
          </ac:spMkLst>
        </pc:spChg>
        <pc:spChg chg="del mod">
          <ac:chgData name="Eileen Fleming Suse" userId="S::efs3844@ads.northwestern.edu::725c94ef-d051-42d7-9d33-8572765d592b" providerId="AD" clId="Web-{AC5E249F-4AD8-EC7C-FB2F-902F01AC2000}" dt="2023-10-26T21:48:55.363" v="61"/>
          <ac:spMkLst>
            <pc:docMk/>
            <pc:sldMk cId="1598854783" sldId="587"/>
            <ac:spMk id="46" creationId="{00000000-0000-0000-0000-000000000000}"/>
          </ac:spMkLst>
        </pc:spChg>
        <pc:spChg chg="mod">
          <ac:chgData name="Eileen Fleming Suse" userId="S::efs3844@ads.northwestern.edu::725c94ef-d051-42d7-9d33-8572765d592b" providerId="AD" clId="Web-{AC5E249F-4AD8-EC7C-FB2F-902F01AC2000}" dt="2023-10-27T16:13:30.342" v="345" actId="1076"/>
          <ac:spMkLst>
            <pc:docMk/>
            <pc:sldMk cId="1598854783" sldId="587"/>
            <ac:spMk id="47" creationId="{00000000-0000-0000-0000-000000000000}"/>
          </ac:spMkLst>
        </pc:spChg>
        <pc:spChg chg="add">
          <ac:chgData name="Eileen Fleming Suse" userId="S::efs3844@ads.northwestern.edu::725c94ef-d051-42d7-9d33-8572765d592b" providerId="AD" clId="Web-{AC5E249F-4AD8-EC7C-FB2F-902F01AC2000}" dt="2023-10-26T21:48:55.675" v="62"/>
          <ac:spMkLst>
            <pc:docMk/>
            <pc:sldMk cId="1598854783" sldId="587"/>
            <ac:spMk id="49" creationId="{E2210AC7-88E9-3DF2-B6FD-284390179A81}"/>
          </ac:spMkLst>
        </pc:spChg>
        <pc:spChg chg="add">
          <ac:chgData name="Eileen Fleming Suse" userId="S::efs3844@ads.northwestern.edu::725c94ef-d051-42d7-9d33-8572765d592b" providerId="AD" clId="Web-{AC5E249F-4AD8-EC7C-FB2F-902F01AC2000}" dt="2023-10-26T21:48:55.707" v="63"/>
          <ac:spMkLst>
            <pc:docMk/>
            <pc:sldMk cId="1598854783" sldId="587"/>
            <ac:spMk id="51" creationId="{24A2DEC9-4CC0-CBF0-5D9A-524D9EFAEE1C}"/>
          </ac:spMkLst>
        </pc:spChg>
        <pc:spChg chg="add">
          <ac:chgData name="Eileen Fleming Suse" userId="S::efs3844@ads.northwestern.edu::725c94ef-d051-42d7-9d33-8572765d592b" providerId="AD" clId="Web-{AC5E249F-4AD8-EC7C-FB2F-902F01AC2000}" dt="2023-10-26T21:48:55.738" v="64"/>
          <ac:spMkLst>
            <pc:docMk/>
            <pc:sldMk cId="1598854783" sldId="587"/>
            <ac:spMk id="53" creationId="{0E0706BB-4123-83DA-E93A-66A50F4484A3}"/>
          </ac:spMkLst>
        </pc:spChg>
      </pc:sldChg>
      <pc:sldChg chg="addSp delSp modSp add ord">
        <pc:chgData name="Eileen Fleming Suse" userId="S::efs3844@ads.northwestern.edu::725c94ef-d051-42d7-9d33-8572765d592b" providerId="AD" clId="Web-{AC5E249F-4AD8-EC7C-FB2F-902F01AC2000}" dt="2023-10-26T21:51:10.837" v="103" actId="1076"/>
        <pc:sldMkLst>
          <pc:docMk/>
          <pc:sldMk cId="3832963388" sldId="588"/>
        </pc:sldMkLst>
        <pc:spChg chg="del">
          <ac:chgData name="Eileen Fleming Suse" userId="S::efs3844@ads.northwestern.edu::725c94ef-d051-42d7-9d33-8572765d592b" providerId="AD" clId="Web-{AC5E249F-4AD8-EC7C-FB2F-902F01AC2000}" dt="2023-10-26T21:49:27.208" v="68"/>
          <ac:spMkLst>
            <pc:docMk/>
            <pc:sldMk cId="3832963388" sldId="588"/>
            <ac:spMk id="4" creationId="{00000000-0000-0000-0000-000000000000}"/>
          </ac:spMkLst>
        </pc:spChg>
        <pc:spChg chg="mod">
          <ac:chgData name="Eileen Fleming Suse" userId="S::efs3844@ads.northwestern.edu::725c94ef-d051-42d7-9d33-8572765d592b" providerId="AD" clId="Web-{AC5E249F-4AD8-EC7C-FB2F-902F01AC2000}" dt="2023-10-26T21:51:10.602" v="98" actId="1076"/>
          <ac:spMkLst>
            <pc:docMk/>
            <pc:sldMk cId="3832963388" sldId="588"/>
            <ac:spMk id="15" creationId="{00000000-0000-0000-0000-000000000000}"/>
          </ac:spMkLst>
        </pc:spChg>
        <pc:spChg chg="mod">
          <ac:chgData name="Eileen Fleming Suse" userId="S::efs3844@ads.northwestern.edu::725c94ef-d051-42d7-9d33-8572765d592b" providerId="AD" clId="Web-{AC5E249F-4AD8-EC7C-FB2F-902F01AC2000}" dt="2023-10-26T21:51:10.634" v="99" actId="1076"/>
          <ac:spMkLst>
            <pc:docMk/>
            <pc:sldMk cId="3832963388" sldId="588"/>
            <ac:spMk id="16" creationId="{00000000-0000-0000-0000-000000000000}"/>
          </ac:spMkLst>
        </pc:spChg>
        <pc:spChg chg="mod">
          <ac:chgData name="Eileen Fleming Suse" userId="S::efs3844@ads.northwestern.edu::725c94ef-d051-42d7-9d33-8572765d592b" providerId="AD" clId="Web-{AC5E249F-4AD8-EC7C-FB2F-902F01AC2000}" dt="2023-10-26T21:51:10.680" v="100" actId="1076"/>
          <ac:spMkLst>
            <pc:docMk/>
            <pc:sldMk cId="3832963388" sldId="588"/>
            <ac:spMk id="17" creationId="{00000000-0000-0000-0000-000000000000}"/>
          </ac:spMkLst>
        </pc:spChg>
        <pc:spChg chg="mod">
          <ac:chgData name="Eileen Fleming Suse" userId="S::efs3844@ads.northwestern.edu::725c94ef-d051-42d7-9d33-8572765d592b" providerId="AD" clId="Web-{AC5E249F-4AD8-EC7C-FB2F-902F01AC2000}" dt="2023-10-26T21:51:10.743" v="101" actId="1076"/>
          <ac:spMkLst>
            <pc:docMk/>
            <pc:sldMk cId="3832963388" sldId="588"/>
            <ac:spMk id="18" creationId="{00000000-0000-0000-0000-000000000000}"/>
          </ac:spMkLst>
        </pc:spChg>
        <pc:spChg chg="mod">
          <ac:chgData name="Eileen Fleming Suse" userId="S::efs3844@ads.northwestern.edu::725c94ef-d051-42d7-9d33-8572765d592b" providerId="AD" clId="Web-{AC5E249F-4AD8-EC7C-FB2F-902F01AC2000}" dt="2023-10-26T21:51:10.790" v="102" actId="1076"/>
          <ac:spMkLst>
            <pc:docMk/>
            <pc:sldMk cId="3832963388" sldId="588"/>
            <ac:spMk id="19" creationId="{00000000-0000-0000-0000-000000000000}"/>
          </ac:spMkLst>
        </pc:spChg>
        <pc:spChg chg="mod">
          <ac:chgData name="Eileen Fleming Suse" userId="S::efs3844@ads.northwestern.edu::725c94ef-d051-42d7-9d33-8572765d592b" providerId="AD" clId="Web-{AC5E249F-4AD8-EC7C-FB2F-902F01AC2000}" dt="2023-10-26T21:51:10.837" v="103" actId="1076"/>
          <ac:spMkLst>
            <pc:docMk/>
            <pc:sldMk cId="3832963388" sldId="588"/>
            <ac:spMk id="20" creationId="{00000000-0000-0000-0000-000000000000}"/>
          </ac:spMkLst>
        </pc:spChg>
        <pc:spChg chg="mod">
          <ac:chgData name="Eileen Fleming Suse" userId="S::efs3844@ads.northwestern.edu::725c94ef-d051-42d7-9d33-8572765d592b" providerId="AD" clId="Web-{AC5E249F-4AD8-EC7C-FB2F-902F01AC2000}" dt="2023-10-26T21:49:27.723" v="72" actId="1076"/>
          <ac:spMkLst>
            <pc:docMk/>
            <pc:sldMk cId="3832963388" sldId="588"/>
            <ac:spMk id="22" creationId="{00000000-0000-0000-0000-000000000000}"/>
          </ac:spMkLst>
        </pc:spChg>
        <pc:spChg chg="del">
          <ac:chgData name="Eileen Fleming Suse" userId="S::efs3844@ads.northwestern.edu::725c94ef-d051-42d7-9d33-8572765d592b" providerId="AD" clId="Web-{AC5E249F-4AD8-EC7C-FB2F-902F01AC2000}" dt="2023-10-26T21:49:26.473" v="67"/>
          <ac:spMkLst>
            <pc:docMk/>
            <pc:sldMk cId="3832963388" sldId="588"/>
            <ac:spMk id="23" creationId="{00000000-0000-0000-0000-000000000000}"/>
          </ac:spMkLst>
        </pc:spChg>
        <pc:spChg chg="mod">
          <ac:chgData name="Eileen Fleming Suse" userId="S::efs3844@ads.northwestern.edu::725c94ef-d051-42d7-9d33-8572765d592b" providerId="AD" clId="Web-{AC5E249F-4AD8-EC7C-FB2F-902F01AC2000}" dt="2023-10-26T21:50:41.961" v="91" actId="1076"/>
          <ac:spMkLst>
            <pc:docMk/>
            <pc:sldMk cId="3832963388" sldId="588"/>
            <ac:spMk id="24" creationId="{00000000-0000-0000-0000-000000000000}"/>
          </ac:spMkLst>
        </pc:spChg>
        <pc:spChg chg="mod">
          <ac:chgData name="Eileen Fleming Suse" userId="S::efs3844@ads.northwestern.edu::725c94ef-d051-42d7-9d33-8572765d592b" providerId="AD" clId="Web-{AC5E249F-4AD8-EC7C-FB2F-902F01AC2000}" dt="2023-10-26T21:50:27.913" v="88" actId="1076"/>
          <ac:spMkLst>
            <pc:docMk/>
            <pc:sldMk cId="3832963388" sldId="588"/>
            <ac:spMk id="25" creationId="{00000000-0000-0000-0000-000000000000}"/>
          </ac:spMkLst>
        </pc:spChg>
        <pc:spChg chg="mod">
          <ac:chgData name="Eileen Fleming Suse" userId="S::efs3844@ads.northwestern.edu::725c94ef-d051-42d7-9d33-8572765d592b" providerId="AD" clId="Web-{AC5E249F-4AD8-EC7C-FB2F-902F01AC2000}" dt="2023-10-26T21:50:27.038" v="85" actId="1076"/>
          <ac:spMkLst>
            <pc:docMk/>
            <pc:sldMk cId="3832963388" sldId="588"/>
            <ac:spMk id="26" creationId="{00000000-0000-0000-0000-000000000000}"/>
          </ac:spMkLst>
        </pc:spChg>
        <pc:spChg chg="mod">
          <ac:chgData name="Eileen Fleming Suse" userId="S::efs3844@ads.northwestern.edu::725c94ef-d051-42d7-9d33-8572765d592b" providerId="AD" clId="Web-{AC5E249F-4AD8-EC7C-FB2F-902F01AC2000}" dt="2023-10-26T21:50:56.242" v="94" actId="1076"/>
          <ac:spMkLst>
            <pc:docMk/>
            <pc:sldMk cId="3832963388" sldId="588"/>
            <ac:spMk id="27" creationId="{00000000-0000-0000-0000-000000000000}"/>
          </ac:spMkLst>
        </pc:spChg>
        <pc:spChg chg="mod">
          <ac:chgData name="Eileen Fleming Suse" userId="S::efs3844@ads.northwestern.edu::725c94ef-d051-42d7-9d33-8572765d592b" providerId="AD" clId="Web-{AC5E249F-4AD8-EC7C-FB2F-902F01AC2000}" dt="2023-10-26T21:50:56.274" v="95" actId="1076"/>
          <ac:spMkLst>
            <pc:docMk/>
            <pc:sldMk cId="3832963388" sldId="588"/>
            <ac:spMk id="28" creationId="{00000000-0000-0000-0000-000000000000}"/>
          </ac:spMkLst>
        </pc:spChg>
        <pc:spChg chg="mod">
          <ac:chgData name="Eileen Fleming Suse" userId="S::efs3844@ads.northwestern.edu::725c94ef-d051-42d7-9d33-8572765d592b" providerId="AD" clId="Web-{AC5E249F-4AD8-EC7C-FB2F-902F01AC2000}" dt="2023-10-26T21:50:41.336" v="89" actId="1076"/>
          <ac:spMkLst>
            <pc:docMk/>
            <pc:sldMk cId="3832963388" sldId="588"/>
            <ac:spMk id="29" creationId="{00000000-0000-0000-0000-000000000000}"/>
          </ac:spMkLst>
        </pc:spChg>
        <pc:spChg chg="mod">
          <ac:chgData name="Eileen Fleming Suse" userId="S::efs3844@ads.northwestern.edu::725c94ef-d051-42d7-9d33-8572765d592b" providerId="AD" clId="Web-{AC5E249F-4AD8-EC7C-FB2F-902F01AC2000}" dt="2023-10-26T21:50:27.101" v="86" actId="1076"/>
          <ac:spMkLst>
            <pc:docMk/>
            <pc:sldMk cId="3832963388" sldId="588"/>
            <ac:spMk id="30" creationId="{00000000-0000-0000-0000-000000000000}"/>
          </ac:spMkLst>
        </pc:spChg>
        <pc:spChg chg="mod">
          <ac:chgData name="Eileen Fleming Suse" userId="S::efs3844@ads.northwestern.edu::725c94ef-d051-42d7-9d33-8572765d592b" providerId="AD" clId="Web-{AC5E249F-4AD8-EC7C-FB2F-902F01AC2000}" dt="2023-10-26T21:50:27.163" v="87" actId="1076"/>
          <ac:spMkLst>
            <pc:docMk/>
            <pc:sldMk cId="3832963388" sldId="588"/>
            <ac:spMk id="31" creationId="{00000000-0000-0000-0000-000000000000}"/>
          </ac:spMkLst>
        </pc:spChg>
        <pc:spChg chg="mod">
          <ac:chgData name="Eileen Fleming Suse" userId="S::efs3844@ads.northwestern.edu::725c94ef-d051-42d7-9d33-8572765d592b" providerId="AD" clId="Web-{AC5E249F-4AD8-EC7C-FB2F-902F01AC2000}" dt="2023-10-26T21:50:56.321" v="96" actId="1076"/>
          <ac:spMkLst>
            <pc:docMk/>
            <pc:sldMk cId="3832963388" sldId="588"/>
            <ac:spMk id="32" creationId="{00000000-0000-0000-0000-000000000000}"/>
          </ac:spMkLst>
        </pc:spChg>
        <pc:spChg chg="mod">
          <ac:chgData name="Eileen Fleming Suse" userId="S::efs3844@ads.northwestern.edu::725c94ef-d051-42d7-9d33-8572765d592b" providerId="AD" clId="Web-{AC5E249F-4AD8-EC7C-FB2F-902F01AC2000}" dt="2023-10-26T21:50:56.367" v="97" actId="1076"/>
          <ac:spMkLst>
            <pc:docMk/>
            <pc:sldMk cId="3832963388" sldId="588"/>
            <ac:spMk id="33" creationId="{00000000-0000-0000-0000-000000000000}"/>
          </ac:spMkLst>
        </pc:spChg>
        <pc:spChg chg="mod">
          <ac:chgData name="Eileen Fleming Suse" userId="S::efs3844@ads.northwestern.edu::725c94ef-d051-42d7-9d33-8572765d592b" providerId="AD" clId="Web-{AC5E249F-4AD8-EC7C-FB2F-902F01AC2000}" dt="2023-10-26T21:45:55.043" v="18" actId="20577"/>
          <ac:spMkLst>
            <pc:docMk/>
            <pc:sldMk cId="3832963388" sldId="588"/>
            <ac:spMk id="34" creationId="{00000000-0000-0000-0000-000000000000}"/>
          </ac:spMkLst>
        </pc:spChg>
        <pc:spChg chg="add">
          <ac:chgData name="Eileen Fleming Suse" userId="S::efs3844@ads.northwestern.edu::725c94ef-d051-42d7-9d33-8572765d592b" providerId="AD" clId="Web-{AC5E249F-4AD8-EC7C-FB2F-902F01AC2000}" dt="2023-10-26T21:49:27.426" v="69"/>
          <ac:spMkLst>
            <pc:docMk/>
            <pc:sldMk cId="3832963388" sldId="588"/>
            <ac:spMk id="36" creationId="{3EFC5C80-E693-6C51-4DEF-583812BEAB54}"/>
          </ac:spMkLst>
        </pc:spChg>
        <pc:spChg chg="add">
          <ac:chgData name="Eileen Fleming Suse" userId="S::efs3844@ads.northwestern.edu::725c94ef-d051-42d7-9d33-8572765d592b" providerId="AD" clId="Web-{AC5E249F-4AD8-EC7C-FB2F-902F01AC2000}" dt="2023-10-26T21:49:27.489" v="70"/>
          <ac:spMkLst>
            <pc:docMk/>
            <pc:sldMk cId="3832963388" sldId="588"/>
            <ac:spMk id="38" creationId="{9B32A794-89CE-3CF7-CCFB-FB03BB567C6D}"/>
          </ac:spMkLst>
        </pc:spChg>
        <pc:spChg chg="add">
          <ac:chgData name="Eileen Fleming Suse" userId="S::efs3844@ads.northwestern.edu::725c94ef-d051-42d7-9d33-8572765d592b" providerId="AD" clId="Web-{AC5E249F-4AD8-EC7C-FB2F-902F01AC2000}" dt="2023-10-26T21:49:27.551" v="71"/>
          <ac:spMkLst>
            <pc:docMk/>
            <pc:sldMk cId="3832963388" sldId="588"/>
            <ac:spMk id="40" creationId="{75C1E2E3-7399-8294-DAEC-AEBB0FCAC9D7}"/>
          </ac:spMkLst>
        </pc:spChg>
        <pc:grpChg chg="mod">
          <ac:chgData name="Eileen Fleming Suse" userId="S::efs3844@ads.northwestern.edu::725c94ef-d051-42d7-9d33-8572765d592b" providerId="AD" clId="Web-{AC5E249F-4AD8-EC7C-FB2F-902F01AC2000}" dt="2023-10-26T21:50:56.149" v="92" actId="1076"/>
          <ac:grpSpMkLst>
            <pc:docMk/>
            <pc:sldMk cId="3832963388" sldId="588"/>
            <ac:grpSpMk id="5" creationId="{00000000-0000-0000-0000-000000000000}"/>
          </ac:grpSpMkLst>
        </pc:grpChg>
        <pc:grpChg chg="mod">
          <ac:chgData name="Eileen Fleming Suse" userId="S::efs3844@ads.northwestern.edu::725c94ef-d051-42d7-9d33-8572765d592b" providerId="AD" clId="Web-{AC5E249F-4AD8-EC7C-FB2F-902F01AC2000}" dt="2023-10-26T21:50:26.944" v="83" actId="1076"/>
          <ac:grpSpMkLst>
            <pc:docMk/>
            <pc:sldMk cId="3832963388" sldId="588"/>
            <ac:grpSpMk id="7" creationId="{00000000-0000-0000-0000-000000000000}"/>
          </ac:grpSpMkLst>
        </pc:grpChg>
        <pc:grpChg chg="mod">
          <ac:chgData name="Eileen Fleming Suse" userId="S::efs3844@ads.northwestern.edu::725c94ef-d051-42d7-9d33-8572765d592b" providerId="AD" clId="Web-{AC5E249F-4AD8-EC7C-FB2F-902F01AC2000}" dt="2023-10-26T21:50:26.991" v="84" actId="1076"/>
          <ac:grpSpMkLst>
            <pc:docMk/>
            <pc:sldMk cId="3832963388" sldId="588"/>
            <ac:grpSpMk id="9" creationId="{00000000-0000-0000-0000-000000000000}"/>
          </ac:grpSpMkLst>
        </pc:grpChg>
        <pc:grpChg chg="mod">
          <ac:chgData name="Eileen Fleming Suse" userId="S::efs3844@ads.northwestern.edu::725c94ef-d051-42d7-9d33-8572765d592b" providerId="AD" clId="Web-{AC5E249F-4AD8-EC7C-FB2F-902F01AC2000}" dt="2023-10-26T21:50:41.836" v="90" actId="1076"/>
          <ac:grpSpMkLst>
            <pc:docMk/>
            <pc:sldMk cId="3832963388" sldId="588"/>
            <ac:grpSpMk id="11" creationId="{00000000-0000-0000-0000-000000000000}"/>
          </ac:grpSpMkLst>
        </pc:grpChg>
        <pc:grpChg chg="mod">
          <ac:chgData name="Eileen Fleming Suse" userId="S::efs3844@ads.northwestern.edu::725c94ef-d051-42d7-9d33-8572765d592b" providerId="AD" clId="Web-{AC5E249F-4AD8-EC7C-FB2F-902F01AC2000}" dt="2023-10-26T21:50:56.196" v="93" actId="1076"/>
          <ac:grpSpMkLst>
            <pc:docMk/>
            <pc:sldMk cId="3832963388" sldId="588"/>
            <ac:grpSpMk id="13" creationId="{00000000-0000-0000-0000-000000000000}"/>
          </ac:grpSpMkLst>
        </pc:grpChg>
      </pc:sldChg>
      <pc:sldChg chg="addSp delSp modSp add ord">
        <pc:chgData name="Eileen Fleming Suse" userId="S::efs3844@ads.northwestern.edu::725c94ef-d051-42d7-9d33-8572765d592b" providerId="AD" clId="Web-{AC5E249F-4AD8-EC7C-FB2F-902F01AC2000}" dt="2023-10-27T16:13:42.624" v="346"/>
        <pc:sldMkLst>
          <pc:docMk/>
          <pc:sldMk cId="435998680" sldId="589"/>
        </pc:sldMkLst>
        <pc:spChg chg="del">
          <ac:chgData name="Eileen Fleming Suse" userId="S::efs3844@ads.northwestern.edu::725c94ef-d051-42d7-9d33-8572765d592b" providerId="AD" clId="Web-{AC5E249F-4AD8-EC7C-FB2F-902F01AC2000}" dt="2023-10-26T21:47:48.595" v="38"/>
          <ac:spMkLst>
            <pc:docMk/>
            <pc:sldMk cId="435998680" sldId="589"/>
            <ac:spMk id="4" creationId="{00000000-0000-0000-0000-000000000000}"/>
          </ac:spMkLst>
        </pc:spChg>
        <pc:spChg chg="del mod">
          <ac:chgData name="Eileen Fleming Suse" userId="S::efs3844@ads.northwestern.edu::725c94ef-d051-42d7-9d33-8572765d592b" providerId="AD" clId="Web-{AC5E249F-4AD8-EC7C-FB2F-902F01AC2000}" dt="2023-10-26T21:47:50.360" v="40"/>
          <ac:spMkLst>
            <pc:docMk/>
            <pc:sldMk cId="435998680" sldId="589"/>
            <ac:spMk id="12" creationId="{00000000-0000-0000-0000-000000000000}"/>
          </ac:spMkLst>
        </pc:spChg>
        <pc:spChg chg="mod">
          <ac:chgData name="Eileen Fleming Suse" userId="S::efs3844@ads.northwestern.edu::725c94ef-d051-42d7-9d33-8572765d592b" providerId="AD" clId="Web-{AC5E249F-4AD8-EC7C-FB2F-902F01AC2000}" dt="2023-10-26T21:45:51.981" v="16" actId="20577"/>
          <ac:spMkLst>
            <pc:docMk/>
            <pc:sldMk cId="435998680" sldId="589"/>
            <ac:spMk id="17" creationId="{00000000-0000-0000-0000-000000000000}"/>
          </ac:spMkLst>
        </pc:spChg>
        <pc:spChg chg="add">
          <ac:chgData name="Eileen Fleming Suse" userId="S::efs3844@ads.northwestern.edu::725c94ef-d051-42d7-9d33-8572765d592b" providerId="AD" clId="Web-{AC5E249F-4AD8-EC7C-FB2F-902F01AC2000}" dt="2023-10-26T21:47:51.751" v="41"/>
          <ac:spMkLst>
            <pc:docMk/>
            <pc:sldMk cId="435998680" sldId="589"/>
            <ac:spMk id="19" creationId="{4F38B046-5CD5-F005-45E3-2034830DFD34}"/>
          </ac:spMkLst>
        </pc:spChg>
        <pc:spChg chg="add">
          <ac:chgData name="Eileen Fleming Suse" userId="S::efs3844@ads.northwestern.edu::725c94ef-d051-42d7-9d33-8572765d592b" providerId="AD" clId="Web-{AC5E249F-4AD8-EC7C-FB2F-902F01AC2000}" dt="2023-10-26T21:47:51.798" v="42"/>
          <ac:spMkLst>
            <pc:docMk/>
            <pc:sldMk cId="435998680" sldId="589"/>
            <ac:spMk id="21" creationId="{A35E0C3C-CC22-A1A0-8E94-9EEE65798BD1}"/>
          </ac:spMkLst>
        </pc:spChg>
        <pc:spChg chg="add">
          <ac:chgData name="Eileen Fleming Suse" userId="S::efs3844@ads.northwestern.edu::725c94ef-d051-42d7-9d33-8572765d592b" providerId="AD" clId="Web-{AC5E249F-4AD8-EC7C-FB2F-902F01AC2000}" dt="2023-10-26T21:47:51.813" v="43"/>
          <ac:spMkLst>
            <pc:docMk/>
            <pc:sldMk cId="435998680" sldId="589"/>
            <ac:spMk id="23" creationId="{4187CCE4-601B-24DB-941F-235B18EDE475}"/>
          </ac:spMkLst>
        </pc:spChg>
      </pc:sldChg>
      <pc:sldChg chg="addSp delSp add ord">
        <pc:chgData name="Eileen Fleming Suse" userId="S::efs3844@ads.northwestern.edu::725c94ef-d051-42d7-9d33-8572765d592b" providerId="AD" clId="Web-{AC5E249F-4AD8-EC7C-FB2F-902F01AC2000}" dt="2023-10-26T21:48:38.488" v="55"/>
        <pc:sldMkLst>
          <pc:docMk/>
          <pc:sldMk cId="595546358" sldId="590"/>
        </pc:sldMkLst>
        <pc:spChg chg="del">
          <ac:chgData name="Eileen Fleming Suse" userId="S::efs3844@ads.northwestern.edu::725c94ef-d051-42d7-9d33-8572765d592b" providerId="AD" clId="Web-{AC5E249F-4AD8-EC7C-FB2F-902F01AC2000}" dt="2023-10-26T21:48:24.174" v="49"/>
          <ac:spMkLst>
            <pc:docMk/>
            <pc:sldMk cId="595546358" sldId="590"/>
            <ac:spMk id="4" creationId="{00000000-0000-0000-0000-000000000000}"/>
          </ac:spMkLst>
        </pc:spChg>
        <pc:spChg chg="del">
          <ac:chgData name="Eileen Fleming Suse" userId="S::efs3844@ads.northwestern.edu::725c94ef-d051-42d7-9d33-8572765d592b" providerId="AD" clId="Web-{AC5E249F-4AD8-EC7C-FB2F-902F01AC2000}" dt="2023-10-26T21:48:24.283" v="50"/>
          <ac:spMkLst>
            <pc:docMk/>
            <pc:sldMk cId="595546358" sldId="590"/>
            <ac:spMk id="23" creationId="{00000000-0000-0000-0000-000000000000}"/>
          </ac:spMkLst>
        </pc:spChg>
        <pc:spChg chg="add">
          <ac:chgData name="Eileen Fleming Suse" userId="S::efs3844@ads.northwestern.edu::725c94ef-d051-42d7-9d33-8572765d592b" providerId="AD" clId="Web-{AC5E249F-4AD8-EC7C-FB2F-902F01AC2000}" dt="2023-10-26T21:48:24.393" v="51"/>
          <ac:spMkLst>
            <pc:docMk/>
            <pc:sldMk cId="595546358" sldId="590"/>
            <ac:spMk id="30" creationId="{53721EF8-C35D-834E-9339-D65FFE7AFF9A}"/>
          </ac:spMkLst>
        </pc:spChg>
        <pc:spChg chg="add">
          <ac:chgData name="Eileen Fleming Suse" userId="S::efs3844@ads.northwestern.edu::725c94ef-d051-42d7-9d33-8572765d592b" providerId="AD" clId="Web-{AC5E249F-4AD8-EC7C-FB2F-902F01AC2000}" dt="2023-10-26T21:48:24.408" v="52"/>
          <ac:spMkLst>
            <pc:docMk/>
            <pc:sldMk cId="595546358" sldId="590"/>
            <ac:spMk id="32" creationId="{F1AED984-C21E-AA63-E34E-DA61BCE8401F}"/>
          </ac:spMkLst>
        </pc:spChg>
        <pc:spChg chg="add">
          <ac:chgData name="Eileen Fleming Suse" userId="S::efs3844@ads.northwestern.edu::725c94ef-d051-42d7-9d33-8572765d592b" providerId="AD" clId="Web-{AC5E249F-4AD8-EC7C-FB2F-902F01AC2000}" dt="2023-10-26T21:48:24.424" v="53"/>
          <ac:spMkLst>
            <pc:docMk/>
            <pc:sldMk cId="595546358" sldId="590"/>
            <ac:spMk id="34" creationId="{6A9EBE99-61D6-2DC0-EB79-B633C9D91DD8}"/>
          </ac:spMkLst>
        </pc:spChg>
      </pc:sldChg>
      <pc:sldChg chg="addSp delSp add">
        <pc:chgData name="Eileen Fleming Suse" userId="S::efs3844@ads.northwestern.edu::725c94ef-d051-42d7-9d33-8572765d592b" providerId="AD" clId="Web-{AC5E249F-4AD8-EC7C-FB2F-902F01AC2000}" dt="2023-10-26T21:48:09.330" v="48"/>
        <pc:sldMkLst>
          <pc:docMk/>
          <pc:sldMk cId="629433230" sldId="591"/>
        </pc:sldMkLst>
        <pc:spChg chg="del">
          <ac:chgData name="Eileen Fleming Suse" userId="S::efs3844@ads.northwestern.edu::725c94ef-d051-42d7-9d33-8572765d592b" providerId="AD" clId="Web-{AC5E249F-4AD8-EC7C-FB2F-902F01AC2000}" dt="2023-10-26T21:48:05.861" v="44"/>
          <ac:spMkLst>
            <pc:docMk/>
            <pc:sldMk cId="629433230" sldId="591"/>
            <ac:spMk id="4" creationId="{00000000-0000-0000-0000-000000000000}"/>
          </ac:spMkLst>
        </pc:spChg>
        <pc:spChg chg="del">
          <ac:chgData name="Eileen Fleming Suse" userId="S::efs3844@ads.northwestern.edu::725c94ef-d051-42d7-9d33-8572765d592b" providerId="AD" clId="Web-{AC5E249F-4AD8-EC7C-FB2F-902F01AC2000}" dt="2023-10-26T21:48:08.158" v="45"/>
          <ac:spMkLst>
            <pc:docMk/>
            <pc:sldMk cId="629433230" sldId="591"/>
            <ac:spMk id="16" creationId="{00000000-0000-0000-0000-000000000000}"/>
          </ac:spMkLst>
        </pc:spChg>
        <pc:spChg chg="add">
          <ac:chgData name="Eileen Fleming Suse" userId="S::efs3844@ads.northwestern.edu::725c94ef-d051-42d7-9d33-8572765d592b" providerId="AD" clId="Web-{AC5E249F-4AD8-EC7C-FB2F-902F01AC2000}" dt="2023-10-26T21:48:09.252" v="46"/>
          <ac:spMkLst>
            <pc:docMk/>
            <pc:sldMk cId="629433230" sldId="591"/>
            <ac:spMk id="24" creationId="{82DED22A-2957-2107-97D2-7694FF88F0A5}"/>
          </ac:spMkLst>
        </pc:spChg>
        <pc:spChg chg="add">
          <ac:chgData name="Eileen Fleming Suse" userId="S::efs3844@ads.northwestern.edu::725c94ef-d051-42d7-9d33-8572765d592b" providerId="AD" clId="Web-{AC5E249F-4AD8-EC7C-FB2F-902F01AC2000}" dt="2023-10-26T21:48:09.298" v="47"/>
          <ac:spMkLst>
            <pc:docMk/>
            <pc:sldMk cId="629433230" sldId="591"/>
            <ac:spMk id="26" creationId="{7ADA2A22-B85F-E8A9-52B3-7FA1A111EB25}"/>
          </ac:spMkLst>
        </pc:spChg>
        <pc:spChg chg="add">
          <ac:chgData name="Eileen Fleming Suse" userId="S::efs3844@ads.northwestern.edu::725c94ef-d051-42d7-9d33-8572765d592b" providerId="AD" clId="Web-{AC5E249F-4AD8-EC7C-FB2F-902F01AC2000}" dt="2023-10-26T21:48:09.330" v="48"/>
          <ac:spMkLst>
            <pc:docMk/>
            <pc:sldMk cId="629433230" sldId="591"/>
            <ac:spMk id="28" creationId="{D3AD1992-E406-9041-27DE-F66F0C777757}"/>
          </ac:spMkLst>
        </pc:spChg>
      </pc:sldChg>
      <pc:sldChg chg="add del addCm">
        <pc:chgData name="Eileen Fleming Suse" userId="S::efs3844@ads.northwestern.edu::725c94ef-d051-42d7-9d33-8572765d592b" providerId="AD" clId="Web-{AC5E249F-4AD8-EC7C-FB2F-902F01AC2000}" dt="2023-10-26T22:01:28.298" v="179"/>
        <pc:sldMkLst>
          <pc:docMk/>
          <pc:sldMk cId="4102962722" sldId="592"/>
        </pc:sldMkLst>
        <pc:extLst>
          <p:ext xmlns:p="http://schemas.openxmlformats.org/presentationml/2006/main" uri="{D6D511B9-2390-475A-947B-AFAB55BFBCF1}">
            <pc226:cmChg xmlns:pc226="http://schemas.microsoft.com/office/powerpoint/2022/06/main/command" chg="add">
              <pc226:chgData name="Eileen Fleming Suse" userId="S::efs3844@ads.northwestern.edu::725c94ef-d051-42d7-9d33-8572765d592b" providerId="AD" clId="Web-{AC5E249F-4AD8-EC7C-FB2F-902F01AC2000}" dt="2023-10-26T22:01:28.298" v="179"/>
              <pc2:cmMkLst xmlns:pc2="http://schemas.microsoft.com/office/powerpoint/2019/9/main/command">
                <pc:docMk/>
                <pc:sldMk cId="4102962722" sldId="592"/>
                <pc2:cmMk id="{ED77AB97-E80B-44F4-80E6-44E381970832}"/>
              </pc2:cmMkLst>
            </pc226:cmChg>
          </p:ext>
        </pc:extLst>
      </pc:sldChg>
      <pc:sldChg chg="add del">
        <pc:chgData name="Eileen Fleming Suse" userId="S::efs3844@ads.northwestern.edu::725c94ef-d051-42d7-9d33-8572765d592b" providerId="AD" clId="Web-{AC5E249F-4AD8-EC7C-FB2F-902F01AC2000}" dt="2023-10-26T21:59:49.607" v="171"/>
        <pc:sldMkLst>
          <pc:docMk/>
          <pc:sldMk cId="3969440120" sldId="593"/>
        </pc:sldMkLst>
      </pc:sldChg>
      <pc:sldChg chg="add del">
        <pc:chgData name="Eileen Fleming Suse" userId="S::efs3844@ads.northwestern.edu::725c94ef-d051-42d7-9d33-8572765d592b" providerId="AD" clId="Web-{AC5E249F-4AD8-EC7C-FB2F-902F01AC2000}" dt="2023-10-26T21:59:49.497" v="170"/>
        <pc:sldMkLst>
          <pc:docMk/>
          <pc:sldMk cId="2412661198" sldId="594"/>
        </pc:sldMkLst>
      </pc:sldChg>
      <pc:sldChg chg="add del">
        <pc:chgData name="Eileen Fleming Suse" userId="S::efs3844@ads.northwestern.edu::725c94ef-d051-42d7-9d33-8572765d592b" providerId="AD" clId="Web-{AC5E249F-4AD8-EC7C-FB2F-902F01AC2000}" dt="2023-10-26T21:59:49.404" v="169"/>
        <pc:sldMkLst>
          <pc:docMk/>
          <pc:sldMk cId="3516145000" sldId="595"/>
        </pc:sldMkLst>
      </pc:sldChg>
      <pc:sldChg chg="add del">
        <pc:chgData name="Eileen Fleming Suse" userId="S::efs3844@ads.northwestern.edu::725c94ef-d051-42d7-9d33-8572765d592b" providerId="AD" clId="Web-{AC5E249F-4AD8-EC7C-FB2F-902F01AC2000}" dt="2023-10-26T21:59:49.341" v="168"/>
        <pc:sldMkLst>
          <pc:docMk/>
          <pc:sldMk cId="2417460478" sldId="596"/>
        </pc:sldMkLst>
      </pc:sldChg>
      <pc:sldChg chg="add del">
        <pc:chgData name="Eileen Fleming Suse" userId="S::efs3844@ads.northwestern.edu::725c94ef-d051-42d7-9d33-8572765d592b" providerId="AD" clId="Web-{AC5E249F-4AD8-EC7C-FB2F-902F01AC2000}" dt="2023-10-26T21:59:49.279" v="167"/>
        <pc:sldMkLst>
          <pc:docMk/>
          <pc:sldMk cId="81318788" sldId="597"/>
        </pc:sldMkLst>
      </pc:sldChg>
      <pc:sldChg chg="add del addCm delCm">
        <pc:chgData name="Eileen Fleming Suse" userId="S::efs3844@ads.northwestern.edu::725c94ef-d051-42d7-9d33-8572765d592b" providerId="AD" clId="Web-{AC5E249F-4AD8-EC7C-FB2F-902F01AC2000}" dt="2023-10-26T22:03:03.911" v="181"/>
        <pc:sldMkLst>
          <pc:docMk/>
          <pc:sldMk cId="1569232529" sldId="598"/>
        </pc:sldMkLst>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AC5E249F-4AD8-EC7C-FB2F-902F01AC2000}" dt="2023-10-26T22:01:39.986" v="180"/>
              <pc2:cmMkLst xmlns:pc2="http://schemas.microsoft.com/office/powerpoint/2019/9/main/command">
                <pc:docMk/>
                <pc:sldMk cId="1569232529" sldId="598"/>
                <pc2:cmMk id="{137A254D-2737-4985-B0AB-6839DDC46AE0}"/>
              </pc2:cmMkLst>
            </pc226:cmChg>
            <pc226:cmChg xmlns:pc226="http://schemas.microsoft.com/office/powerpoint/2022/06/main/command" chg="add">
              <pc226:chgData name="Eileen Fleming Suse" userId="S::efs3844@ads.northwestern.edu::725c94ef-d051-42d7-9d33-8572765d592b" providerId="AD" clId="Web-{AC5E249F-4AD8-EC7C-FB2F-902F01AC2000}" dt="2023-10-26T22:03:03.911" v="181"/>
              <pc2:cmMkLst xmlns:pc2="http://schemas.microsoft.com/office/powerpoint/2019/9/main/command">
                <pc:docMk/>
                <pc:sldMk cId="1569232529" sldId="598"/>
                <pc2:cmMk id="{6C353279-3DE6-48C1-99BD-BBA70C8082BC}"/>
              </pc2:cmMkLst>
            </pc226:cmChg>
          </p:ext>
        </pc:extLst>
      </pc:sldChg>
      <pc:sldChg chg="add del">
        <pc:chgData name="Eileen Fleming Suse" userId="S::efs3844@ads.northwestern.edu::725c94ef-d051-42d7-9d33-8572765d592b" providerId="AD" clId="Web-{AC5E249F-4AD8-EC7C-FB2F-902F01AC2000}" dt="2023-10-27T16:04:51.687" v="308"/>
        <pc:sldMkLst>
          <pc:docMk/>
          <pc:sldMk cId="2439308623" sldId="599"/>
        </pc:sldMkLst>
      </pc:sldChg>
    </pc:docChg>
  </pc:docChgLst>
  <pc:docChgLst>
    <pc:chgData name="Isabel Rose Gippo" userId="S::irg9370@ads.northwestern.edu::b10bfe7e-55b9-46dd-9add-2eb52cb66d3b" providerId="AD" clId="Web-{782B053E-75E5-959C-8BAD-C5B3CB312E1F}"/>
    <pc:docChg chg="addSld delSld modSld sldOrd">
      <pc:chgData name="Isabel Rose Gippo" userId="S::irg9370@ads.northwestern.edu::b10bfe7e-55b9-46dd-9add-2eb52cb66d3b" providerId="AD" clId="Web-{782B053E-75E5-959C-8BAD-C5B3CB312E1F}" dt="2023-10-27T17:32:56.380" v="8"/>
      <pc:docMkLst>
        <pc:docMk/>
      </pc:docMkLst>
      <pc:sldChg chg="del">
        <pc:chgData name="Isabel Rose Gippo" userId="S::irg9370@ads.northwestern.edu::b10bfe7e-55b9-46dd-9add-2eb52cb66d3b" providerId="AD" clId="Web-{782B053E-75E5-959C-8BAD-C5B3CB312E1F}" dt="2023-10-27T17:32:56.380" v="8"/>
        <pc:sldMkLst>
          <pc:docMk/>
          <pc:sldMk cId="81318788" sldId="597"/>
        </pc:sldMkLst>
      </pc:sldChg>
      <pc:sldChg chg="new del">
        <pc:chgData name="Isabel Rose Gippo" userId="S::irg9370@ads.northwestern.edu::b10bfe7e-55b9-46dd-9add-2eb52cb66d3b" providerId="AD" clId="Web-{782B053E-75E5-959C-8BAD-C5B3CB312E1F}" dt="2023-10-27T15:59:59.727" v="2"/>
        <pc:sldMkLst>
          <pc:docMk/>
          <pc:sldMk cId="1436311312" sldId="598"/>
        </pc:sldMkLst>
      </pc:sldChg>
      <pc:sldChg chg="del">
        <pc:chgData name="Isabel Rose Gippo" userId="S::irg9370@ads.northwestern.edu::b10bfe7e-55b9-46dd-9add-2eb52cb66d3b" providerId="AD" clId="Web-{782B053E-75E5-959C-8BAD-C5B3CB312E1F}" dt="2023-10-27T15:59:36.867" v="0"/>
        <pc:sldMkLst>
          <pc:docMk/>
          <pc:sldMk cId="1569232529" sldId="598"/>
        </pc:sldMkLst>
      </pc:sldChg>
      <pc:sldChg chg="delSp new del ord">
        <pc:chgData name="Isabel Rose Gippo" userId="S::irg9370@ads.northwestern.edu::b10bfe7e-55b9-46dd-9add-2eb52cb66d3b" providerId="AD" clId="Web-{782B053E-75E5-959C-8BAD-C5B3CB312E1F}" dt="2023-10-27T17:32:45.256" v="7"/>
        <pc:sldMkLst>
          <pc:docMk/>
          <pc:sldMk cId="1930759565" sldId="598"/>
        </pc:sldMkLst>
        <pc:spChg chg="del">
          <ac:chgData name="Isabel Rose Gippo" userId="S::irg9370@ads.northwestern.edu::b10bfe7e-55b9-46dd-9add-2eb52cb66d3b" providerId="AD" clId="Web-{782B053E-75E5-959C-8BAD-C5B3CB312E1F}" dt="2023-10-27T16:00:24.525" v="4"/>
          <ac:spMkLst>
            <pc:docMk/>
            <pc:sldMk cId="1930759565" sldId="598"/>
            <ac:spMk id="2" creationId="{ABF36D30-BDF6-6FEC-3FE6-37A1A717E4A8}"/>
          </ac:spMkLst>
        </pc:spChg>
        <pc:spChg chg="del">
          <ac:chgData name="Isabel Rose Gippo" userId="S::irg9370@ads.northwestern.edu::b10bfe7e-55b9-46dd-9add-2eb52cb66d3b" providerId="AD" clId="Web-{782B053E-75E5-959C-8BAD-C5B3CB312E1F}" dt="2023-10-27T16:00:26.244" v="5"/>
          <ac:spMkLst>
            <pc:docMk/>
            <pc:sldMk cId="1930759565" sldId="598"/>
            <ac:spMk id="3" creationId="{31C83F74-E170-8C1C-B7A5-F83D8496A049}"/>
          </ac:spMkLst>
        </pc:spChg>
      </pc:sldChg>
    </pc:docChg>
  </pc:docChgLst>
  <pc:docChgLst>
    <pc:chgData name="Isabel Rose Gippo" userId="S::irg9370@ads.northwestern.edu::b10bfe7e-55b9-46dd-9add-2eb52cb66d3b" providerId="AD" clId="Web-{8E3BEBCA-AD6A-76DA-B8D3-33301DA82F27}"/>
    <pc:docChg chg="modSld">
      <pc:chgData name="Isabel Rose Gippo" userId="S::irg9370@ads.northwestern.edu::b10bfe7e-55b9-46dd-9add-2eb52cb66d3b" providerId="AD" clId="Web-{8E3BEBCA-AD6A-76DA-B8D3-33301DA82F27}" dt="2023-10-24T18:26:04.342" v="34"/>
      <pc:docMkLst>
        <pc:docMk/>
      </pc:docMkLst>
      <pc:sldChg chg="addCm">
        <pc:chgData name="Isabel Rose Gippo" userId="S::irg9370@ads.northwestern.edu::b10bfe7e-55b9-46dd-9add-2eb52cb66d3b" providerId="AD" clId="Web-{8E3BEBCA-AD6A-76DA-B8D3-33301DA82F27}" dt="2023-10-24T18:11:44.401" v="0"/>
        <pc:sldMkLst>
          <pc:docMk/>
          <pc:sldMk cId="3090389772" sldId="568"/>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8E3BEBCA-AD6A-76DA-B8D3-33301DA82F27}" dt="2023-10-24T18:11:44.401" v="0"/>
              <pc2:cmMkLst xmlns:pc2="http://schemas.microsoft.com/office/powerpoint/2019/9/main/command">
                <pc:docMk/>
                <pc:sldMk cId="3090389772" sldId="568"/>
                <pc2:cmMk id="{137A254D-2737-4985-B0AB-6839DDC46AE0}"/>
              </pc2:cmMkLst>
            </pc226:cmChg>
          </p:ext>
        </pc:extLst>
      </pc:sldChg>
      <pc:sldChg chg="modSp">
        <pc:chgData name="Isabel Rose Gippo" userId="S::irg9370@ads.northwestern.edu::b10bfe7e-55b9-46dd-9add-2eb52cb66d3b" providerId="AD" clId="Web-{8E3BEBCA-AD6A-76DA-B8D3-33301DA82F27}" dt="2023-10-24T18:22:26.399" v="21" actId="20577"/>
        <pc:sldMkLst>
          <pc:docMk/>
          <pc:sldMk cId="1088329954" sldId="569"/>
        </pc:sldMkLst>
        <pc:spChg chg="mod">
          <ac:chgData name="Isabel Rose Gippo" userId="S::irg9370@ads.northwestern.edu::b10bfe7e-55b9-46dd-9add-2eb52cb66d3b" providerId="AD" clId="Web-{8E3BEBCA-AD6A-76DA-B8D3-33301DA82F27}" dt="2023-10-24T18:22:26.399" v="21" actId="20577"/>
          <ac:spMkLst>
            <pc:docMk/>
            <pc:sldMk cId="1088329954" sldId="569"/>
            <ac:spMk id="7" creationId="{EAD90045-A731-42F5-ED3E-D5AE61B97B24}"/>
          </ac:spMkLst>
        </pc:spChg>
      </pc:sldChg>
      <pc:sldChg chg="modSp">
        <pc:chgData name="Isabel Rose Gippo" userId="S::irg9370@ads.northwestern.edu::b10bfe7e-55b9-46dd-9add-2eb52cb66d3b" providerId="AD" clId="Web-{8E3BEBCA-AD6A-76DA-B8D3-33301DA82F27}" dt="2023-10-24T18:22:39.837" v="23"/>
        <pc:sldMkLst>
          <pc:docMk/>
          <pc:sldMk cId="2849312483" sldId="570"/>
        </pc:sldMkLst>
        <pc:spChg chg="mod">
          <ac:chgData name="Isabel Rose Gippo" userId="S::irg9370@ads.northwestern.edu::b10bfe7e-55b9-46dd-9add-2eb52cb66d3b" providerId="AD" clId="Web-{8E3BEBCA-AD6A-76DA-B8D3-33301DA82F27}" dt="2023-10-24T18:13:20.762" v="1"/>
          <ac:spMkLst>
            <pc:docMk/>
            <pc:sldMk cId="2849312483" sldId="570"/>
            <ac:spMk id="5" creationId="{E069BE35-38BF-B866-0B62-A243ACB6F110}"/>
          </ac:spMkLst>
        </pc:spChg>
        <pc:spChg chg="mod">
          <ac:chgData name="Isabel Rose Gippo" userId="S::irg9370@ads.northwestern.edu::b10bfe7e-55b9-46dd-9add-2eb52cb66d3b" providerId="AD" clId="Web-{8E3BEBCA-AD6A-76DA-B8D3-33301DA82F27}" dt="2023-10-24T18:22:39.837" v="23"/>
          <ac:spMkLst>
            <pc:docMk/>
            <pc:sldMk cId="2849312483" sldId="570"/>
            <ac:spMk id="10" creationId="{C8307CA0-040F-CDB1-5F4D-16A04C6E74DF}"/>
          </ac:spMkLst>
        </pc:spChg>
      </pc:sldChg>
      <pc:sldChg chg="modSp addCm modCm">
        <pc:chgData name="Isabel Rose Gippo" userId="S::irg9370@ads.northwestern.edu::b10bfe7e-55b9-46dd-9add-2eb52cb66d3b" providerId="AD" clId="Web-{8E3BEBCA-AD6A-76DA-B8D3-33301DA82F27}" dt="2023-10-24T18:23:42.745" v="30" actId="1076"/>
        <pc:sldMkLst>
          <pc:docMk/>
          <pc:sldMk cId="1337825202" sldId="571"/>
        </pc:sldMkLst>
        <pc:spChg chg="mod">
          <ac:chgData name="Isabel Rose Gippo" userId="S::irg9370@ads.northwestern.edu::b10bfe7e-55b9-46dd-9add-2eb52cb66d3b" providerId="AD" clId="Web-{8E3BEBCA-AD6A-76DA-B8D3-33301DA82F27}" dt="2023-10-24T18:23:26.463" v="28" actId="1076"/>
          <ac:spMkLst>
            <pc:docMk/>
            <pc:sldMk cId="1337825202" sldId="571"/>
            <ac:spMk id="4" creationId="{16B24218-AF37-F6C6-7684-E7E3C16AFAF4}"/>
          </ac:spMkLst>
        </pc:spChg>
        <pc:spChg chg="mod">
          <ac:chgData name="Isabel Rose Gippo" userId="S::irg9370@ads.northwestern.edu::b10bfe7e-55b9-46dd-9add-2eb52cb66d3b" providerId="AD" clId="Web-{8E3BEBCA-AD6A-76DA-B8D3-33301DA82F27}" dt="2023-10-24T18:23:42.745" v="30" actId="1076"/>
          <ac:spMkLst>
            <pc:docMk/>
            <pc:sldMk cId="1337825202" sldId="571"/>
            <ac:spMk id="5" creationId="{45477BD9-E066-785E-8D58-760863918D07}"/>
          </ac:spMkLst>
        </pc:spChg>
        <pc:spChg chg="mod">
          <ac:chgData name="Isabel Rose Gippo" userId="S::irg9370@ads.northwestern.edu::b10bfe7e-55b9-46dd-9add-2eb52cb66d3b" providerId="AD" clId="Web-{8E3BEBCA-AD6A-76DA-B8D3-33301DA82F27}" dt="2023-10-24T18:23:31.698" v="29" actId="1076"/>
          <ac:spMkLst>
            <pc:docMk/>
            <pc:sldMk cId="1337825202" sldId="571"/>
            <ac:spMk id="7" creationId="{70F70170-82A9-3F58-8A7E-1C8F0DE96C28}"/>
          </ac:spMkLst>
        </pc:spChg>
        <pc:spChg chg="mod">
          <ac:chgData name="Isabel Rose Gippo" userId="S::irg9370@ads.northwestern.edu::b10bfe7e-55b9-46dd-9add-2eb52cb66d3b" providerId="AD" clId="Web-{8E3BEBCA-AD6A-76DA-B8D3-33301DA82F27}" dt="2023-10-24T18:23:19.760" v="26" actId="1076"/>
          <ac:spMkLst>
            <pc:docMk/>
            <pc:sldMk cId="1337825202" sldId="571"/>
            <ac:spMk id="19" creationId="{F49C1F1A-614A-5749-1A3F-78980B65ADBC}"/>
          </ac:spMkLst>
        </pc:spChg>
        <pc:picChg chg="mod">
          <ac:chgData name="Isabel Rose Gippo" userId="S::irg9370@ads.northwestern.edu::b10bfe7e-55b9-46dd-9add-2eb52cb66d3b" providerId="AD" clId="Web-{8E3BEBCA-AD6A-76DA-B8D3-33301DA82F27}" dt="2023-10-24T18:23:21.682" v="27" actId="1076"/>
          <ac:picMkLst>
            <pc:docMk/>
            <pc:sldMk cId="1337825202" sldId="571"/>
            <ac:picMk id="3" creationId="{295316AB-273C-55D8-0FED-C92B67DB5F3C}"/>
          </ac:picMkLst>
        </pc:picChg>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8E3BEBCA-AD6A-76DA-B8D3-33301DA82F27}" dt="2023-10-24T18:23:05.041" v="24"/>
              <pc2:cmMkLst xmlns:pc2="http://schemas.microsoft.com/office/powerpoint/2019/9/main/command">
                <pc:docMk/>
                <pc:sldMk cId="1337825202" sldId="571"/>
                <pc2:cmMk id="{597B57DA-0034-4896-9C5A-F5F5B1181A4B}"/>
              </pc2:cmMkLst>
              <pc226:cmRplyChg chg="add">
                <pc226:chgData name="Isabel Rose Gippo" userId="S::irg9370@ads.northwestern.edu::b10bfe7e-55b9-46dd-9add-2eb52cb66d3b" providerId="AD" clId="Web-{8E3BEBCA-AD6A-76DA-B8D3-33301DA82F27}" dt="2023-10-24T18:23:05.041" v="24"/>
                <pc2:cmRplyMkLst xmlns:pc2="http://schemas.microsoft.com/office/powerpoint/2019/9/main/command">
                  <pc:docMk/>
                  <pc:sldMk cId="1337825202" sldId="571"/>
                  <pc2:cmMk id="{597B57DA-0034-4896-9C5A-F5F5B1181A4B}"/>
                  <pc2:cmRplyMk id="{0B20A1DB-B066-4B4C-A06C-07EF4136C81F}"/>
                </pc2:cmRplyMkLst>
              </pc226:cmRplyChg>
            </pc226:cmChg>
          </p:ext>
        </pc:extLst>
      </pc:sldChg>
      <pc:sldChg chg="modSp addCm">
        <pc:chgData name="Isabel Rose Gippo" userId="S::irg9370@ads.northwestern.edu::b10bfe7e-55b9-46dd-9add-2eb52cb66d3b" providerId="AD" clId="Web-{8E3BEBCA-AD6A-76DA-B8D3-33301DA82F27}" dt="2023-10-24T18:26:04.342" v="34"/>
        <pc:sldMkLst>
          <pc:docMk/>
          <pc:sldMk cId="1568500938" sldId="575"/>
        </pc:sldMkLst>
        <pc:spChg chg="mod">
          <ac:chgData name="Isabel Rose Gippo" userId="S::irg9370@ads.northwestern.edu::b10bfe7e-55b9-46dd-9add-2eb52cb66d3b" providerId="AD" clId="Web-{8E3BEBCA-AD6A-76DA-B8D3-33301DA82F27}" dt="2023-10-24T18:24:13.043" v="33" actId="1076"/>
          <ac:spMkLst>
            <pc:docMk/>
            <pc:sldMk cId="1568500938" sldId="575"/>
            <ac:spMk id="4" creationId="{16B24218-AF37-F6C6-7684-E7E3C16AFAF4}"/>
          </ac:spMkLst>
        </pc:spChg>
        <pc:spChg chg="mod">
          <ac:chgData name="Isabel Rose Gippo" userId="S::irg9370@ads.northwestern.edu::b10bfe7e-55b9-46dd-9add-2eb52cb66d3b" providerId="AD" clId="Web-{8E3BEBCA-AD6A-76DA-B8D3-33301DA82F27}" dt="2023-10-24T18:24:07.386" v="32" actId="1076"/>
          <ac:spMkLst>
            <pc:docMk/>
            <pc:sldMk cId="1568500938" sldId="575"/>
            <ac:spMk id="19" creationId="{F49C1F1A-614A-5749-1A3F-78980B65ADBC}"/>
          </ac:spMkLst>
        </pc:spChg>
        <pc:picChg chg="mod">
          <ac:chgData name="Isabel Rose Gippo" userId="S::irg9370@ads.northwestern.edu::b10bfe7e-55b9-46dd-9add-2eb52cb66d3b" providerId="AD" clId="Web-{8E3BEBCA-AD6A-76DA-B8D3-33301DA82F27}" dt="2023-10-24T18:24:01.308" v="31" actId="1076"/>
          <ac:picMkLst>
            <pc:docMk/>
            <pc:sldMk cId="1568500938" sldId="575"/>
            <ac:picMk id="8" creationId="{C4A61916-BC63-F6E7-BBA0-F124F7732FEA}"/>
          </ac:picMkLst>
        </pc:picChg>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8E3BEBCA-AD6A-76DA-B8D3-33301DA82F27}" dt="2023-10-24T18:26:04.342" v="34"/>
              <pc2:cmMkLst xmlns:pc2="http://schemas.microsoft.com/office/powerpoint/2019/9/main/command">
                <pc:docMk/>
                <pc:sldMk cId="1568500938" sldId="575"/>
                <pc2:cmMk id="{AE1B6C45-0EF0-4CD3-8E51-393E7FE3AF62}"/>
              </pc2:cmMkLst>
            </pc226:cmChg>
          </p:ext>
        </pc:extLst>
      </pc:sldChg>
      <pc:sldChg chg="modSp">
        <pc:chgData name="Isabel Rose Gippo" userId="S::irg9370@ads.northwestern.edu::b10bfe7e-55b9-46dd-9add-2eb52cb66d3b" providerId="AD" clId="Web-{8E3BEBCA-AD6A-76DA-B8D3-33301DA82F27}" dt="2023-10-24T18:21:10.257" v="19" actId="1076"/>
        <pc:sldMkLst>
          <pc:docMk/>
          <pc:sldMk cId="1407824229" sldId="576"/>
        </pc:sldMkLst>
        <pc:spChg chg="mod">
          <ac:chgData name="Isabel Rose Gippo" userId="S::irg9370@ads.northwestern.edu::b10bfe7e-55b9-46dd-9add-2eb52cb66d3b" providerId="AD" clId="Web-{8E3BEBCA-AD6A-76DA-B8D3-33301DA82F27}" dt="2023-10-24T18:21:10.257" v="19" actId="1076"/>
          <ac:spMkLst>
            <pc:docMk/>
            <pc:sldMk cId="1407824229" sldId="576"/>
            <ac:spMk id="5" creationId="{45477BD9-E066-785E-8D58-760863918D07}"/>
          </ac:spMkLst>
        </pc:spChg>
        <pc:spChg chg="mod">
          <ac:chgData name="Isabel Rose Gippo" userId="S::irg9370@ads.northwestern.edu::b10bfe7e-55b9-46dd-9add-2eb52cb66d3b" providerId="AD" clId="Web-{8E3BEBCA-AD6A-76DA-B8D3-33301DA82F27}" dt="2023-10-24T18:21:07.601" v="18" actId="14100"/>
          <ac:spMkLst>
            <pc:docMk/>
            <pc:sldMk cId="1407824229" sldId="576"/>
            <ac:spMk id="7" creationId="{70F70170-82A9-3F58-8A7E-1C8F0DE96C28}"/>
          </ac:spMkLst>
        </pc:spChg>
      </pc:sldChg>
    </pc:docChg>
  </pc:docChgLst>
  <pc:docChgLst>
    <pc:chgData name="Eileen Fleming Suse" userId="S::efs3844@ads.northwestern.edu::725c94ef-d051-42d7-9d33-8572765d592b" providerId="AD" clId="Web-{AFE245F6-AF84-51BF-AB4C-88F7188B99E6}"/>
    <pc:docChg chg="modSld">
      <pc:chgData name="Eileen Fleming Suse" userId="S::efs3844@ads.northwestern.edu::725c94ef-d051-42d7-9d33-8572765d592b" providerId="AD" clId="Web-{AFE245F6-AF84-51BF-AB4C-88F7188B99E6}" dt="2023-10-31T20:15:08.574" v="74" actId="1076"/>
      <pc:docMkLst>
        <pc:docMk/>
      </pc:docMkLst>
      <pc:sldChg chg="modSp">
        <pc:chgData name="Eileen Fleming Suse" userId="S::efs3844@ads.northwestern.edu::725c94ef-d051-42d7-9d33-8572765d592b" providerId="AD" clId="Web-{AFE245F6-AF84-51BF-AB4C-88F7188B99E6}" dt="2023-10-31T20:14:55.604" v="73" actId="1076"/>
        <pc:sldMkLst>
          <pc:docMk/>
          <pc:sldMk cId="1536434647" sldId="564"/>
        </pc:sldMkLst>
        <pc:spChg chg="mod">
          <ac:chgData name="Eileen Fleming Suse" userId="S::efs3844@ads.northwestern.edu::725c94ef-d051-42d7-9d33-8572765d592b" providerId="AD" clId="Web-{AFE245F6-AF84-51BF-AB4C-88F7188B99E6}" dt="2023-10-31T20:14:55.604" v="73" actId="1076"/>
          <ac:spMkLst>
            <pc:docMk/>
            <pc:sldMk cId="1536434647" sldId="564"/>
            <ac:spMk id="51" creationId="{DADB789B-D1D8-A439-C1FC-0121F131E706}"/>
          </ac:spMkLst>
        </pc:spChg>
        <pc:spChg chg="mod">
          <ac:chgData name="Eileen Fleming Suse" userId="S::efs3844@ads.northwestern.edu::725c94ef-d051-42d7-9d33-8572765d592b" providerId="AD" clId="Web-{AFE245F6-AF84-51BF-AB4C-88F7188B99E6}" dt="2023-10-31T20:14:52.745" v="72" actId="1076"/>
          <ac:spMkLst>
            <pc:docMk/>
            <pc:sldMk cId="1536434647" sldId="564"/>
            <ac:spMk id="53" creationId="{7AA1F7FA-AA52-FED3-1784-BE66C8A7FBFC}"/>
          </ac:spMkLst>
        </pc:spChg>
      </pc:sldChg>
      <pc:sldChg chg="addSp modSp">
        <pc:chgData name="Eileen Fleming Suse" userId="S::efs3844@ads.northwestern.edu::725c94ef-d051-42d7-9d33-8572765d592b" providerId="AD" clId="Web-{AFE245F6-AF84-51BF-AB4C-88F7188B99E6}" dt="2023-10-31T20:14:16.650" v="71"/>
        <pc:sldMkLst>
          <pc:docMk/>
          <pc:sldMk cId="3030449316" sldId="579"/>
        </pc:sldMkLst>
        <pc:spChg chg="mod ord">
          <ac:chgData name="Eileen Fleming Suse" userId="S::efs3844@ads.northwestern.edu::725c94ef-d051-42d7-9d33-8572765d592b" providerId="AD" clId="Web-{AFE245F6-AF84-51BF-AB4C-88F7188B99E6}" dt="2023-10-31T20:14:16.650" v="71"/>
          <ac:spMkLst>
            <pc:docMk/>
            <pc:sldMk cId="3030449316" sldId="579"/>
            <ac:spMk id="10" creationId="{00000000-0000-0000-0000-000000000000}"/>
          </ac:spMkLst>
        </pc:spChg>
        <pc:spChg chg="mod">
          <ac:chgData name="Eileen Fleming Suse" userId="S::efs3844@ads.northwestern.edu::725c94ef-d051-42d7-9d33-8572765d592b" providerId="AD" clId="Web-{AFE245F6-AF84-51BF-AB4C-88F7188B99E6}" dt="2023-10-31T20:05:09.091" v="6" actId="1076"/>
          <ac:spMkLst>
            <pc:docMk/>
            <pc:sldMk cId="3030449316" sldId="579"/>
            <ac:spMk id="11" creationId="{00000000-0000-0000-0000-000000000000}"/>
          </ac:spMkLst>
        </pc:spChg>
        <pc:spChg chg="mod">
          <ac:chgData name="Eileen Fleming Suse" userId="S::efs3844@ads.northwestern.edu::725c94ef-d051-42d7-9d33-8572765d592b" providerId="AD" clId="Web-{AFE245F6-AF84-51BF-AB4C-88F7188B99E6}" dt="2023-10-31T20:05:59.358" v="20" actId="1076"/>
          <ac:spMkLst>
            <pc:docMk/>
            <pc:sldMk cId="3030449316" sldId="579"/>
            <ac:spMk id="12" creationId="{00000000-0000-0000-0000-000000000000}"/>
          </ac:spMkLst>
        </pc:spChg>
        <pc:spChg chg="mod">
          <ac:chgData name="Eileen Fleming Suse" userId="S::efs3844@ads.northwestern.edu::725c94ef-d051-42d7-9d33-8572765d592b" providerId="AD" clId="Web-{AFE245F6-AF84-51BF-AB4C-88F7188B99E6}" dt="2023-10-31T20:04:52.716" v="3" actId="1076"/>
          <ac:spMkLst>
            <pc:docMk/>
            <pc:sldMk cId="3030449316" sldId="579"/>
            <ac:spMk id="13" creationId="{00000000-0000-0000-0000-000000000000}"/>
          </ac:spMkLst>
        </pc:spChg>
        <pc:spChg chg="mod">
          <ac:chgData name="Eileen Fleming Suse" userId="S::efs3844@ads.northwestern.edu::725c94ef-d051-42d7-9d33-8572765d592b" providerId="AD" clId="Web-{AFE245F6-AF84-51BF-AB4C-88F7188B99E6}" dt="2023-10-31T20:06:52.046" v="34" actId="1076"/>
          <ac:spMkLst>
            <pc:docMk/>
            <pc:sldMk cId="3030449316" sldId="579"/>
            <ac:spMk id="32" creationId="{00000000-0000-0000-0000-000000000000}"/>
          </ac:spMkLst>
        </pc:spChg>
        <pc:spChg chg="mod">
          <ac:chgData name="Eileen Fleming Suse" userId="S::efs3844@ads.northwestern.edu::725c94ef-d051-42d7-9d33-8572765d592b" providerId="AD" clId="Web-{AFE245F6-AF84-51BF-AB4C-88F7188B99E6}" dt="2023-10-31T20:07:17.860" v="38" actId="1076"/>
          <ac:spMkLst>
            <pc:docMk/>
            <pc:sldMk cId="3030449316" sldId="579"/>
            <ac:spMk id="40" creationId="{00000000-0000-0000-0000-000000000000}"/>
          </ac:spMkLst>
        </pc:spChg>
        <pc:spChg chg="mod ord">
          <ac:chgData name="Eileen Fleming Suse" userId="S::efs3844@ads.northwestern.edu::725c94ef-d051-42d7-9d33-8572765d592b" providerId="AD" clId="Web-{AFE245F6-AF84-51BF-AB4C-88F7188B99E6}" dt="2023-10-31T20:11:55.147" v="65" actId="1076"/>
          <ac:spMkLst>
            <pc:docMk/>
            <pc:sldMk cId="3030449316" sldId="579"/>
            <ac:spMk id="41" creationId="{00000000-0000-0000-0000-000000000000}"/>
          </ac:spMkLst>
        </pc:spChg>
        <pc:spChg chg="mod">
          <ac:chgData name="Eileen Fleming Suse" userId="S::efs3844@ads.northwestern.edu::725c94ef-d051-42d7-9d33-8572765d592b" providerId="AD" clId="Web-{AFE245F6-AF84-51BF-AB4C-88F7188B99E6}" dt="2023-10-31T20:06:00.717" v="21" actId="1076"/>
          <ac:spMkLst>
            <pc:docMk/>
            <pc:sldMk cId="3030449316" sldId="579"/>
            <ac:spMk id="42" creationId="{00000000-0000-0000-0000-000000000000}"/>
          </ac:spMkLst>
        </pc:spChg>
        <pc:spChg chg="mod">
          <ac:chgData name="Eileen Fleming Suse" userId="S::efs3844@ads.northwestern.edu::725c94ef-d051-42d7-9d33-8572765d592b" providerId="AD" clId="Web-{AFE245F6-AF84-51BF-AB4C-88F7188B99E6}" dt="2023-10-31T20:06:22.327" v="27" actId="1076"/>
          <ac:spMkLst>
            <pc:docMk/>
            <pc:sldMk cId="3030449316" sldId="579"/>
            <ac:spMk id="43" creationId="{00000000-0000-0000-0000-000000000000}"/>
          </ac:spMkLst>
        </pc:spChg>
        <pc:spChg chg="mod">
          <ac:chgData name="Eileen Fleming Suse" userId="S::efs3844@ads.northwestern.edu::725c94ef-d051-42d7-9d33-8572765d592b" providerId="AD" clId="Web-{AFE245F6-AF84-51BF-AB4C-88F7188B99E6}" dt="2023-10-31T20:12:57.852" v="66"/>
          <ac:spMkLst>
            <pc:docMk/>
            <pc:sldMk cId="3030449316" sldId="579"/>
            <ac:spMk id="44" creationId="{00000000-0000-0000-0000-000000000000}"/>
          </ac:spMkLst>
        </pc:spChg>
        <pc:spChg chg="mod">
          <ac:chgData name="Eileen Fleming Suse" userId="S::efs3844@ads.northwestern.edu::725c94ef-d051-42d7-9d33-8572765d592b" providerId="AD" clId="Web-{AFE245F6-AF84-51BF-AB4C-88F7188B99E6}" dt="2023-10-31T20:06:34.155" v="29" actId="1076"/>
          <ac:spMkLst>
            <pc:docMk/>
            <pc:sldMk cId="3030449316" sldId="579"/>
            <ac:spMk id="46" creationId="{00000000-0000-0000-0000-000000000000}"/>
          </ac:spMkLst>
        </pc:spChg>
        <pc:spChg chg="mod">
          <ac:chgData name="Eileen Fleming Suse" userId="S::efs3844@ads.northwestern.edu::725c94ef-d051-42d7-9d33-8572765d592b" providerId="AD" clId="Web-{AFE245F6-AF84-51BF-AB4C-88F7188B99E6}" dt="2023-10-31T20:05:56.186" v="19" actId="1076"/>
          <ac:spMkLst>
            <pc:docMk/>
            <pc:sldMk cId="3030449316" sldId="579"/>
            <ac:spMk id="47" creationId="{00000000-0000-0000-0000-000000000000}"/>
          </ac:spMkLst>
        </pc:spChg>
        <pc:spChg chg="mod">
          <ac:chgData name="Eileen Fleming Suse" userId="S::efs3844@ads.northwestern.edu::725c94ef-d051-42d7-9d33-8572765d592b" providerId="AD" clId="Web-{AFE245F6-AF84-51BF-AB4C-88F7188B99E6}" dt="2023-10-31T20:11:15.740" v="55"/>
          <ac:spMkLst>
            <pc:docMk/>
            <pc:sldMk cId="3030449316" sldId="579"/>
            <ac:spMk id="50" creationId="{00000000-0000-0000-0000-000000000000}"/>
          </ac:spMkLst>
        </pc:spChg>
        <pc:spChg chg="mod">
          <ac:chgData name="Eileen Fleming Suse" userId="S::efs3844@ads.northwestern.edu::725c94ef-d051-42d7-9d33-8572765d592b" providerId="AD" clId="Web-{AFE245F6-AF84-51BF-AB4C-88F7188B99E6}" dt="2023-10-31T20:05:18.716" v="8" actId="1076"/>
          <ac:spMkLst>
            <pc:docMk/>
            <pc:sldMk cId="3030449316" sldId="579"/>
            <ac:spMk id="56" creationId="{AB0F7BDF-C613-8BB0-BFCB-8F26B40EC06E}"/>
          </ac:spMkLst>
        </pc:spChg>
        <pc:spChg chg="mod">
          <ac:chgData name="Eileen Fleming Suse" userId="S::efs3844@ads.northwestern.edu::725c94ef-d051-42d7-9d33-8572765d592b" providerId="AD" clId="Web-{AFE245F6-AF84-51BF-AB4C-88F7188B99E6}" dt="2023-10-31T20:14:05.056" v="69"/>
          <ac:spMkLst>
            <pc:docMk/>
            <pc:sldMk cId="3030449316" sldId="579"/>
            <ac:spMk id="57" creationId="{00246169-A4F3-5ED8-8A94-4557BB21D7AB}"/>
          </ac:spMkLst>
        </pc:spChg>
        <pc:spChg chg="mod">
          <ac:chgData name="Eileen Fleming Suse" userId="S::efs3844@ads.northwestern.edu::725c94ef-d051-42d7-9d33-8572765d592b" providerId="AD" clId="Web-{AFE245F6-AF84-51BF-AB4C-88F7188B99E6}" dt="2023-10-31T20:14:05.072" v="70"/>
          <ac:spMkLst>
            <pc:docMk/>
            <pc:sldMk cId="3030449316" sldId="579"/>
            <ac:spMk id="58" creationId="{5DE913D1-6F60-94B9-10FF-534A5E538AB8}"/>
          </ac:spMkLst>
        </pc:spChg>
        <pc:spChg chg="add mod">
          <ac:chgData name="Eileen Fleming Suse" userId="S::efs3844@ads.northwestern.edu::725c94ef-d051-42d7-9d33-8572765d592b" providerId="AD" clId="Web-{AFE245F6-AF84-51BF-AB4C-88F7188B99E6}" dt="2023-10-31T20:11:52.100" v="64" actId="1076"/>
          <ac:spMkLst>
            <pc:docMk/>
            <pc:sldMk cId="3030449316" sldId="579"/>
            <ac:spMk id="60" creationId="{A85E379C-4C1C-B6B4-A543-3DF6B25DACF8}"/>
          </ac:spMkLst>
        </pc:spChg>
        <pc:spChg chg="add mod">
          <ac:chgData name="Eileen Fleming Suse" userId="S::efs3844@ads.northwestern.edu::725c94ef-d051-42d7-9d33-8572765d592b" providerId="AD" clId="Web-{AFE245F6-AF84-51BF-AB4C-88F7188B99E6}" dt="2023-10-31T20:11:34.803" v="62" actId="1076"/>
          <ac:spMkLst>
            <pc:docMk/>
            <pc:sldMk cId="3030449316" sldId="579"/>
            <ac:spMk id="61" creationId="{24C1FDA7-3400-B267-F027-73B2E0675C53}"/>
          </ac:spMkLst>
        </pc:spChg>
        <pc:spChg chg="add mod">
          <ac:chgData name="Eileen Fleming Suse" userId="S::efs3844@ads.northwestern.edu::725c94ef-d051-42d7-9d33-8572765d592b" providerId="AD" clId="Web-{AFE245F6-AF84-51BF-AB4C-88F7188B99E6}" dt="2023-10-31T20:13:55.197" v="68" actId="1076"/>
          <ac:spMkLst>
            <pc:docMk/>
            <pc:sldMk cId="3030449316" sldId="579"/>
            <ac:spMk id="63" creationId="{76FF9F61-EDF0-6510-36D2-8E579D614428}"/>
          </ac:spMkLst>
        </pc:spChg>
        <pc:grpChg chg="mod">
          <ac:chgData name="Eileen Fleming Suse" userId="S::efs3844@ads.northwestern.edu::725c94ef-d051-42d7-9d33-8572765d592b" providerId="AD" clId="Web-{AFE245F6-AF84-51BF-AB4C-88F7188B99E6}" dt="2023-10-31T20:06:05.811" v="22" actId="14100"/>
          <ac:grpSpMkLst>
            <pc:docMk/>
            <pc:sldMk cId="3030449316" sldId="579"/>
            <ac:grpSpMk id="3" creationId="{00000000-0000-0000-0000-000000000000}"/>
          </ac:grpSpMkLst>
        </pc:grpChg>
        <pc:grpChg chg="mod">
          <ac:chgData name="Eileen Fleming Suse" userId="S::efs3844@ads.northwestern.edu::725c94ef-d051-42d7-9d33-8572765d592b" providerId="AD" clId="Web-{AFE245F6-AF84-51BF-AB4C-88F7188B99E6}" dt="2023-10-31T20:06:45.515" v="32" actId="14100"/>
          <ac:grpSpMkLst>
            <pc:docMk/>
            <pc:sldMk cId="3030449316" sldId="579"/>
            <ac:grpSpMk id="7" creationId="{00000000-0000-0000-0000-000000000000}"/>
          </ac:grpSpMkLst>
        </pc:grpChg>
        <pc:grpChg chg="mod">
          <ac:chgData name="Eileen Fleming Suse" userId="S::efs3844@ads.northwestern.edu::725c94ef-d051-42d7-9d33-8572765d592b" providerId="AD" clId="Web-{AFE245F6-AF84-51BF-AB4C-88F7188B99E6}" dt="2023-10-31T20:06:16.264" v="24" actId="14100"/>
          <ac:grpSpMkLst>
            <pc:docMk/>
            <pc:sldMk cId="3030449316" sldId="579"/>
            <ac:grpSpMk id="29" creationId="{00000000-0000-0000-0000-000000000000}"/>
          </ac:grpSpMkLst>
        </pc:grpChg>
        <pc:grpChg chg="add mod">
          <ac:chgData name="Eileen Fleming Suse" userId="S::efs3844@ads.northwestern.edu::725c94ef-d051-42d7-9d33-8572765d592b" providerId="AD" clId="Web-{AFE245F6-AF84-51BF-AB4C-88F7188B99E6}" dt="2023-10-31T20:07:27.407" v="39" actId="1076"/>
          <ac:grpSpMkLst>
            <pc:docMk/>
            <pc:sldMk cId="3030449316" sldId="579"/>
            <ac:grpSpMk id="52" creationId="{8A92A364-B996-B49C-BDA0-BAA1F5A15866}"/>
          </ac:grpSpMkLst>
        </pc:grpChg>
        <pc:cxnChg chg="mod">
          <ac:chgData name="Eileen Fleming Suse" userId="S::efs3844@ads.northwestern.edu::725c94ef-d051-42d7-9d33-8572765d592b" providerId="AD" clId="Web-{AFE245F6-AF84-51BF-AB4C-88F7188B99E6}" dt="2023-10-31T20:07:30.219" v="40" actId="14100"/>
          <ac:cxnSpMkLst>
            <pc:docMk/>
            <pc:sldMk cId="3030449316" sldId="579"/>
            <ac:cxnSpMk id="54" creationId="{52D6BD58-A1C0-4097-567A-36996C8B9E0B}"/>
          </ac:cxnSpMkLst>
        </pc:cxnChg>
        <pc:cxnChg chg="add mod">
          <ac:chgData name="Eileen Fleming Suse" userId="S::efs3844@ads.northwestern.edu::725c94ef-d051-42d7-9d33-8572765d592b" providerId="AD" clId="Web-{AFE245F6-AF84-51BF-AB4C-88F7188B99E6}" dt="2023-10-31T20:07:37.688" v="43" actId="14100"/>
          <ac:cxnSpMkLst>
            <pc:docMk/>
            <pc:sldMk cId="3030449316" sldId="579"/>
            <ac:cxnSpMk id="59" creationId="{6AB28071-935B-166B-0CEE-EC97EB10FF51}"/>
          </ac:cxnSpMkLst>
        </pc:cxnChg>
      </pc:sldChg>
      <pc:sldChg chg="modSp">
        <pc:chgData name="Eileen Fleming Suse" userId="S::efs3844@ads.northwestern.edu::725c94ef-d051-42d7-9d33-8572765d592b" providerId="AD" clId="Web-{AFE245F6-AF84-51BF-AB4C-88F7188B99E6}" dt="2023-10-31T20:15:08.574" v="74" actId="1076"/>
        <pc:sldMkLst>
          <pc:docMk/>
          <pc:sldMk cId="595546358" sldId="590"/>
        </pc:sldMkLst>
        <pc:spChg chg="mod">
          <ac:chgData name="Eileen Fleming Suse" userId="S::efs3844@ads.northwestern.edu::725c94ef-d051-42d7-9d33-8572765d592b" providerId="AD" clId="Web-{AFE245F6-AF84-51BF-AB4C-88F7188B99E6}" dt="2023-10-31T20:15:08.574" v="74" actId="1076"/>
          <ac:spMkLst>
            <pc:docMk/>
            <pc:sldMk cId="595546358" sldId="590"/>
            <ac:spMk id="30" creationId="{53721EF8-C35D-834E-9339-D65FFE7AFF9A}"/>
          </ac:spMkLst>
        </pc:spChg>
      </pc:sldChg>
    </pc:docChg>
  </pc:docChgLst>
  <pc:docChgLst>
    <pc:chgData name="Eileen Fleming Suse" userId="S::efs3844@ads.northwestern.edu::725c94ef-d051-42d7-9d33-8572765d592b" providerId="AD" clId="Web-{11980D98-74D1-71E7-E86A-19E64303BD27}"/>
    <pc:docChg chg="modSld sldOrd">
      <pc:chgData name="Eileen Fleming Suse" userId="S::efs3844@ads.northwestern.edu::725c94ef-d051-42d7-9d33-8572765d592b" providerId="AD" clId="Web-{11980D98-74D1-71E7-E86A-19E64303BD27}" dt="2023-10-30T16:12:53.918" v="90" actId="1076"/>
      <pc:docMkLst>
        <pc:docMk/>
      </pc:docMkLst>
      <pc:sldChg chg="delSp modSp">
        <pc:chgData name="Eileen Fleming Suse" userId="S::efs3844@ads.northwestern.edu::725c94ef-d051-42d7-9d33-8572765d592b" providerId="AD" clId="Web-{11980D98-74D1-71E7-E86A-19E64303BD27}" dt="2023-10-30T15:54:09.163" v="65" actId="1076"/>
        <pc:sldMkLst>
          <pc:docMk/>
          <pc:sldMk cId="3472964082" sldId="550"/>
        </pc:sldMkLst>
        <pc:spChg chg="mod">
          <ac:chgData name="Eileen Fleming Suse" userId="S::efs3844@ads.northwestern.edu::725c94ef-d051-42d7-9d33-8572765d592b" providerId="AD" clId="Web-{11980D98-74D1-71E7-E86A-19E64303BD27}" dt="2023-10-30T15:52:44.895" v="41" actId="20577"/>
          <ac:spMkLst>
            <pc:docMk/>
            <pc:sldMk cId="3472964082" sldId="550"/>
            <ac:spMk id="20" creationId="{00000000-0000-0000-0000-000000000000}"/>
          </ac:spMkLst>
        </pc:spChg>
        <pc:spChg chg="mod">
          <ac:chgData name="Eileen Fleming Suse" userId="S::efs3844@ads.northwestern.edu::725c94ef-d051-42d7-9d33-8572765d592b" providerId="AD" clId="Web-{11980D98-74D1-71E7-E86A-19E64303BD27}" dt="2023-10-30T15:54:09.163" v="65" actId="1076"/>
          <ac:spMkLst>
            <pc:docMk/>
            <pc:sldMk cId="3472964082" sldId="550"/>
            <ac:spMk id="23" creationId="{00000000-0000-0000-0000-000000000000}"/>
          </ac:spMkLst>
        </pc:spChg>
        <pc:spChg chg="mod">
          <ac:chgData name="Eileen Fleming Suse" userId="S::efs3844@ads.northwestern.edu::725c94ef-d051-42d7-9d33-8572765d592b" providerId="AD" clId="Web-{11980D98-74D1-71E7-E86A-19E64303BD27}" dt="2023-10-30T15:53:06.724" v="46"/>
          <ac:spMkLst>
            <pc:docMk/>
            <pc:sldMk cId="3472964082" sldId="550"/>
            <ac:spMk id="31" creationId="{00000000-0000-0000-0000-000000000000}"/>
          </ac:spMkLst>
        </pc:spChg>
        <pc:spChg chg="del">
          <ac:chgData name="Eileen Fleming Suse" userId="S::efs3844@ads.northwestern.edu::725c94ef-d051-42d7-9d33-8572765d592b" providerId="AD" clId="Web-{11980D98-74D1-71E7-E86A-19E64303BD27}" dt="2023-10-30T15:50:43.361" v="19"/>
          <ac:spMkLst>
            <pc:docMk/>
            <pc:sldMk cId="3472964082" sldId="550"/>
            <ac:spMk id="32" creationId="{00000000-0000-0000-0000-000000000000}"/>
          </ac:spMkLst>
        </pc:spChg>
        <pc:spChg chg="mod">
          <ac:chgData name="Eileen Fleming Suse" userId="S::efs3844@ads.northwestern.edu::725c94ef-d051-42d7-9d33-8572765d592b" providerId="AD" clId="Web-{11980D98-74D1-71E7-E86A-19E64303BD27}" dt="2023-10-30T15:53:06.084" v="42" actId="1076"/>
          <ac:spMkLst>
            <pc:docMk/>
            <pc:sldMk cId="3472964082" sldId="550"/>
            <ac:spMk id="51" creationId="{00000000-0000-0000-0000-000000000000}"/>
          </ac:spMkLst>
        </pc:spChg>
        <pc:spChg chg="mod">
          <ac:chgData name="Eileen Fleming Suse" userId="S::efs3844@ads.northwestern.edu::725c94ef-d051-42d7-9d33-8572765d592b" providerId="AD" clId="Web-{11980D98-74D1-71E7-E86A-19E64303BD27}" dt="2023-10-30T15:54:07.460" v="64" actId="1076"/>
          <ac:spMkLst>
            <pc:docMk/>
            <pc:sldMk cId="3472964082" sldId="550"/>
            <ac:spMk id="53" creationId="{00000000-0000-0000-0000-000000000000}"/>
          </ac:spMkLst>
        </pc:spChg>
        <pc:grpChg chg="mod">
          <ac:chgData name="Eileen Fleming Suse" userId="S::efs3844@ads.northwestern.edu::725c94ef-d051-42d7-9d33-8572765d592b" providerId="AD" clId="Web-{11980D98-74D1-71E7-E86A-19E64303BD27}" dt="2023-10-30T15:53:09.115" v="47" actId="1076"/>
          <ac:grpSpMkLst>
            <pc:docMk/>
            <pc:sldMk cId="3472964082" sldId="550"/>
            <ac:grpSpMk id="55" creationId="{00000000-0000-0000-0000-000000000000}"/>
          </ac:grpSpMkLst>
        </pc:grpChg>
      </pc:sldChg>
      <pc:sldChg chg="modSp ord">
        <pc:chgData name="Eileen Fleming Suse" userId="S::efs3844@ads.northwestern.edu::725c94ef-d051-42d7-9d33-8572765d592b" providerId="AD" clId="Web-{11980D98-74D1-71E7-E86A-19E64303BD27}" dt="2023-10-30T15:55:23.587" v="88" actId="14100"/>
        <pc:sldMkLst>
          <pc:docMk/>
          <pc:sldMk cId="2562283095" sldId="551"/>
        </pc:sldMkLst>
        <pc:spChg chg="mod">
          <ac:chgData name="Eileen Fleming Suse" userId="S::efs3844@ads.northwestern.edu::725c94ef-d051-42d7-9d33-8572765d592b" providerId="AD" clId="Web-{11980D98-74D1-71E7-E86A-19E64303BD27}" dt="2023-10-30T15:54:18.289" v="66" actId="20577"/>
          <ac:spMkLst>
            <pc:docMk/>
            <pc:sldMk cId="2562283095" sldId="551"/>
            <ac:spMk id="20" creationId="{00000000-0000-0000-0000-000000000000}"/>
          </ac:spMkLst>
        </pc:spChg>
        <pc:spChg chg="mod">
          <ac:chgData name="Eileen Fleming Suse" userId="S::efs3844@ads.northwestern.edu::725c94ef-d051-42d7-9d33-8572765d592b" providerId="AD" clId="Web-{11980D98-74D1-71E7-E86A-19E64303BD27}" dt="2023-10-30T15:54:40.430" v="72" actId="20577"/>
          <ac:spMkLst>
            <pc:docMk/>
            <pc:sldMk cId="2562283095" sldId="551"/>
            <ac:spMk id="23" creationId="{00000000-0000-0000-0000-000000000000}"/>
          </ac:spMkLst>
        </pc:spChg>
        <pc:spChg chg="mod">
          <ac:chgData name="Eileen Fleming Suse" userId="S::efs3844@ads.northwestern.edu::725c94ef-d051-42d7-9d33-8572765d592b" providerId="AD" clId="Web-{11980D98-74D1-71E7-E86A-19E64303BD27}" dt="2023-10-30T15:55:23.587" v="88" actId="14100"/>
          <ac:spMkLst>
            <pc:docMk/>
            <pc:sldMk cId="2562283095" sldId="551"/>
            <ac:spMk id="31" creationId="{00000000-0000-0000-0000-000000000000}"/>
          </ac:spMkLst>
        </pc:spChg>
        <pc:spChg chg="mod">
          <ac:chgData name="Eileen Fleming Suse" userId="S::efs3844@ads.northwestern.edu::725c94ef-d051-42d7-9d33-8572765d592b" providerId="AD" clId="Web-{11980D98-74D1-71E7-E86A-19E64303BD27}" dt="2023-10-30T15:54:28.242" v="69" actId="1076"/>
          <ac:spMkLst>
            <pc:docMk/>
            <pc:sldMk cId="2562283095" sldId="551"/>
            <ac:spMk id="51" creationId="{00000000-0000-0000-0000-000000000000}"/>
          </ac:spMkLst>
        </pc:spChg>
        <pc:spChg chg="mod">
          <ac:chgData name="Eileen Fleming Suse" userId="S::efs3844@ads.northwestern.edu::725c94ef-d051-42d7-9d33-8572765d592b" providerId="AD" clId="Web-{11980D98-74D1-71E7-E86A-19E64303BD27}" dt="2023-10-30T15:55:07.384" v="82" actId="20577"/>
          <ac:spMkLst>
            <pc:docMk/>
            <pc:sldMk cId="2562283095" sldId="551"/>
            <ac:spMk id="53" creationId="{00000000-0000-0000-0000-000000000000}"/>
          </ac:spMkLst>
        </pc:spChg>
      </pc:sldChg>
      <pc:sldChg chg="modSp">
        <pc:chgData name="Eileen Fleming Suse" userId="S::efs3844@ads.northwestern.edu::725c94ef-d051-42d7-9d33-8572765d592b" providerId="AD" clId="Web-{11980D98-74D1-71E7-E86A-19E64303BD27}" dt="2023-10-30T16:12:53.918" v="90" actId="1076"/>
        <pc:sldMkLst>
          <pc:docMk/>
          <pc:sldMk cId="1141815353" sldId="562"/>
        </pc:sldMkLst>
        <pc:spChg chg="mod">
          <ac:chgData name="Eileen Fleming Suse" userId="S::efs3844@ads.northwestern.edu::725c94ef-d051-42d7-9d33-8572765d592b" providerId="AD" clId="Web-{11980D98-74D1-71E7-E86A-19E64303BD27}" dt="2023-10-30T16:12:53.918" v="90" actId="1076"/>
          <ac:spMkLst>
            <pc:docMk/>
            <pc:sldMk cId="1141815353" sldId="562"/>
            <ac:spMk id="13" creationId="{2FC08365-C48A-7DB8-BBA6-D9EB552FFD55}"/>
          </ac:spMkLst>
        </pc:spChg>
        <pc:graphicFrameChg chg="mod">
          <ac:chgData name="Eileen Fleming Suse" userId="S::efs3844@ads.northwestern.edu::725c94ef-d051-42d7-9d33-8572765d592b" providerId="AD" clId="Web-{11980D98-74D1-71E7-E86A-19E64303BD27}" dt="2023-10-30T16:12:27.854" v="89" actId="1076"/>
          <ac:graphicFrameMkLst>
            <pc:docMk/>
            <pc:sldMk cId="1141815353" sldId="562"/>
            <ac:graphicFrameMk id="137" creationId="{61D68665-D38F-2DB1-AAFC-535C715B7F9F}"/>
          </ac:graphicFrameMkLst>
        </pc:graphicFrameChg>
      </pc:sldChg>
    </pc:docChg>
  </pc:docChgLst>
  <pc:docChgLst>
    <pc:chgData name="Alana Rivera" userId="S::arg3669@ads.northwestern.edu::fc8b707a-b7e9-4f2a-8d71-2d76819b7881" providerId="AD" clId="Web-{36AFF060-5319-E6D5-0957-513AFAA6A2E5}"/>
    <pc:docChg chg="mod addSld delSld modSld sldOrd">
      <pc:chgData name="Alana Rivera" userId="S::arg3669@ads.northwestern.edu::fc8b707a-b7e9-4f2a-8d71-2d76819b7881" providerId="AD" clId="Web-{36AFF060-5319-E6D5-0957-513AFAA6A2E5}" dt="2023-10-24T18:55:19.461" v="40"/>
      <pc:docMkLst>
        <pc:docMk/>
      </pc:docMkLst>
      <pc:sldChg chg="ord addCm">
        <pc:chgData name="Alana Rivera" userId="S::arg3669@ads.northwestern.edu::fc8b707a-b7e9-4f2a-8d71-2d76819b7881" providerId="AD" clId="Web-{36AFF060-5319-E6D5-0957-513AFAA6A2E5}" dt="2023-10-24T18:05:32.641" v="17"/>
        <pc:sldMkLst>
          <pc:docMk/>
          <pc:sldMk cId="2564870475" sldId="566"/>
        </pc:sldMkLst>
        <pc:extLst>
          <p:ext xmlns:p="http://schemas.openxmlformats.org/presentationml/2006/main" uri="{D6D511B9-2390-475A-947B-AFAB55BFBCF1}">
            <pc226:cmChg xmlns:pc226="http://schemas.microsoft.com/office/powerpoint/2022/06/main/command" chg="add">
              <pc226:chgData name="Alana Rivera" userId="S::arg3669@ads.northwestern.edu::fc8b707a-b7e9-4f2a-8d71-2d76819b7881" providerId="AD" clId="Web-{36AFF060-5319-E6D5-0957-513AFAA6A2E5}" dt="2023-10-24T18:05:32.641" v="17"/>
              <pc2:cmMkLst xmlns:pc2="http://schemas.microsoft.com/office/powerpoint/2019/9/main/command">
                <pc:docMk/>
                <pc:sldMk cId="2564870475" sldId="566"/>
                <pc2:cmMk id="{2E54611F-EF9E-406A-A7DB-E8AA469FE59F}"/>
              </pc2:cmMkLst>
            </pc226:cmChg>
          </p:ext>
        </pc:extLst>
      </pc:sldChg>
      <pc:sldChg chg="del">
        <pc:chgData name="Alana Rivera" userId="S::arg3669@ads.northwestern.edu::fc8b707a-b7e9-4f2a-8d71-2d76819b7881" providerId="AD" clId="Web-{36AFF060-5319-E6D5-0957-513AFAA6A2E5}" dt="2023-10-24T18:03:49.482" v="3"/>
        <pc:sldMkLst>
          <pc:docMk/>
          <pc:sldMk cId="310672773" sldId="567"/>
        </pc:sldMkLst>
      </pc:sldChg>
      <pc:sldChg chg="addSp modSp add">
        <pc:chgData name="Alana Rivera" userId="S::arg3669@ads.northwestern.edu::fc8b707a-b7e9-4f2a-8d71-2d76819b7881" providerId="AD" clId="Web-{36AFF060-5319-E6D5-0957-513AFAA6A2E5}" dt="2023-10-24T18:55:19.461" v="40"/>
        <pc:sldMkLst>
          <pc:docMk/>
          <pc:sldMk cId="3419957415" sldId="577"/>
        </pc:sldMkLst>
        <pc:spChg chg="mod">
          <ac:chgData name="Alana Rivera" userId="S::arg3669@ads.northwestern.edu::fc8b707a-b7e9-4f2a-8d71-2d76819b7881" providerId="AD" clId="Web-{36AFF060-5319-E6D5-0957-513AFAA6A2E5}" dt="2023-10-24T18:54:56.960" v="39"/>
          <ac:spMkLst>
            <pc:docMk/>
            <pc:sldMk cId="3419957415" sldId="577"/>
            <ac:spMk id="55" creationId="{00000000-0000-0000-0000-000000000000}"/>
          </ac:spMkLst>
        </pc:spChg>
        <pc:spChg chg="mod">
          <ac:chgData name="Alana Rivera" userId="S::arg3669@ads.northwestern.edu::fc8b707a-b7e9-4f2a-8d71-2d76819b7881" providerId="AD" clId="Web-{36AFF060-5319-E6D5-0957-513AFAA6A2E5}" dt="2023-10-24T18:55:19.461" v="40"/>
          <ac:spMkLst>
            <pc:docMk/>
            <pc:sldMk cId="3419957415" sldId="577"/>
            <ac:spMk id="56" creationId="{00000000-0000-0000-0000-000000000000}"/>
          </ac:spMkLst>
        </pc:spChg>
        <pc:cxnChg chg="add mod">
          <ac:chgData name="Alana Rivera" userId="S::arg3669@ads.northwestern.edu::fc8b707a-b7e9-4f2a-8d71-2d76819b7881" providerId="AD" clId="Web-{36AFF060-5319-E6D5-0957-513AFAA6A2E5}" dt="2023-10-24T18:10:45.023" v="19" actId="14100"/>
          <ac:cxnSpMkLst>
            <pc:docMk/>
            <pc:sldMk cId="3419957415" sldId="577"/>
            <ac:cxnSpMk id="58" creationId="{7FE085C4-0A4D-D525-BEFC-A58C8B262908}"/>
          </ac:cxnSpMkLst>
        </pc:cxnChg>
        <pc:cxnChg chg="add mod">
          <ac:chgData name="Alana Rivera" userId="S::arg3669@ads.northwestern.edu::fc8b707a-b7e9-4f2a-8d71-2d76819b7881" providerId="AD" clId="Web-{36AFF060-5319-E6D5-0957-513AFAA6A2E5}" dt="2023-10-24T18:04:56.671" v="15" actId="1076"/>
          <ac:cxnSpMkLst>
            <pc:docMk/>
            <pc:sldMk cId="3419957415" sldId="577"/>
            <ac:cxnSpMk id="59" creationId="{4AB05664-6AAD-B37F-B42B-F3BE57FF4B64}"/>
          </ac:cxnSpMkLst>
        </pc:cxnChg>
        <pc:cxnChg chg="add mod">
          <ac:chgData name="Alana Rivera" userId="S::arg3669@ads.northwestern.edu::fc8b707a-b7e9-4f2a-8d71-2d76819b7881" providerId="AD" clId="Web-{36AFF060-5319-E6D5-0957-513AFAA6A2E5}" dt="2023-10-24T18:14:32.903" v="33" actId="14100"/>
          <ac:cxnSpMkLst>
            <pc:docMk/>
            <pc:sldMk cId="3419957415" sldId="577"/>
            <ac:cxnSpMk id="60" creationId="{0780975F-40AC-4431-7277-8634D267BA1E}"/>
          </ac:cxnSpMkLst>
        </pc:cxnChg>
        <pc:cxnChg chg="add mod">
          <ac:chgData name="Alana Rivera" userId="S::arg3669@ads.northwestern.edu::fc8b707a-b7e9-4f2a-8d71-2d76819b7881" providerId="AD" clId="Web-{36AFF060-5319-E6D5-0957-513AFAA6A2E5}" dt="2023-10-24T18:11:24.914" v="25" actId="14100"/>
          <ac:cxnSpMkLst>
            <pc:docMk/>
            <pc:sldMk cId="3419957415" sldId="577"/>
            <ac:cxnSpMk id="61" creationId="{E6E294E1-60D1-93D5-F703-4C8CA9125137}"/>
          </ac:cxnSpMkLst>
        </pc:cxnChg>
        <pc:cxnChg chg="add mod">
          <ac:chgData name="Alana Rivera" userId="S::arg3669@ads.northwestern.edu::fc8b707a-b7e9-4f2a-8d71-2d76819b7881" providerId="AD" clId="Web-{36AFF060-5319-E6D5-0957-513AFAA6A2E5}" dt="2023-10-24T18:12:06.525" v="31" actId="14100"/>
          <ac:cxnSpMkLst>
            <pc:docMk/>
            <pc:sldMk cId="3419957415" sldId="577"/>
            <ac:cxnSpMk id="62" creationId="{533F86FB-67E8-46C0-0C13-6B8ABD7D4C87}"/>
          </ac:cxnSpMkLst>
        </pc:cxnChg>
      </pc:sldChg>
    </pc:docChg>
  </pc:docChgLst>
  <pc:docChgLst>
    <pc:chgData name="Alana Rivera" userId="S::arg3669@ads.northwestern.edu::fc8b707a-b7e9-4f2a-8d71-2d76819b7881" providerId="AD" clId="Web-{35DF06BD-25AA-054F-4D8F-840FED1FA1E6}"/>
    <pc:docChg chg="modSld">
      <pc:chgData name="Alana Rivera" userId="S::arg3669@ads.northwestern.edu::fc8b707a-b7e9-4f2a-8d71-2d76819b7881" providerId="AD" clId="Web-{35DF06BD-25AA-054F-4D8F-840FED1FA1E6}" dt="2023-10-31T02:20:39.446" v="1" actId="20577"/>
      <pc:docMkLst>
        <pc:docMk/>
      </pc:docMkLst>
      <pc:sldChg chg="modSp">
        <pc:chgData name="Alana Rivera" userId="S::arg3669@ads.northwestern.edu::fc8b707a-b7e9-4f2a-8d71-2d76819b7881" providerId="AD" clId="Web-{35DF06BD-25AA-054F-4D8F-840FED1FA1E6}" dt="2023-10-31T02:20:39.446" v="1" actId="20577"/>
        <pc:sldMkLst>
          <pc:docMk/>
          <pc:sldMk cId="1522616096" sldId="555"/>
        </pc:sldMkLst>
        <pc:spChg chg="mod">
          <ac:chgData name="Alana Rivera" userId="S::arg3669@ads.northwestern.edu::fc8b707a-b7e9-4f2a-8d71-2d76819b7881" providerId="AD" clId="Web-{35DF06BD-25AA-054F-4D8F-840FED1FA1E6}" dt="2023-10-31T02:20:39.446" v="1" actId="20577"/>
          <ac:spMkLst>
            <pc:docMk/>
            <pc:sldMk cId="1522616096" sldId="555"/>
            <ac:spMk id="4" creationId="{3D49CA6C-78ED-3124-7EE3-BBDDC9988910}"/>
          </ac:spMkLst>
        </pc:spChg>
      </pc:sldChg>
    </pc:docChg>
  </pc:docChgLst>
  <pc:docChgLst>
    <pc:chgData name="Alana Rivera" userId="S::arg3669@ads.northwestern.edu::fc8b707a-b7e9-4f2a-8d71-2d76819b7881" providerId="AD" clId="Web-{9570DE12-7482-A365-A3C2-E94E5026C97C}"/>
    <pc:docChg chg="modSld">
      <pc:chgData name="Alana Rivera" userId="S::arg3669@ads.northwestern.edu::fc8b707a-b7e9-4f2a-8d71-2d76819b7881" providerId="AD" clId="Web-{9570DE12-7482-A365-A3C2-E94E5026C97C}" dt="2023-11-17T16:55:40.336" v="20" actId="20577"/>
      <pc:docMkLst>
        <pc:docMk/>
      </pc:docMkLst>
      <pc:sldChg chg="modSp">
        <pc:chgData name="Alana Rivera" userId="S::arg3669@ads.northwestern.edu::fc8b707a-b7e9-4f2a-8d71-2d76819b7881" providerId="AD" clId="Web-{9570DE12-7482-A365-A3C2-E94E5026C97C}" dt="2023-11-17T16:52:05.785" v="4"/>
        <pc:sldMkLst>
          <pc:docMk/>
          <pc:sldMk cId="714682852" sldId="552"/>
        </pc:sldMkLst>
        <pc:spChg chg="mod">
          <ac:chgData name="Alana Rivera" userId="S::arg3669@ads.northwestern.edu::fc8b707a-b7e9-4f2a-8d71-2d76819b7881" providerId="AD" clId="Web-{9570DE12-7482-A365-A3C2-E94E5026C97C}" dt="2023-11-17T16:52:05.785" v="4"/>
          <ac:spMkLst>
            <pc:docMk/>
            <pc:sldMk cId="714682852" sldId="552"/>
            <ac:spMk id="2" creationId="{966FAC69-62AA-D40E-C4BD-DAD5BF599C69}"/>
          </ac:spMkLst>
        </pc:spChg>
      </pc:sldChg>
      <pc:sldChg chg="modSp">
        <pc:chgData name="Alana Rivera" userId="S::arg3669@ads.northwestern.edu::fc8b707a-b7e9-4f2a-8d71-2d76819b7881" providerId="AD" clId="Web-{9570DE12-7482-A365-A3C2-E94E5026C97C}" dt="2023-11-17T16:52:26.286" v="6"/>
        <pc:sldMkLst>
          <pc:docMk/>
          <pc:sldMk cId="3536510335" sldId="553"/>
        </pc:sldMkLst>
        <pc:spChg chg="mod">
          <ac:chgData name="Alana Rivera" userId="S::arg3669@ads.northwestern.edu::fc8b707a-b7e9-4f2a-8d71-2d76819b7881" providerId="AD" clId="Web-{9570DE12-7482-A365-A3C2-E94E5026C97C}" dt="2023-11-17T16:52:26.286" v="6"/>
          <ac:spMkLst>
            <pc:docMk/>
            <pc:sldMk cId="3536510335" sldId="553"/>
            <ac:spMk id="10" creationId="{7FA2B65B-6DF5-1F48-C692-646D2CEF0E2F}"/>
          </ac:spMkLst>
        </pc:spChg>
      </pc:sldChg>
      <pc:sldChg chg="modSp">
        <pc:chgData name="Alana Rivera" userId="S::arg3669@ads.northwestern.edu::fc8b707a-b7e9-4f2a-8d71-2d76819b7881" providerId="AD" clId="Web-{9570DE12-7482-A365-A3C2-E94E5026C97C}" dt="2023-11-17T16:52:15.988" v="5"/>
        <pc:sldMkLst>
          <pc:docMk/>
          <pc:sldMk cId="1231844700" sldId="554"/>
        </pc:sldMkLst>
        <pc:spChg chg="mod">
          <ac:chgData name="Alana Rivera" userId="S::arg3669@ads.northwestern.edu::fc8b707a-b7e9-4f2a-8d71-2d76819b7881" providerId="AD" clId="Web-{9570DE12-7482-A365-A3C2-E94E5026C97C}" dt="2023-11-17T16:52:15.988" v="5"/>
          <ac:spMkLst>
            <pc:docMk/>
            <pc:sldMk cId="1231844700" sldId="554"/>
            <ac:spMk id="2" creationId="{61FD53C4-A666-522F-F9AB-081D90D541D1}"/>
          </ac:spMkLst>
        </pc:spChg>
      </pc:sldChg>
      <pc:sldChg chg="modSp">
        <pc:chgData name="Alana Rivera" userId="S::arg3669@ads.northwestern.edu::fc8b707a-b7e9-4f2a-8d71-2d76819b7881" providerId="AD" clId="Web-{9570DE12-7482-A365-A3C2-E94E5026C97C}" dt="2023-11-17T16:48:18.031" v="3" actId="20577"/>
        <pc:sldMkLst>
          <pc:docMk/>
          <pc:sldMk cId="3336998141" sldId="681"/>
        </pc:sldMkLst>
        <pc:spChg chg="mod">
          <ac:chgData name="Alana Rivera" userId="S::arg3669@ads.northwestern.edu::fc8b707a-b7e9-4f2a-8d71-2d76819b7881" providerId="AD" clId="Web-{9570DE12-7482-A365-A3C2-E94E5026C97C}" dt="2023-11-17T16:48:18.031" v="3" actId="20577"/>
          <ac:spMkLst>
            <pc:docMk/>
            <pc:sldMk cId="3336998141" sldId="681"/>
            <ac:spMk id="3" creationId="{00000000-0000-0000-0000-000000000000}"/>
          </ac:spMkLst>
        </pc:spChg>
      </pc:sldChg>
      <pc:sldChg chg="addSp modSp">
        <pc:chgData name="Alana Rivera" userId="S::arg3669@ads.northwestern.edu::fc8b707a-b7e9-4f2a-8d71-2d76819b7881" providerId="AD" clId="Web-{9570DE12-7482-A365-A3C2-E94E5026C97C}" dt="2023-11-17T16:55:40.336" v="20" actId="20577"/>
        <pc:sldMkLst>
          <pc:docMk/>
          <pc:sldMk cId="2547146411" sldId="699"/>
        </pc:sldMkLst>
        <pc:spChg chg="add mod">
          <ac:chgData name="Alana Rivera" userId="S::arg3669@ads.northwestern.edu::fc8b707a-b7e9-4f2a-8d71-2d76819b7881" providerId="AD" clId="Web-{9570DE12-7482-A365-A3C2-E94E5026C97C}" dt="2023-11-17T16:55:40.336" v="20" actId="20577"/>
          <ac:spMkLst>
            <pc:docMk/>
            <pc:sldMk cId="2547146411" sldId="699"/>
            <ac:spMk id="38" creationId="{38A58365-605F-9282-AEAB-A7E2E448F3E2}"/>
          </ac:spMkLst>
        </pc:spChg>
      </pc:sldChg>
    </pc:docChg>
  </pc:docChgLst>
  <pc:docChgLst>
    <pc:chgData name="Alana Rivera" userId="S::arg3669@ads.northwestern.edu::fc8b707a-b7e9-4f2a-8d71-2d76819b7881" providerId="AD" clId="Web-{FC194283-EEC6-0521-D05D-577D27A78776}"/>
    <pc:docChg chg="modSld">
      <pc:chgData name="Alana Rivera" userId="S::arg3669@ads.northwestern.edu::fc8b707a-b7e9-4f2a-8d71-2d76819b7881" providerId="AD" clId="Web-{FC194283-EEC6-0521-D05D-577D27A78776}" dt="2023-10-30T20:28:42.508" v="163" actId="20577"/>
      <pc:docMkLst>
        <pc:docMk/>
      </pc:docMkLst>
      <pc:sldChg chg="delCm">
        <pc:chgData name="Alana Rivera" userId="S::arg3669@ads.northwestern.edu::fc8b707a-b7e9-4f2a-8d71-2d76819b7881" providerId="AD" clId="Web-{FC194283-EEC6-0521-D05D-577D27A78776}" dt="2023-10-30T19:50:20.612" v="0"/>
        <pc:sldMkLst>
          <pc:docMk/>
          <pc:sldMk cId="3127921386" sldId="280"/>
        </pc:sldMkLst>
        <pc:extLst>
          <p:ext xmlns:p="http://schemas.openxmlformats.org/presentationml/2006/main" uri="{D6D511B9-2390-475A-947B-AFAB55BFBCF1}">
            <pc226:cmChg xmlns:pc226="http://schemas.microsoft.com/office/powerpoint/2022/06/main/command" chg="del">
              <pc226:chgData name="Alana Rivera" userId="S::arg3669@ads.northwestern.edu::fc8b707a-b7e9-4f2a-8d71-2d76819b7881" providerId="AD" clId="Web-{FC194283-EEC6-0521-D05D-577D27A78776}" dt="2023-10-30T19:50:20.612" v="0"/>
              <pc2:cmMkLst xmlns:pc2="http://schemas.microsoft.com/office/powerpoint/2019/9/main/command">
                <pc:docMk/>
                <pc:sldMk cId="3127921386" sldId="280"/>
                <pc2:cmMk id="{78C9B980-2656-432B-BA11-07ACE79B211F}"/>
              </pc2:cmMkLst>
            </pc226:cmChg>
          </p:ext>
        </pc:extLst>
      </pc:sldChg>
      <pc:sldChg chg="modSp delCm">
        <pc:chgData name="Alana Rivera" userId="S::arg3669@ads.northwestern.edu::fc8b707a-b7e9-4f2a-8d71-2d76819b7881" providerId="AD" clId="Web-{FC194283-EEC6-0521-D05D-577D27A78776}" dt="2023-10-30T20:28:42.508" v="163" actId="20577"/>
        <pc:sldMkLst>
          <pc:docMk/>
          <pc:sldMk cId="4044691067" sldId="283"/>
        </pc:sldMkLst>
        <pc:spChg chg="mod">
          <ac:chgData name="Alana Rivera" userId="S::arg3669@ads.northwestern.edu::fc8b707a-b7e9-4f2a-8d71-2d76819b7881" providerId="AD" clId="Web-{FC194283-EEC6-0521-D05D-577D27A78776}" dt="2023-10-30T20:16:51.612" v="107" actId="14100"/>
          <ac:spMkLst>
            <pc:docMk/>
            <pc:sldMk cId="4044691067" sldId="283"/>
            <ac:spMk id="2" creationId="{00000000-0000-0000-0000-000000000000}"/>
          </ac:spMkLst>
        </pc:spChg>
        <pc:spChg chg="mod">
          <ac:chgData name="Alana Rivera" userId="S::arg3669@ads.northwestern.edu::fc8b707a-b7e9-4f2a-8d71-2d76819b7881" providerId="AD" clId="Web-{FC194283-EEC6-0521-D05D-577D27A78776}" dt="2023-10-30T20:28:42.508" v="163" actId="20577"/>
          <ac:spMkLst>
            <pc:docMk/>
            <pc:sldMk cId="4044691067" sldId="283"/>
            <ac:spMk id="3" creationId="{00000000-0000-0000-0000-000000000000}"/>
          </ac:spMkLst>
        </pc:spChg>
        <pc:spChg chg="mod">
          <ac:chgData name="Alana Rivera" userId="S::arg3669@ads.northwestern.edu::fc8b707a-b7e9-4f2a-8d71-2d76819b7881" providerId="AD" clId="Web-{FC194283-EEC6-0521-D05D-577D27A78776}" dt="2023-10-30T20:16:22.283" v="101" actId="1076"/>
          <ac:spMkLst>
            <pc:docMk/>
            <pc:sldMk cId="4044691067" sldId="283"/>
            <ac:spMk id="16387" creationId="{00000000-0000-0000-0000-000000000000}"/>
          </ac:spMkLst>
        </pc:spChg>
        <pc:extLst>
          <p:ext xmlns:p="http://schemas.openxmlformats.org/presentationml/2006/main" uri="{D6D511B9-2390-475A-947B-AFAB55BFBCF1}">
            <pc226:cmChg xmlns:pc226="http://schemas.microsoft.com/office/powerpoint/2022/06/main/command" chg="del">
              <pc226:chgData name="Alana Rivera" userId="S::arg3669@ads.northwestern.edu::fc8b707a-b7e9-4f2a-8d71-2d76819b7881" providerId="AD" clId="Web-{FC194283-EEC6-0521-D05D-577D27A78776}" dt="2023-10-30T20:25:18.096" v="146"/>
              <pc2:cmMkLst xmlns:pc2="http://schemas.microsoft.com/office/powerpoint/2019/9/main/command">
                <pc:docMk/>
                <pc:sldMk cId="4044691067" sldId="283"/>
                <pc2:cmMk id="{51D99AE4-D60E-4433-99C8-10E7EA141D41}"/>
              </pc2:cmMkLst>
            </pc226:cmChg>
          </p:ext>
        </pc:extLst>
      </pc:sldChg>
      <pc:sldChg chg="modSp">
        <pc:chgData name="Alana Rivera" userId="S::arg3669@ads.northwestern.edu::fc8b707a-b7e9-4f2a-8d71-2d76819b7881" providerId="AD" clId="Web-{FC194283-EEC6-0521-D05D-577D27A78776}" dt="2023-10-30T19:53:52.196" v="7"/>
        <pc:sldMkLst>
          <pc:docMk/>
          <pc:sldMk cId="3004937174" sldId="565"/>
        </pc:sldMkLst>
        <pc:spChg chg="mod">
          <ac:chgData name="Alana Rivera" userId="S::arg3669@ads.northwestern.edu::fc8b707a-b7e9-4f2a-8d71-2d76819b7881" providerId="AD" clId="Web-{FC194283-EEC6-0521-D05D-577D27A78776}" dt="2023-10-30T19:53:52.196" v="7"/>
          <ac:spMkLst>
            <pc:docMk/>
            <pc:sldMk cId="3004937174" sldId="565"/>
            <ac:spMk id="10" creationId="{00000000-0000-0000-0000-000000000000}"/>
          </ac:spMkLst>
        </pc:spChg>
      </pc:sldChg>
      <pc:sldChg chg="addSp modSp">
        <pc:chgData name="Alana Rivera" userId="S::arg3669@ads.northwestern.edu::fc8b707a-b7e9-4f2a-8d71-2d76819b7881" providerId="AD" clId="Web-{FC194283-EEC6-0521-D05D-577D27A78776}" dt="2023-10-30T20:04:05.402" v="58" actId="20577"/>
        <pc:sldMkLst>
          <pc:docMk/>
          <pc:sldMk cId="3419957415" sldId="577"/>
        </pc:sldMkLst>
        <pc:spChg chg="mod">
          <ac:chgData name="Alana Rivera" userId="S::arg3669@ads.northwestern.edu::fc8b707a-b7e9-4f2a-8d71-2d76819b7881" providerId="AD" clId="Web-{FC194283-EEC6-0521-D05D-577D27A78776}" dt="2023-10-30T20:04:05.402" v="58" actId="20577"/>
          <ac:spMkLst>
            <pc:docMk/>
            <pc:sldMk cId="3419957415" sldId="577"/>
            <ac:spMk id="51" creationId="{00000000-0000-0000-0000-000000000000}"/>
          </ac:spMkLst>
        </pc:spChg>
        <pc:spChg chg="mod">
          <ac:chgData name="Alana Rivera" userId="S::arg3669@ads.northwestern.edu::fc8b707a-b7e9-4f2a-8d71-2d76819b7881" providerId="AD" clId="Web-{FC194283-EEC6-0521-D05D-577D27A78776}" dt="2023-10-30T20:04:01.402" v="57" actId="20577"/>
          <ac:spMkLst>
            <pc:docMk/>
            <pc:sldMk cId="3419957415" sldId="577"/>
            <ac:spMk id="52" creationId="{00000000-0000-0000-0000-000000000000}"/>
          </ac:spMkLst>
        </pc:spChg>
        <pc:spChg chg="mod">
          <ac:chgData name="Alana Rivera" userId="S::arg3669@ads.northwestern.edu::fc8b707a-b7e9-4f2a-8d71-2d76819b7881" providerId="AD" clId="Web-{FC194283-EEC6-0521-D05D-577D27A78776}" dt="2023-10-30T20:03:58.183" v="55" actId="20577"/>
          <ac:spMkLst>
            <pc:docMk/>
            <pc:sldMk cId="3419957415" sldId="577"/>
            <ac:spMk id="53" creationId="{00000000-0000-0000-0000-000000000000}"/>
          </ac:spMkLst>
        </pc:spChg>
        <pc:spChg chg="mod">
          <ac:chgData name="Alana Rivera" userId="S::arg3669@ads.northwestern.edu::fc8b707a-b7e9-4f2a-8d71-2d76819b7881" providerId="AD" clId="Web-{FC194283-EEC6-0521-D05D-577D27A78776}" dt="2023-10-30T20:03:46.714" v="52" actId="14100"/>
          <ac:spMkLst>
            <pc:docMk/>
            <pc:sldMk cId="3419957415" sldId="577"/>
            <ac:spMk id="54" creationId="{00000000-0000-0000-0000-000000000000}"/>
          </ac:spMkLst>
        </pc:spChg>
        <pc:spChg chg="mod">
          <ac:chgData name="Alana Rivera" userId="S::arg3669@ads.northwestern.edu::fc8b707a-b7e9-4f2a-8d71-2d76819b7881" providerId="AD" clId="Web-{FC194283-EEC6-0521-D05D-577D27A78776}" dt="2023-10-30T20:03:53.511" v="54" actId="14100"/>
          <ac:spMkLst>
            <pc:docMk/>
            <pc:sldMk cId="3419957415" sldId="577"/>
            <ac:spMk id="57" creationId="{00000000-0000-0000-0000-000000000000}"/>
          </ac:spMkLst>
        </pc:spChg>
        <pc:spChg chg="mod">
          <ac:chgData name="Alana Rivera" userId="S::arg3669@ads.northwestern.edu::fc8b707a-b7e9-4f2a-8d71-2d76819b7881" providerId="AD" clId="Web-{FC194283-EEC6-0521-D05D-577D27A78776}" dt="2023-10-30T20:00:54.053" v="18" actId="20577"/>
          <ac:spMkLst>
            <pc:docMk/>
            <pc:sldMk cId="3419957415" sldId="577"/>
            <ac:spMk id="64" creationId="{CE06DA76-2516-7530-74D6-38D1B1FC6BFE}"/>
          </ac:spMkLst>
        </pc:spChg>
        <pc:spChg chg="add mod">
          <ac:chgData name="Alana Rivera" userId="S::arg3669@ads.northwestern.edu::fc8b707a-b7e9-4f2a-8d71-2d76819b7881" providerId="AD" clId="Web-{FC194283-EEC6-0521-D05D-577D27A78776}" dt="2023-10-30T20:01:02.834" v="20" actId="1076"/>
          <ac:spMkLst>
            <pc:docMk/>
            <pc:sldMk cId="3419957415" sldId="577"/>
            <ac:spMk id="65" creationId="{28CD4543-B35F-C7BE-C5DB-7DF0067C551A}"/>
          </ac:spMkLst>
        </pc:spChg>
      </pc:sldChg>
      <pc:sldChg chg="modSp">
        <pc:chgData name="Alana Rivera" userId="S::arg3669@ads.northwestern.edu::fc8b707a-b7e9-4f2a-8d71-2d76819b7881" providerId="AD" clId="Web-{FC194283-EEC6-0521-D05D-577D27A78776}" dt="2023-10-30T20:01:29.616" v="25" actId="20577"/>
        <pc:sldMkLst>
          <pc:docMk/>
          <pc:sldMk cId="785115983" sldId="578"/>
        </pc:sldMkLst>
        <pc:spChg chg="mod">
          <ac:chgData name="Alana Rivera" userId="S::arg3669@ads.northwestern.edu::fc8b707a-b7e9-4f2a-8d71-2d76819b7881" providerId="AD" clId="Web-{FC194283-EEC6-0521-D05D-577D27A78776}" dt="2023-10-30T20:01:24.991" v="22" actId="20577"/>
          <ac:spMkLst>
            <pc:docMk/>
            <pc:sldMk cId="785115983" sldId="578"/>
            <ac:spMk id="46" creationId="{00000000-0000-0000-0000-000000000000}"/>
          </ac:spMkLst>
        </pc:spChg>
        <pc:spChg chg="mod">
          <ac:chgData name="Alana Rivera" userId="S::arg3669@ads.northwestern.edu::fc8b707a-b7e9-4f2a-8d71-2d76819b7881" providerId="AD" clId="Web-{FC194283-EEC6-0521-D05D-577D27A78776}" dt="2023-10-30T20:01:29.616" v="25" actId="20577"/>
          <ac:spMkLst>
            <pc:docMk/>
            <pc:sldMk cId="785115983" sldId="578"/>
            <ac:spMk id="47" creationId="{00000000-0000-0000-0000-000000000000}"/>
          </ac:spMkLst>
        </pc:spChg>
        <pc:spChg chg="mod">
          <ac:chgData name="Alana Rivera" userId="S::arg3669@ads.northwestern.edu::fc8b707a-b7e9-4f2a-8d71-2d76819b7881" providerId="AD" clId="Web-{FC194283-EEC6-0521-D05D-577D27A78776}" dt="2023-10-30T20:01:28.257" v="24" actId="20577"/>
          <ac:spMkLst>
            <pc:docMk/>
            <pc:sldMk cId="785115983" sldId="578"/>
            <ac:spMk id="50" creationId="{00000000-0000-0000-0000-000000000000}"/>
          </ac:spMkLst>
        </pc:spChg>
      </pc:sldChg>
      <pc:sldChg chg="modSp">
        <pc:chgData name="Alana Rivera" userId="S::arg3669@ads.northwestern.edu::fc8b707a-b7e9-4f2a-8d71-2d76819b7881" providerId="AD" clId="Web-{FC194283-EEC6-0521-D05D-577D27A78776}" dt="2023-10-30T20:01:59.492" v="31"/>
        <pc:sldMkLst>
          <pc:docMk/>
          <pc:sldMk cId="3030449316" sldId="579"/>
        </pc:sldMkLst>
        <pc:spChg chg="mod">
          <ac:chgData name="Alana Rivera" userId="S::arg3669@ads.northwestern.edu::fc8b707a-b7e9-4f2a-8d71-2d76819b7881" providerId="AD" clId="Web-{FC194283-EEC6-0521-D05D-577D27A78776}" dt="2023-10-30T20:01:59.477" v="30"/>
          <ac:spMkLst>
            <pc:docMk/>
            <pc:sldMk cId="3030449316" sldId="579"/>
            <ac:spMk id="4" creationId="{00000000-0000-0000-0000-000000000000}"/>
          </ac:spMkLst>
        </pc:spChg>
        <pc:spChg chg="mod">
          <ac:chgData name="Alana Rivera" userId="S::arg3669@ads.northwestern.edu::fc8b707a-b7e9-4f2a-8d71-2d76819b7881" providerId="AD" clId="Web-{FC194283-EEC6-0521-D05D-577D27A78776}" dt="2023-10-30T20:01:59.492" v="31"/>
          <ac:spMkLst>
            <pc:docMk/>
            <pc:sldMk cId="3030449316" sldId="579"/>
            <ac:spMk id="5" creationId="{00000000-0000-0000-0000-000000000000}"/>
          </ac:spMkLst>
        </pc:spChg>
        <pc:spChg chg="mod">
          <ac:chgData name="Alana Rivera" userId="S::arg3669@ads.northwestern.edu::fc8b707a-b7e9-4f2a-8d71-2d76819b7881" providerId="AD" clId="Web-{FC194283-EEC6-0521-D05D-577D27A78776}" dt="2023-10-30T20:01:40.304" v="26" actId="20577"/>
          <ac:spMkLst>
            <pc:docMk/>
            <pc:sldMk cId="3030449316" sldId="579"/>
            <ac:spMk id="46" creationId="{00000000-0000-0000-0000-000000000000}"/>
          </ac:spMkLst>
        </pc:spChg>
        <pc:spChg chg="mod">
          <ac:chgData name="Alana Rivera" userId="S::arg3669@ads.northwestern.edu::fc8b707a-b7e9-4f2a-8d71-2d76819b7881" providerId="AD" clId="Web-{FC194283-EEC6-0521-D05D-577D27A78776}" dt="2023-10-30T20:01:50.039" v="29" actId="14100"/>
          <ac:spMkLst>
            <pc:docMk/>
            <pc:sldMk cId="3030449316" sldId="579"/>
            <ac:spMk id="47" creationId="{00000000-0000-0000-0000-000000000000}"/>
          </ac:spMkLst>
        </pc:spChg>
        <pc:spChg chg="mod">
          <ac:chgData name="Alana Rivera" userId="S::arg3669@ads.northwestern.edu::fc8b707a-b7e9-4f2a-8d71-2d76819b7881" providerId="AD" clId="Web-{FC194283-EEC6-0521-D05D-577D27A78776}" dt="2023-10-30T20:01:43.664" v="27" actId="20577"/>
          <ac:spMkLst>
            <pc:docMk/>
            <pc:sldMk cId="3030449316" sldId="579"/>
            <ac:spMk id="50" creationId="{00000000-0000-0000-0000-000000000000}"/>
          </ac:spMkLst>
        </pc:spChg>
      </pc:sldChg>
      <pc:sldChg chg="modSp">
        <pc:chgData name="Alana Rivera" userId="S::arg3669@ads.northwestern.edu::fc8b707a-b7e9-4f2a-8d71-2d76819b7881" providerId="AD" clId="Web-{FC194283-EEC6-0521-D05D-577D27A78776}" dt="2023-10-30T20:02:39.259" v="40" actId="20577"/>
        <pc:sldMkLst>
          <pc:docMk/>
          <pc:sldMk cId="4283907660" sldId="580"/>
        </pc:sldMkLst>
        <pc:spChg chg="mod">
          <ac:chgData name="Alana Rivera" userId="S::arg3669@ads.northwestern.edu::fc8b707a-b7e9-4f2a-8d71-2d76819b7881" providerId="AD" clId="Web-{FC194283-EEC6-0521-D05D-577D27A78776}" dt="2023-10-30T20:02:19.508" v="32"/>
          <ac:spMkLst>
            <pc:docMk/>
            <pc:sldMk cId="4283907660" sldId="580"/>
            <ac:spMk id="49" creationId="{00000000-0000-0000-0000-000000000000}"/>
          </ac:spMkLst>
        </pc:spChg>
        <pc:spChg chg="mod">
          <ac:chgData name="Alana Rivera" userId="S::arg3669@ads.northwestern.edu::fc8b707a-b7e9-4f2a-8d71-2d76819b7881" providerId="AD" clId="Web-{FC194283-EEC6-0521-D05D-577D27A78776}" dt="2023-10-30T20:02:19.540" v="33"/>
          <ac:spMkLst>
            <pc:docMk/>
            <pc:sldMk cId="4283907660" sldId="580"/>
            <ac:spMk id="50" creationId="{00000000-0000-0000-0000-000000000000}"/>
          </ac:spMkLst>
        </pc:spChg>
        <pc:spChg chg="mod">
          <ac:chgData name="Alana Rivera" userId="S::arg3669@ads.northwestern.edu::fc8b707a-b7e9-4f2a-8d71-2d76819b7881" providerId="AD" clId="Web-{FC194283-EEC6-0521-D05D-577D27A78776}" dt="2023-10-30T20:02:39.259" v="40" actId="20577"/>
          <ac:spMkLst>
            <pc:docMk/>
            <pc:sldMk cId="4283907660" sldId="580"/>
            <ac:spMk id="60" creationId="{00000000-0000-0000-0000-000000000000}"/>
          </ac:spMkLst>
        </pc:spChg>
        <pc:spChg chg="mod">
          <ac:chgData name="Alana Rivera" userId="S::arg3669@ads.northwestern.edu::fc8b707a-b7e9-4f2a-8d71-2d76819b7881" providerId="AD" clId="Web-{FC194283-EEC6-0521-D05D-577D27A78776}" dt="2023-10-30T20:02:32.149" v="38" actId="20577"/>
          <ac:spMkLst>
            <pc:docMk/>
            <pc:sldMk cId="4283907660" sldId="580"/>
            <ac:spMk id="61" creationId="{00000000-0000-0000-0000-000000000000}"/>
          </ac:spMkLst>
        </pc:spChg>
        <pc:spChg chg="mod">
          <ac:chgData name="Alana Rivera" userId="S::arg3669@ads.northwestern.edu::fc8b707a-b7e9-4f2a-8d71-2d76819b7881" providerId="AD" clId="Web-{FC194283-EEC6-0521-D05D-577D27A78776}" dt="2023-10-30T20:02:37.884" v="39" actId="20577"/>
          <ac:spMkLst>
            <pc:docMk/>
            <pc:sldMk cId="4283907660" sldId="580"/>
            <ac:spMk id="63" creationId="{00000000-0000-0000-0000-000000000000}"/>
          </ac:spMkLst>
        </pc:spChg>
        <pc:spChg chg="mod">
          <ac:chgData name="Alana Rivera" userId="S::arg3669@ads.northwestern.edu::fc8b707a-b7e9-4f2a-8d71-2d76819b7881" providerId="AD" clId="Web-{FC194283-EEC6-0521-D05D-577D27A78776}" dt="2023-10-30T20:02:28.790" v="37" actId="20577"/>
          <ac:spMkLst>
            <pc:docMk/>
            <pc:sldMk cId="4283907660" sldId="580"/>
            <ac:spMk id="64" creationId="{00000000-0000-0000-0000-000000000000}"/>
          </ac:spMkLst>
        </pc:spChg>
        <pc:spChg chg="mod">
          <ac:chgData name="Alana Rivera" userId="S::arg3669@ads.northwestern.edu::fc8b707a-b7e9-4f2a-8d71-2d76819b7881" providerId="AD" clId="Web-{FC194283-EEC6-0521-D05D-577D27A78776}" dt="2023-10-30T20:02:26.305" v="36" actId="20577"/>
          <ac:spMkLst>
            <pc:docMk/>
            <pc:sldMk cId="4283907660" sldId="580"/>
            <ac:spMk id="67" creationId="{00000000-0000-0000-0000-000000000000}"/>
          </ac:spMkLst>
        </pc:spChg>
        <pc:spChg chg="mod">
          <ac:chgData name="Alana Rivera" userId="S::arg3669@ads.northwestern.edu::fc8b707a-b7e9-4f2a-8d71-2d76819b7881" providerId="AD" clId="Web-{FC194283-EEC6-0521-D05D-577D27A78776}" dt="2023-10-30T20:02:25.024" v="35" actId="20577"/>
          <ac:spMkLst>
            <pc:docMk/>
            <pc:sldMk cId="4283907660" sldId="580"/>
            <ac:spMk id="68" creationId="{00000000-0000-0000-0000-000000000000}"/>
          </ac:spMkLst>
        </pc:spChg>
      </pc:sldChg>
      <pc:sldChg chg="addSp modSp">
        <pc:chgData name="Alana Rivera" userId="S::arg3669@ads.northwestern.edu::fc8b707a-b7e9-4f2a-8d71-2d76819b7881" providerId="AD" clId="Web-{FC194283-EEC6-0521-D05D-577D27A78776}" dt="2023-10-30T20:03:32.526" v="50" actId="20577"/>
        <pc:sldMkLst>
          <pc:docMk/>
          <pc:sldMk cId="3429940818" sldId="581"/>
        </pc:sldMkLst>
        <pc:spChg chg="mod">
          <ac:chgData name="Alana Rivera" userId="S::arg3669@ads.northwestern.edu::fc8b707a-b7e9-4f2a-8d71-2d76819b7881" providerId="AD" clId="Web-{FC194283-EEC6-0521-D05D-577D27A78776}" dt="2023-10-30T20:03:00.400" v="42"/>
          <ac:spMkLst>
            <pc:docMk/>
            <pc:sldMk cId="3429940818" sldId="581"/>
            <ac:spMk id="4" creationId="{00000000-0000-0000-0000-000000000000}"/>
          </ac:spMkLst>
        </pc:spChg>
        <pc:spChg chg="mod">
          <ac:chgData name="Alana Rivera" userId="S::arg3669@ads.northwestern.edu::fc8b707a-b7e9-4f2a-8d71-2d76819b7881" providerId="AD" clId="Web-{FC194283-EEC6-0521-D05D-577D27A78776}" dt="2023-10-30T20:03:00.432" v="43"/>
          <ac:spMkLst>
            <pc:docMk/>
            <pc:sldMk cId="3429940818" sldId="581"/>
            <ac:spMk id="5" creationId="{00000000-0000-0000-0000-000000000000}"/>
          </ac:spMkLst>
        </pc:spChg>
        <pc:spChg chg="mod">
          <ac:chgData name="Alana Rivera" userId="S::arg3669@ads.northwestern.edu::fc8b707a-b7e9-4f2a-8d71-2d76819b7881" providerId="AD" clId="Web-{FC194283-EEC6-0521-D05D-577D27A78776}" dt="2023-10-30T20:03:29.604" v="49" actId="20577"/>
          <ac:spMkLst>
            <pc:docMk/>
            <pc:sldMk cId="3429940818" sldId="581"/>
            <ac:spMk id="59" creationId="{00000000-0000-0000-0000-000000000000}"/>
          </ac:spMkLst>
        </pc:spChg>
        <pc:spChg chg="mod">
          <ac:chgData name="Alana Rivera" userId="S::arg3669@ads.northwestern.edu::fc8b707a-b7e9-4f2a-8d71-2d76819b7881" providerId="AD" clId="Web-{FC194283-EEC6-0521-D05D-577D27A78776}" dt="2023-10-30T20:03:32.526" v="50" actId="20577"/>
          <ac:spMkLst>
            <pc:docMk/>
            <pc:sldMk cId="3429940818" sldId="581"/>
            <ac:spMk id="63" creationId="{00000000-0000-0000-0000-000000000000}"/>
          </ac:spMkLst>
        </pc:spChg>
        <pc:spChg chg="mod">
          <ac:chgData name="Alana Rivera" userId="S::arg3669@ads.northwestern.edu::fc8b707a-b7e9-4f2a-8d71-2d76819b7881" providerId="AD" clId="Web-{FC194283-EEC6-0521-D05D-577D27A78776}" dt="2023-10-30T20:03:21.713" v="47" actId="20577"/>
          <ac:spMkLst>
            <pc:docMk/>
            <pc:sldMk cId="3429940818" sldId="581"/>
            <ac:spMk id="64" creationId="{00000000-0000-0000-0000-000000000000}"/>
          </ac:spMkLst>
        </pc:spChg>
        <pc:spChg chg="mod">
          <ac:chgData name="Alana Rivera" userId="S::arg3669@ads.northwestern.edu::fc8b707a-b7e9-4f2a-8d71-2d76819b7881" providerId="AD" clId="Web-{FC194283-EEC6-0521-D05D-577D27A78776}" dt="2023-10-30T20:03:24.745" v="48" actId="20577"/>
          <ac:spMkLst>
            <pc:docMk/>
            <pc:sldMk cId="3429940818" sldId="581"/>
            <ac:spMk id="67" creationId="{00000000-0000-0000-0000-000000000000}"/>
          </ac:spMkLst>
        </pc:spChg>
        <pc:spChg chg="mod">
          <ac:chgData name="Alana Rivera" userId="S::arg3669@ads.northwestern.edu::fc8b707a-b7e9-4f2a-8d71-2d76819b7881" providerId="AD" clId="Web-{FC194283-EEC6-0521-D05D-577D27A78776}" dt="2023-10-30T20:03:17.995" v="46" actId="1076"/>
          <ac:spMkLst>
            <pc:docMk/>
            <pc:sldMk cId="3429940818" sldId="581"/>
            <ac:spMk id="69" creationId="{00000000-0000-0000-0000-000000000000}"/>
          </ac:spMkLst>
        </pc:spChg>
        <pc:spChg chg="mod">
          <ac:chgData name="Alana Rivera" userId="S::arg3669@ads.northwestern.edu::fc8b707a-b7e9-4f2a-8d71-2d76819b7881" providerId="AD" clId="Web-{FC194283-EEC6-0521-D05D-577D27A78776}" dt="2023-10-30T20:02:56.338" v="41" actId="20577"/>
          <ac:spMkLst>
            <pc:docMk/>
            <pc:sldMk cId="3429940818" sldId="581"/>
            <ac:spMk id="70" creationId="{00000000-0000-0000-0000-000000000000}"/>
          </ac:spMkLst>
        </pc:spChg>
        <pc:spChg chg="mod">
          <ac:chgData name="Alana Rivera" userId="S::arg3669@ads.northwestern.edu::fc8b707a-b7e9-4f2a-8d71-2d76819b7881" providerId="AD" clId="Web-{FC194283-EEC6-0521-D05D-577D27A78776}" dt="2023-10-30T20:00:47.334" v="17" actId="20577"/>
          <ac:spMkLst>
            <pc:docMk/>
            <pc:sldMk cId="3429940818" sldId="581"/>
            <ac:spMk id="73" creationId="{1A989E17-799A-6415-ED4B-A44CCA00B657}"/>
          </ac:spMkLst>
        </pc:spChg>
        <pc:spChg chg="add mod">
          <ac:chgData name="Alana Rivera" userId="S::arg3669@ads.northwestern.edu::fc8b707a-b7e9-4f2a-8d71-2d76819b7881" providerId="AD" clId="Web-{FC194283-EEC6-0521-D05D-577D27A78776}" dt="2023-10-30T20:00:44.552" v="16" actId="1076"/>
          <ac:spMkLst>
            <pc:docMk/>
            <pc:sldMk cId="3429940818" sldId="581"/>
            <ac:spMk id="75" creationId="{20D2DCD7-9B15-FB75-E33B-CECC88A394B8}"/>
          </ac:spMkLst>
        </pc:spChg>
      </pc:sldChg>
      <pc:sldChg chg="modSp">
        <pc:chgData name="Alana Rivera" userId="S::arg3669@ads.northwestern.edu::fc8b707a-b7e9-4f2a-8d71-2d76819b7881" providerId="AD" clId="Web-{FC194283-EEC6-0521-D05D-577D27A78776}" dt="2023-10-30T19:54:28.463" v="13"/>
        <pc:sldMkLst>
          <pc:docMk/>
          <pc:sldMk cId="3850125703" sldId="622"/>
        </pc:sldMkLst>
        <pc:spChg chg="mod">
          <ac:chgData name="Alana Rivera" userId="S::arg3669@ads.northwestern.edu::fc8b707a-b7e9-4f2a-8d71-2d76819b7881" providerId="AD" clId="Web-{FC194283-EEC6-0521-D05D-577D27A78776}" dt="2023-10-30T19:54:13.603" v="8"/>
          <ac:spMkLst>
            <pc:docMk/>
            <pc:sldMk cId="3850125703" sldId="622"/>
            <ac:spMk id="43" creationId="{00000000-0000-0000-0000-000000000000}"/>
          </ac:spMkLst>
        </pc:spChg>
        <pc:spChg chg="mod">
          <ac:chgData name="Alana Rivera" userId="S::arg3669@ads.northwestern.edu::fc8b707a-b7e9-4f2a-8d71-2d76819b7881" providerId="AD" clId="Web-{FC194283-EEC6-0521-D05D-577D27A78776}" dt="2023-10-30T19:54:13.619" v="9"/>
          <ac:spMkLst>
            <pc:docMk/>
            <pc:sldMk cId="3850125703" sldId="622"/>
            <ac:spMk id="44" creationId="{00000000-0000-0000-0000-000000000000}"/>
          </ac:spMkLst>
        </pc:spChg>
        <pc:spChg chg="mod">
          <ac:chgData name="Alana Rivera" userId="S::arg3669@ads.northwestern.edu::fc8b707a-b7e9-4f2a-8d71-2d76819b7881" providerId="AD" clId="Web-{FC194283-EEC6-0521-D05D-577D27A78776}" dt="2023-10-30T19:54:28.463" v="13"/>
          <ac:spMkLst>
            <pc:docMk/>
            <pc:sldMk cId="3850125703" sldId="622"/>
            <ac:spMk id="46" creationId="{00000000-0000-0000-0000-000000000000}"/>
          </ac:spMkLst>
        </pc:spChg>
        <pc:spChg chg="mod">
          <ac:chgData name="Alana Rivera" userId="S::arg3669@ads.northwestern.edu::fc8b707a-b7e9-4f2a-8d71-2d76819b7881" providerId="AD" clId="Web-{FC194283-EEC6-0521-D05D-577D27A78776}" dt="2023-10-30T19:54:28.463" v="12"/>
          <ac:spMkLst>
            <pc:docMk/>
            <pc:sldMk cId="3850125703" sldId="622"/>
            <ac:spMk id="47" creationId="{00000000-0000-0000-0000-000000000000}"/>
          </ac:spMkLst>
        </pc:spChg>
        <pc:spChg chg="mod">
          <ac:chgData name="Alana Rivera" userId="S::arg3669@ads.northwestern.edu::fc8b707a-b7e9-4f2a-8d71-2d76819b7881" providerId="AD" clId="Web-{FC194283-EEC6-0521-D05D-577D27A78776}" dt="2023-10-30T19:53:22.024" v="4"/>
          <ac:spMkLst>
            <pc:docMk/>
            <pc:sldMk cId="3850125703" sldId="622"/>
            <ac:spMk id="49" creationId="{00000000-0000-0000-0000-000000000000}"/>
          </ac:spMkLst>
        </pc:spChg>
      </pc:sldChg>
    </pc:docChg>
  </pc:docChgLst>
</pc:chgInfo>
</file>

<file path=ppt/comments/modernComment_2D9_CC678456.xml><?xml version="1.0" encoding="utf-8"?>
<p188:cmLst xmlns:a="http://schemas.openxmlformats.org/drawingml/2006/main" xmlns:r="http://schemas.openxmlformats.org/officeDocument/2006/relationships" xmlns:p188="http://schemas.microsoft.com/office/powerpoint/2018/8/main">
  <p188:cm id="{5635E0A6-AC69-4FB6-B7FE-9DA078BBCAEE}" authorId="{65A64FCD-321F-D00C-6F0D-39389F913B93}" status="resolved" created="2023-10-27T17:36:25.967" complete="100000">
    <ac:deMkLst xmlns:ac="http://schemas.microsoft.com/office/drawing/2013/main/command">
      <pc:docMk xmlns:pc="http://schemas.microsoft.com/office/powerpoint/2013/main/command"/>
      <pc:sldMk xmlns:pc="http://schemas.microsoft.com/office/powerpoint/2013/main/command" cId="3355787309" sldId="604"/>
      <ac:spMk id="2" creationId="{3D3DB2FD-422B-6FE2-6A77-68A0BED56A59}"/>
    </ac:deMkLst>
    <p188:replyLst>
      <p188:reply id="{3053D263-C269-4BCE-98DF-ACFFCD7AE076}" authorId="{B1E8E1CE-C373-4BDB-0D3F-F84FE1DA86D4}" created="2023-10-27T17:46:43.921">
        <p188:txBody>
          <a:bodyPr/>
          <a:lstStyle/>
          <a:p>
            <a:r>
              <a:rPr lang="en-US"/>
              <a:t>Okay so it looks like it is columns BB-BH and we asked Please rank in order of Who primarily delivers safe sleep educational content to parents / caregivers on your unit? (or Likert scale – who does the majority of the teaching?)</a:t>
            </a:r>
          </a:p>
        </p188:txBody>
      </p188:reply>
    </p188:replyLst>
    <p188:txBody>
      <a:bodyPr/>
      <a:lstStyle/>
      <a:p>
        <a:r>
          <a:rPr lang="en-US"/>
          <a:t>[@Eileen Fleming Suse] I can't find this question in the readiness data. I think it was asked, it just didn't have a label on Excel. </a:t>
        </a:r>
      </a:p>
    </p188:txBody>
  </p188:cm>
</p188:cmLst>
</file>

<file path=ppt/comments/modernComment_2E1_440EB12B.xml><?xml version="1.0" encoding="utf-8"?>
<p188:cmLst xmlns:a="http://schemas.openxmlformats.org/drawingml/2006/main" xmlns:r="http://schemas.openxmlformats.org/officeDocument/2006/relationships" xmlns:p188="http://schemas.microsoft.com/office/powerpoint/2018/8/main">
  <p188:cm id="{2E54611F-EF9E-406A-A7DB-E8AA469FE59F}" authorId="{E5FBE01E-7B92-B9C0-0995-5C3FE74E91A1}" status="resolved" created="2023-10-24T18:05:32.641" complete="100000">
    <pc:sldMkLst xmlns:pc="http://schemas.microsoft.com/office/powerpoint/2013/main/command">
      <pc:docMk/>
      <pc:sldMk cId="2564870475" sldId="566"/>
    </pc:sldMkLst>
    <p188:txBody>
      <a:bodyPr/>
      <a:lstStyle/>
      <a:p>
        <a:r>
          <a:rPr lang="en-US"/>
          <a:t>focus on the drivers and discuss how we we roll these out quarterly???</a:t>
        </a:r>
      </a:p>
    </p188:txBody>
  </p188:cm>
</p188:cmLst>
</file>

<file path=ppt/comments/modernComment_2E7_403B96C1.xml><?xml version="1.0" encoding="utf-8"?>
<p188:cmLst xmlns:a="http://schemas.openxmlformats.org/drawingml/2006/main" xmlns:r="http://schemas.openxmlformats.org/officeDocument/2006/relationships" xmlns:p188="http://schemas.microsoft.com/office/powerpoint/2018/8/main">
  <p188:cm id="{5DDFF292-DD87-47C8-A916-E5A7674648E0}" authorId="{E5FBE01E-7B92-B9C0-0995-5C3FE74E91A1}" status="resolved" created="2023-10-24T18:05:32.641">
    <pc:sldMkLst xmlns:pc="http://schemas.microsoft.com/office/powerpoint/2013/main/command">
      <pc:docMk/>
      <pc:sldMk cId="2564870475" sldId="566"/>
    </pc:sldMkLst>
    <p188:txBody>
      <a:bodyPr/>
      <a:lstStyle/>
      <a:p>
        <a:r>
          <a:rPr lang="en-US"/>
          <a:t>focus on the drivers and discuss how we we roll these out quarterly???</a:t>
        </a:r>
      </a:p>
    </p188:txBody>
  </p188:cm>
</p188:cmLst>
</file>

<file path=ppt/comments/modernComment_2E8_908653B0.xml><?xml version="1.0" encoding="utf-8"?>
<p188:cmLst xmlns:a="http://schemas.openxmlformats.org/drawingml/2006/main" xmlns:r="http://schemas.openxmlformats.org/officeDocument/2006/relationships" xmlns:p188="http://schemas.microsoft.com/office/powerpoint/2018/8/main">
  <p188:cm id="{39FCF739-C1A1-4368-BF5C-2DFFECEEF7A0}" authorId="{E5FBE01E-7B92-B9C0-0995-5C3FE74E91A1}" status="resolved" created="2023-10-24T18:05:32.641">
    <pc:sldMkLst xmlns:pc="http://schemas.microsoft.com/office/powerpoint/2013/main/command">
      <pc:docMk/>
      <pc:sldMk cId="2564870475" sldId="566"/>
    </pc:sldMkLst>
    <p188:txBody>
      <a:bodyPr/>
      <a:lstStyle/>
      <a:p>
        <a:r>
          <a:rPr lang="en-US"/>
          <a:t>focus on the drivers and discuss how we we roll these out quarterly???</a:t>
        </a:r>
      </a:p>
    </p188:txBody>
  </p188:cm>
</p188:cmLst>
</file>

<file path=ppt/diagrams/_rels/data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svg"/><Relationship Id="rId1" Type="http://schemas.openxmlformats.org/officeDocument/2006/relationships/image" Target="../media/image114.png"/><Relationship Id="rId6" Type="http://schemas.openxmlformats.org/officeDocument/2006/relationships/image" Target="../media/image119.svg"/><Relationship Id="rId5" Type="http://schemas.openxmlformats.org/officeDocument/2006/relationships/image" Target="../media/image118.png"/><Relationship Id="rId4" Type="http://schemas.openxmlformats.org/officeDocument/2006/relationships/image" Target="../media/image117.svg"/></Relationships>
</file>

<file path=ppt/diagrams/_rels/data4.xml.rels><?xml version="1.0" encoding="UTF-8" standalone="yes"?>
<Relationships xmlns="http://schemas.openxmlformats.org/package/2006/relationships"><Relationship Id="rId8" Type="http://schemas.openxmlformats.org/officeDocument/2006/relationships/image" Target="../media/image287.svg"/><Relationship Id="rId3" Type="http://schemas.openxmlformats.org/officeDocument/2006/relationships/image" Target="../media/image282.png"/><Relationship Id="rId7" Type="http://schemas.openxmlformats.org/officeDocument/2006/relationships/image" Target="../media/image286.png"/><Relationship Id="rId2" Type="http://schemas.openxmlformats.org/officeDocument/2006/relationships/image" Target="../media/image281.svg"/><Relationship Id="rId1" Type="http://schemas.openxmlformats.org/officeDocument/2006/relationships/image" Target="../media/image280.png"/><Relationship Id="rId6" Type="http://schemas.openxmlformats.org/officeDocument/2006/relationships/image" Target="../media/image285.svg"/><Relationship Id="rId5" Type="http://schemas.openxmlformats.org/officeDocument/2006/relationships/image" Target="../media/image284.png"/><Relationship Id="rId4" Type="http://schemas.openxmlformats.org/officeDocument/2006/relationships/image" Target="../media/image283.svg"/></Relationships>
</file>

<file path=ppt/diagrams/_rels/data7.xml.rels><?xml version="1.0" encoding="UTF-8" standalone="yes"?>
<Relationships xmlns="http://schemas.openxmlformats.org/package/2006/relationships"><Relationship Id="rId3" Type="http://schemas.openxmlformats.org/officeDocument/2006/relationships/image" Target="../media/image317.png"/><Relationship Id="rId2" Type="http://schemas.openxmlformats.org/officeDocument/2006/relationships/image" Target="../media/image316.svg"/><Relationship Id="rId1" Type="http://schemas.openxmlformats.org/officeDocument/2006/relationships/image" Target="../media/image315.png"/><Relationship Id="rId6" Type="http://schemas.openxmlformats.org/officeDocument/2006/relationships/image" Target="../media/image320.svg"/><Relationship Id="rId5" Type="http://schemas.openxmlformats.org/officeDocument/2006/relationships/image" Target="../media/image319.png"/><Relationship Id="rId4" Type="http://schemas.openxmlformats.org/officeDocument/2006/relationships/image" Target="../media/image318.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svg"/><Relationship Id="rId1" Type="http://schemas.openxmlformats.org/officeDocument/2006/relationships/image" Target="../media/image114.png"/><Relationship Id="rId6" Type="http://schemas.openxmlformats.org/officeDocument/2006/relationships/image" Target="../media/image119.svg"/><Relationship Id="rId5" Type="http://schemas.openxmlformats.org/officeDocument/2006/relationships/image" Target="../media/image118.png"/><Relationship Id="rId4" Type="http://schemas.openxmlformats.org/officeDocument/2006/relationships/image" Target="../media/image117.svg"/></Relationships>
</file>

<file path=ppt/diagrams/_rels/drawing4.xml.rels><?xml version="1.0" encoding="UTF-8" standalone="yes"?>
<Relationships xmlns="http://schemas.openxmlformats.org/package/2006/relationships"><Relationship Id="rId8" Type="http://schemas.openxmlformats.org/officeDocument/2006/relationships/image" Target="../media/image287.svg"/><Relationship Id="rId3" Type="http://schemas.openxmlformats.org/officeDocument/2006/relationships/image" Target="../media/image282.png"/><Relationship Id="rId7" Type="http://schemas.openxmlformats.org/officeDocument/2006/relationships/image" Target="../media/image286.png"/><Relationship Id="rId2" Type="http://schemas.openxmlformats.org/officeDocument/2006/relationships/image" Target="../media/image281.svg"/><Relationship Id="rId1" Type="http://schemas.openxmlformats.org/officeDocument/2006/relationships/image" Target="../media/image280.png"/><Relationship Id="rId6" Type="http://schemas.openxmlformats.org/officeDocument/2006/relationships/image" Target="../media/image285.svg"/><Relationship Id="rId5" Type="http://schemas.openxmlformats.org/officeDocument/2006/relationships/image" Target="../media/image284.png"/><Relationship Id="rId4" Type="http://schemas.openxmlformats.org/officeDocument/2006/relationships/image" Target="../media/image283.svg"/></Relationships>
</file>

<file path=ppt/diagrams/_rels/drawing7.xml.rels><?xml version="1.0" encoding="UTF-8" standalone="yes"?>
<Relationships xmlns="http://schemas.openxmlformats.org/package/2006/relationships"><Relationship Id="rId3" Type="http://schemas.openxmlformats.org/officeDocument/2006/relationships/image" Target="../media/image317.png"/><Relationship Id="rId2" Type="http://schemas.openxmlformats.org/officeDocument/2006/relationships/image" Target="../media/image316.svg"/><Relationship Id="rId1" Type="http://schemas.openxmlformats.org/officeDocument/2006/relationships/image" Target="../media/image315.png"/><Relationship Id="rId6" Type="http://schemas.openxmlformats.org/officeDocument/2006/relationships/image" Target="../media/image320.svg"/><Relationship Id="rId5" Type="http://schemas.openxmlformats.org/officeDocument/2006/relationships/image" Target="../media/image319.png"/><Relationship Id="rId4" Type="http://schemas.openxmlformats.org/officeDocument/2006/relationships/image" Target="../media/image318.svg"/></Relationships>
</file>

<file path=ppt/diagrams/colors1.xml><?xml version="1.0" encoding="utf-8"?>
<dgm:colorsDef xmlns:dgm="http://schemas.openxmlformats.org/drawingml/2006/diagram" xmlns:a="http://schemas.openxmlformats.org/drawingml/2006/main" uniqueId="urn:microsoft.com/office/officeart/2018/5/colors/Iconchunking_neutralbg_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a:alpha val="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430BAD0-BABA-45AA-9F9C-64365E6BFC3B}" type="doc">
      <dgm:prSet loTypeId="urn:microsoft.com/office/officeart/2018/5/layout/CenteredIconLabelDescriptionList" loCatId="icon" qsTypeId="urn:microsoft.com/office/officeart/2005/8/quickstyle/simple1" qsCatId="simple" csTypeId="urn:microsoft.com/office/officeart/2018/5/colors/Iconchunking_neutralbg_accent1_2" csCatId="accent1" phldr="1"/>
      <dgm:spPr/>
      <dgm:t>
        <a:bodyPr/>
        <a:lstStyle/>
        <a:p>
          <a:endParaRPr lang="en-US"/>
        </a:p>
      </dgm:t>
    </dgm:pt>
    <dgm:pt modelId="{953405DE-6267-4957-8F92-170837222670}">
      <dgm:prSet/>
      <dgm:spPr/>
      <dgm:t>
        <a:bodyPr/>
        <a:lstStyle/>
        <a:p>
          <a:pPr>
            <a:defRPr b="1"/>
          </a:pPr>
          <a:r>
            <a:rPr lang="en-US"/>
            <a:t>Collaborative Learning</a:t>
          </a:r>
        </a:p>
      </dgm:t>
    </dgm:pt>
    <dgm:pt modelId="{BC2BB700-FE9B-4EC9-8354-3B9299A55EEE}" type="parTrans" cxnId="{A2875581-AB1D-48A7-8367-9C6397E7DD4B}">
      <dgm:prSet/>
      <dgm:spPr/>
      <dgm:t>
        <a:bodyPr/>
        <a:lstStyle/>
        <a:p>
          <a:endParaRPr lang="en-US"/>
        </a:p>
      </dgm:t>
    </dgm:pt>
    <dgm:pt modelId="{3CAC77EF-B213-49C9-A943-5022AF93E48C}" type="sibTrans" cxnId="{A2875581-AB1D-48A7-8367-9C6397E7DD4B}">
      <dgm:prSet/>
      <dgm:spPr/>
      <dgm:t>
        <a:bodyPr/>
        <a:lstStyle/>
        <a:p>
          <a:endParaRPr lang="en-US"/>
        </a:p>
      </dgm:t>
    </dgm:pt>
    <dgm:pt modelId="{04019DCE-A8E9-448A-AC7D-A7A35D72ECEC}">
      <dgm:prSet/>
      <dgm:spPr/>
      <dgm:t>
        <a:bodyPr/>
        <a:lstStyle/>
        <a:p>
          <a:r>
            <a:rPr lang="en-US"/>
            <a:t>Monthly webinars</a:t>
          </a:r>
        </a:p>
      </dgm:t>
    </dgm:pt>
    <dgm:pt modelId="{0F9E3096-2E25-466D-8358-2FCD0DE08D0E}" type="parTrans" cxnId="{721DEFBA-88AD-4782-B923-863BC45F43BC}">
      <dgm:prSet/>
      <dgm:spPr/>
      <dgm:t>
        <a:bodyPr/>
        <a:lstStyle/>
        <a:p>
          <a:endParaRPr lang="en-US"/>
        </a:p>
      </dgm:t>
    </dgm:pt>
    <dgm:pt modelId="{18E994F0-03A4-4158-B838-842D5F2DCA4E}" type="sibTrans" cxnId="{721DEFBA-88AD-4782-B923-863BC45F43BC}">
      <dgm:prSet/>
      <dgm:spPr/>
      <dgm:t>
        <a:bodyPr/>
        <a:lstStyle/>
        <a:p>
          <a:endParaRPr lang="en-US"/>
        </a:p>
      </dgm:t>
    </dgm:pt>
    <dgm:pt modelId="{66F4987E-1719-4A03-8DD4-EF3646AAAEB1}">
      <dgm:prSet/>
      <dgm:spPr/>
      <dgm:t>
        <a:bodyPr/>
        <a:lstStyle/>
        <a:p>
          <a:r>
            <a:rPr lang="en-US"/>
            <a:t>Expert Speakers</a:t>
          </a:r>
        </a:p>
      </dgm:t>
    </dgm:pt>
    <dgm:pt modelId="{FCC193A1-B9FA-4477-AAE4-8B035E4AFB45}" type="parTrans" cxnId="{EBA0F39E-7329-4BD3-9531-1A1BC8E176E6}">
      <dgm:prSet/>
      <dgm:spPr/>
      <dgm:t>
        <a:bodyPr/>
        <a:lstStyle/>
        <a:p>
          <a:endParaRPr lang="en-US"/>
        </a:p>
      </dgm:t>
    </dgm:pt>
    <dgm:pt modelId="{2AA6BAB7-C382-4393-9859-4C7C3527CA9D}" type="sibTrans" cxnId="{EBA0F39E-7329-4BD3-9531-1A1BC8E176E6}">
      <dgm:prSet/>
      <dgm:spPr/>
      <dgm:t>
        <a:bodyPr/>
        <a:lstStyle/>
        <a:p>
          <a:endParaRPr lang="en-US"/>
        </a:p>
      </dgm:t>
    </dgm:pt>
    <dgm:pt modelId="{D8BB893E-8006-46B3-81EA-4F3DC95B12DE}">
      <dgm:prSet/>
      <dgm:spPr/>
      <dgm:t>
        <a:bodyPr/>
        <a:lstStyle/>
        <a:p>
          <a:r>
            <a:rPr lang="en-US"/>
            <a:t>Team Sharing</a:t>
          </a:r>
        </a:p>
      </dgm:t>
    </dgm:pt>
    <dgm:pt modelId="{A4D9BC1F-0478-4848-A307-350FC71BAE7D}" type="parTrans" cxnId="{A8BFD3AE-0A35-4A7C-8A79-F67AE1F73E43}">
      <dgm:prSet/>
      <dgm:spPr/>
      <dgm:t>
        <a:bodyPr/>
        <a:lstStyle/>
        <a:p>
          <a:endParaRPr lang="en-US"/>
        </a:p>
      </dgm:t>
    </dgm:pt>
    <dgm:pt modelId="{E99C7F3C-0138-405F-B16F-A0579CF1B6AF}" type="sibTrans" cxnId="{A8BFD3AE-0A35-4A7C-8A79-F67AE1F73E43}">
      <dgm:prSet/>
      <dgm:spPr/>
      <dgm:t>
        <a:bodyPr/>
        <a:lstStyle/>
        <a:p>
          <a:endParaRPr lang="en-US"/>
        </a:p>
      </dgm:t>
    </dgm:pt>
    <dgm:pt modelId="{F5C98AD1-F451-4AFC-AFF2-00E57C85D549}">
      <dgm:prSet/>
      <dgm:spPr/>
      <dgm:t>
        <a:bodyPr/>
        <a:lstStyle/>
        <a:p>
          <a:pPr>
            <a:defRPr b="1"/>
          </a:pPr>
          <a:r>
            <a:rPr lang="en-US"/>
            <a:t>Rapid Response Data</a:t>
          </a:r>
        </a:p>
      </dgm:t>
    </dgm:pt>
    <dgm:pt modelId="{B4CCB3AC-84A7-439F-AC56-92A554BFCD59}" type="parTrans" cxnId="{26A9B113-3FB3-46D0-83B9-D8BD89EEEB05}">
      <dgm:prSet/>
      <dgm:spPr/>
      <dgm:t>
        <a:bodyPr/>
        <a:lstStyle/>
        <a:p>
          <a:endParaRPr lang="en-US"/>
        </a:p>
      </dgm:t>
    </dgm:pt>
    <dgm:pt modelId="{C563F9B8-97C0-4A90-8E76-539A82FE8446}" type="sibTrans" cxnId="{26A9B113-3FB3-46D0-83B9-D8BD89EEEB05}">
      <dgm:prSet/>
      <dgm:spPr/>
      <dgm:t>
        <a:bodyPr/>
        <a:lstStyle/>
        <a:p>
          <a:endParaRPr lang="en-US"/>
        </a:p>
      </dgm:t>
    </dgm:pt>
    <dgm:pt modelId="{64B76EAC-9C1C-4DC4-82AF-BF939A36121C}">
      <dgm:prSet/>
      <dgm:spPr/>
      <dgm:t>
        <a:bodyPr/>
        <a:lstStyle/>
        <a:p>
          <a:r>
            <a:rPr lang="en-US"/>
            <a:t>Monthly Data Entry</a:t>
          </a:r>
        </a:p>
      </dgm:t>
    </dgm:pt>
    <dgm:pt modelId="{DA007117-E0DE-44F1-A85D-3C51CAF69F34}" type="parTrans" cxnId="{0A520940-1018-41B8-83CB-7A63C2FDD3D9}">
      <dgm:prSet/>
      <dgm:spPr/>
      <dgm:t>
        <a:bodyPr/>
        <a:lstStyle/>
        <a:p>
          <a:endParaRPr lang="en-US"/>
        </a:p>
      </dgm:t>
    </dgm:pt>
    <dgm:pt modelId="{CE391CCC-D08C-4B53-BA7F-EDDBBEA9AB07}" type="sibTrans" cxnId="{0A520940-1018-41B8-83CB-7A63C2FDD3D9}">
      <dgm:prSet/>
      <dgm:spPr/>
      <dgm:t>
        <a:bodyPr/>
        <a:lstStyle/>
        <a:p>
          <a:endParaRPr lang="en-US"/>
        </a:p>
      </dgm:t>
    </dgm:pt>
    <dgm:pt modelId="{B580D56B-417B-4BCF-9406-169DE9EDDBF9}">
      <dgm:prSet/>
      <dgm:spPr/>
      <dgm:t>
        <a:bodyPr/>
        <a:lstStyle/>
        <a:p>
          <a:r>
            <a:rPr lang="en-US"/>
            <a:t>Access to Data Reports </a:t>
          </a:r>
        </a:p>
      </dgm:t>
    </dgm:pt>
    <dgm:pt modelId="{CB3D8F51-3BAE-484B-BDB4-770D885B6CD2}" type="parTrans" cxnId="{B3057C9F-94FA-4798-9C49-080D534EBE7B}">
      <dgm:prSet/>
      <dgm:spPr/>
      <dgm:t>
        <a:bodyPr/>
        <a:lstStyle/>
        <a:p>
          <a:endParaRPr lang="en-US"/>
        </a:p>
      </dgm:t>
    </dgm:pt>
    <dgm:pt modelId="{974A51A1-6F96-488F-893B-50E7EB7E872C}" type="sibTrans" cxnId="{B3057C9F-94FA-4798-9C49-080D534EBE7B}">
      <dgm:prSet/>
      <dgm:spPr/>
      <dgm:t>
        <a:bodyPr/>
        <a:lstStyle/>
        <a:p>
          <a:endParaRPr lang="en-US"/>
        </a:p>
      </dgm:t>
    </dgm:pt>
    <dgm:pt modelId="{EC79CCAE-5110-48F6-9AE6-019F73602BC5}">
      <dgm:prSet/>
      <dgm:spPr/>
      <dgm:t>
        <a:bodyPr/>
        <a:lstStyle/>
        <a:p>
          <a:pPr>
            <a:defRPr b="1"/>
          </a:pPr>
          <a:r>
            <a:rPr lang="en-US"/>
            <a:t>QI Support</a:t>
          </a:r>
        </a:p>
      </dgm:t>
    </dgm:pt>
    <dgm:pt modelId="{A324855A-B167-4647-B304-CB21930224E4}" type="parTrans" cxnId="{0AD9A814-2777-448F-8888-2A545FECBEE2}">
      <dgm:prSet/>
      <dgm:spPr/>
      <dgm:t>
        <a:bodyPr/>
        <a:lstStyle/>
        <a:p>
          <a:endParaRPr lang="en-US"/>
        </a:p>
      </dgm:t>
    </dgm:pt>
    <dgm:pt modelId="{E624BFD1-CF4C-445D-88B1-875C0D7AD488}" type="sibTrans" cxnId="{0AD9A814-2777-448F-8888-2A545FECBEE2}">
      <dgm:prSet/>
      <dgm:spPr/>
      <dgm:t>
        <a:bodyPr/>
        <a:lstStyle/>
        <a:p>
          <a:endParaRPr lang="en-US"/>
        </a:p>
      </dgm:t>
    </dgm:pt>
    <dgm:pt modelId="{D02C7D0D-E6AC-40F8-99E2-16E86FD0DB8E}">
      <dgm:prSet/>
      <dgm:spPr/>
      <dgm:t>
        <a:bodyPr/>
        <a:lstStyle/>
        <a:p>
          <a:r>
            <a:rPr lang="en-US"/>
            <a:t>Qaurterly outreach from ILPQC</a:t>
          </a:r>
        </a:p>
      </dgm:t>
    </dgm:pt>
    <dgm:pt modelId="{C2960A4A-50EB-4B85-8A14-495A8711C38A}" type="parTrans" cxnId="{5EDA28F8-5FA7-4DE3-B299-27B03CA4901B}">
      <dgm:prSet/>
      <dgm:spPr/>
      <dgm:t>
        <a:bodyPr/>
        <a:lstStyle/>
        <a:p>
          <a:endParaRPr lang="en-US"/>
        </a:p>
      </dgm:t>
    </dgm:pt>
    <dgm:pt modelId="{4861975A-E2E7-4694-B5EA-F4E4FCA6DE33}" type="sibTrans" cxnId="{5EDA28F8-5FA7-4DE3-B299-27B03CA4901B}">
      <dgm:prSet/>
      <dgm:spPr/>
      <dgm:t>
        <a:bodyPr/>
        <a:lstStyle/>
        <a:p>
          <a:endParaRPr lang="en-US"/>
        </a:p>
      </dgm:t>
    </dgm:pt>
    <dgm:pt modelId="{3571E729-076F-461E-9331-4C0348EC85A2}">
      <dgm:prSet/>
      <dgm:spPr/>
      <dgm:t>
        <a:bodyPr/>
        <a:lstStyle/>
        <a:p>
          <a:r>
            <a:rPr lang="en-US"/>
            <a:t>1-1 QI Support Meetings</a:t>
          </a:r>
        </a:p>
      </dgm:t>
    </dgm:pt>
    <dgm:pt modelId="{88795295-174A-4135-8136-2722963A907C}" type="parTrans" cxnId="{EDC4D748-E2EA-405D-AF07-45CC33B607BE}">
      <dgm:prSet/>
      <dgm:spPr/>
      <dgm:t>
        <a:bodyPr/>
        <a:lstStyle/>
        <a:p>
          <a:endParaRPr lang="en-US"/>
        </a:p>
      </dgm:t>
    </dgm:pt>
    <dgm:pt modelId="{88BFD4C6-8563-4082-8B3E-1DD6681F7CC3}" type="sibTrans" cxnId="{EDC4D748-E2EA-405D-AF07-45CC33B607BE}">
      <dgm:prSet/>
      <dgm:spPr/>
      <dgm:t>
        <a:bodyPr/>
        <a:lstStyle/>
        <a:p>
          <a:endParaRPr lang="en-US"/>
        </a:p>
      </dgm:t>
    </dgm:pt>
    <dgm:pt modelId="{1651B58A-4E08-4B4A-AE77-CC82703192C0}" type="pres">
      <dgm:prSet presAssocID="{8430BAD0-BABA-45AA-9F9C-64365E6BFC3B}" presName="root" presStyleCnt="0">
        <dgm:presLayoutVars>
          <dgm:dir/>
          <dgm:resizeHandles val="exact"/>
        </dgm:presLayoutVars>
      </dgm:prSet>
      <dgm:spPr/>
    </dgm:pt>
    <dgm:pt modelId="{16D72F8F-CFA8-41D8-AFA7-5861D49F7000}" type="pres">
      <dgm:prSet presAssocID="{953405DE-6267-4957-8F92-170837222670}" presName="compNode" presStyleCnt="0"/>
      <dgm:spPr/>
    </dgm:pt>
    <dgm:pt modelId="{CAB7F7FF-D825-4E5D-9D5B-AB2877DE1C42}" type="pres">
      <dgm:prSet presAssocID="{953405DE-6267-4957-8F92-170837222670}"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Teacher"/>
        </a:ext>
      </dgm:extLst>
    </dgm:pt>
    <dgm:pt modelId="{4D801FEC-12CB-46D6-824C-C566C5711347}" type="pres">
      <dgm:prSet presAssocID="{953405DE-6267-4957-8F92-170837222670}" presName="iconSpace" presStyleCnt="0"/>
      <dgm:spPr/>
    </dgm:pt>
    <dgm:pt modelId="{4462BD9C-A33E-434C-BDD3-AE9F5CCDA835}" type="pres">
      <dgm:prSet presAssocID="{953405DE-6267-4957-8F92-170837222670}" presName="parTx" presStyleLbl="revTx" presStyleIdx="0" presStyleCnt="6">
        <dgm:presLayoutVars>
          <dgm:chMax val="0"/>
          <dgm:chPref val="0"/>
        </dgm:presLayoutVars>
      </dgm:prSet>
      <dgm:spPr/>
    </dgm:pt>
    <dgm:pt modelId="{E41B91A9-8264-4E06-A95D-D74765AB352F}" type="pres">
      <dgm:prSet presAssocID="{953405DE-6267-4957-8F92-170837222670}" presName="txSpace" presStyleCnt="0"/>
      <dgm:spPr/>
    </dgm:pt>
    <dgm:pt modelId="{3101DFFC-2148-4129-B07B-84D5C052CF49}" type="pres">
      <dgm:prSet presAssocID="{953405DE-6267-4957-8F92-170837222670}" presName="desTx" presStyleLbl="revTx" presStyleIdx="1" presStyleCnt="6">
        <dgm:presLayoutVars/>
      </dgm:prSet>
      <dgm:spPr/>
    </dgm:pt>
    <dgm:pt modelId="{C647F7C5-64DE-4330-A219-7F4C42F4257D}" type="pres">
      <dgm:prSet presAssocID="{3CAC77EF-B213-49C9-A943-5022AF93E48C}" presName="sibTrans" presStyleCnt="0"/>
      <dgm:spPr/>
    </dgm:pt>
    <dgm:pt modelId="{79ADEB9B-477E-462D-8B55-D6C1D3FBB481}" type="pres">
      <dgm:prSet presAssocID="{F5C98AD1-F451-4AFC-AFF2-00E57C85D549}" presName="compNode" presStyleCnt="0"/>
      <dgm:spPr/>
    </dgm:pt>
    <dgm:pt modelId="{74B852B9-9EFE-4F4F-8DA8-5A6AA2619D5B}" type="pres">
      <dgm:prSet presAssocID="{F5C98AD1-F451-4AFC-AFF2-00E57C85D549}"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ar chart"/>
        </a:ext>
      </dgm:extLst>
    </dgm:pt>
    <dgm:pt modelId="{7E5FC3FA-AB46-4F33-AB46-A6D0035587F6}" type="pres">
      <dgm:prSet presAssocID="{F5C98AD1-F451-4AFC-AFF2-00E57C85D549}" presName="iconSpace" presStyleCnt="0"/>
      <dgm:spPr/>
    </dgm:pt>
    <dgm:pt modelId="{5FF94DEC-38DE-4948-85C8-9110C557CCCB}" type="pres">
      <dgm:prSet presAssocID="{F5C98AD1-F451-4AFC-AFF2-00E57C85D549}" presName="parTx" presStyleLbl="revTx" presStyleIdx="2" presStyleCnt="6">
        <dgm:presLayoutVars>
          <dgm:chMax val="0"/>
          <dgm:chPref val="0"/>
        </dgm:presLayoutVars>
      </dgm:prSet>
      <dgm:spPr/>
    </dgm:pt>
    <dgm:pt modelId="{32F6D08D-8D21-4700-A61D-BBEDA1622807}" type="pres">
      <dgm:prSet presAssocID="{F5C98AD1-F451-4AFC-AFF2-00E57C85D549}" presName="txSpace" presStyleCnt="0"/>
      <dgm:spPr/>
    </dgm:pt>
    <dgm:pt modelId="{FC8A97E8-39A9-46D2-91B0-8AAE8886CDA5}" type="pres">
      <dgm:prSet presAssocID="{F5C98AD1-F451-4AFC-AFF2-00E57C85D549}" presName="desTx" presStyleLbl="revTx" presStyleIdx="3" presStyleCnt="6">
        <dgm:presLayoutVars/>
      </dgm:prSet>
      <dgm:spPr/>
    </dgm:pt>
    <dgm:pt modelId="{976714AD-DC7F-4334-A446-8439D13BA5E7}" type="pres">
      <dgm:prSet presAssocID="{C563F9B8-97C0-4A90-8E76-539A82FE8446}" presName="sibTrans" presStyleCnt="0"/>
      <dgm:spPr/>
    </dgm:pt>
    <dgm:pt modelId="{3D880733-A1D4-4235-9A5D-D9B65BD65535}" type="pres">
      <dgm:prSet presAssocID="{EC79CCAE-5110-48F6-9AE6-019F73602BC5}" presName="compNode" presStyleCnt="0"/>
      <dgm:spPr/>
    </dgm:pt>
    <dgm:pt modelId="{5BF6BBB7-32AF-4CBF-AB04-30FCA14B0B79}" type="pres">
      <dgm:prSet presAssocID="{EC79CCAE-5110-48F6-9AE6-019F73602BC5}"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Meeting"/>
        </a:ext>
      </dgm:extLst>
    </dgm:pt>
    <dgm:pt modelId="{7DE8F725-83AF-4A37-B7E0-17318FA1E0CD}" type="pres">
      <dgm:prSet presAssocID="{EC79CCAE-5110-48F6-9AE6-019F73602BC5}" presName="iconSpace" presStyleCnt="0"/>
      <dgm:spPr/>
    </dgm:pt>
    <dgm:pt modelId="{194CC0D0-8D84-4D09-83FE-C3EC7A75C37F}" type="pres">
      <dgm:prSet presAssocID="{EC79CCAE-5110-48F6-9AE6-019F73602BC5}" presName="parTx" presStyleLbl="revTx" presStyleIdx="4" presStyleCnt="6">
        <dgm:presLayoutVars>
          <dgm:chMax val="0"/>
          <dgm:chPref val="0"/>
        </dgm:presLayoutVars>
      </dgm:prSet>
      <dgm:spPr/>
    </dgm:pt>
    <dgm:pt modelId="{B3794AD9-DD08-464B-9561-CE1597CF1EB6}" type="pres">
      <dgm:prSet presAssocID="{EC79CCAE-5110-48F6-9AE6-019F73602BC5}" presName="txSpace" presStyleCnt="0"/>
      <dgm:spPr/>
    </dgm:pt>
    <dgm:pt modelId="{7C3F0027-033F-4438-954B-4F73346E60F5}" type="pres">
      <dgm:prSet presAssocID="{EC79CCAE-5110-48F6-9AE6-019F73602BC5}" presName="desTx" presStyleLbl="revTx" presStyleIdx="5" presStyleCnt="6">
        <dgm:presLayoutVars/>
      </dgm:prSet>
      <dgm:spPr/>
    </dgm:pt>
  </dgm:ptLst>
  <dgm:cxnLst>
    <dgm:cxn modelId="{F6022D02-4872-467F-9798-03C70B4ED1C6}" type="presOf" srcId="{EC79CCAE-5110-48F6-9AE6-019F73602BC5}" destId="{194CC0D0-8D84-4D09-83FE-C3EC7A75C37F}" srcOrd="0" destOrd="0" presId="urn:microsoft.com/office/officeart/2018/5/layout/CenteredIconLabelDescriptionList"/>
    <dgm:cxn modelId="{DEE02312-E6FF-4916-B808-68FB3292FFDE}" type="presOf" srcId="{F5C98AD1-F451-4AFC-AFF2-00E57C85D549}" destId="{5FF94DEC-38DE-4948-85C8-9110C557CCCB}" srcOrd="0" destOrd="0" presId="urn:microsoft.com/office/officeart/2018/5/layout/CenteredIconLabelDescriptionList"/>
    <dgm:cxn modelId="{26A9B113-3FB3-46D0-83B9-D8BD89EEEB05}" srcId="{8430BAD0-BABA-45AA-9F9C-64365E6BFC3B}" destId="{F5C98AD1-F451-4AFC-AFF2-00E57C85D549}" srcOrd="1" destOrd="0" parTransId="{B4CCB3AC-84A7-439F-AC56-92A554BFCD59}" sibTransId="{C563F9B8-97C0-4A90-8E76-539A82FE8446}"/>
    <dgm:cxn modelId="{0AD9A814-2777-448F-8888-2A545FECBEE2}" srcId="{8430BAD0-BABA-45AA-9F9C-64365E6BFC3B}" destId="{EC79CCAE-5110-48F6-9AE6-019F73602BC5}" srcOrd="2" destOrd="0" parTransId="{A324855A-B167-4647-B304-CB21930224E4}" sibTransId="{E624BFD1-CF4C-445D-88B1-875C0D7AD488}"/>
    <dgm:cxn modelId="{6B402125-4F4E-45D8-B24D-22F74CC3832D}" type="presOf" srcId="{B580D56B-417B-4BCF-9406-169DE9EDDBF9}" destId="{FC8A97E8-39A9-46D2-91B0-8AAE8886CDA5}" srcOrd="0" destOrd="1" presId="urn:microsoft.com/office/officeart/2018/5/layout/CenteredIconLabelDescriptionList"/>
    <dgm:cxn modelId="{E0CE212B-0CCD-4167-9B27-B1A9E1AFE74F}" type="presOf" srcId="{66F4987E-1719-4A03-8DD4-EF3646AAAEB1}" destId="{3101DFFC-2148-4129-B07B-84D5C052CF49}" srcOrd="0" destOrd="1" presId="urn:microsoft.com/office/officeart/2018/5/layout/CenteredIconLabelDescriptionList"/>
    <dgm:cxn modelId="{0A520940-1018-41B8-83CB-7A63C2FDD3D9}" srcId="{F5C98AD1-F451-4AFC-AFF2-00E57C85D549}" destId="{64B76EAC-9C1C-4DC4-82AF-BF939A36121C}" srcOrd="0" destOrd="0" parTransId="{DA007117-E0DE-44F1-A85D-3C51CAF69F34}" sibTransId="{CE391CCC-D08C-4B53-BA7F-EDDBBEA9AB07}"/>
    <dgm:cxn modelId="{FCA6A75F-C2FE-4E4A-B542-09852C95EDCE}" type="presOf" srcId="{D02C7D0D-E6AC-40F8-99E2-16E86FD0DB8E}" destId="{7C3F0027-033F-4438-954B-4F73346E60F5}" srcOrd="0" destOrd="0" presId="urn:microsoft.com/office/officeart/2018/5/layout/CenteredIconLabelDescriptionList"/>
    <dgm:cxn modelId="{FB663045-7378-4B1F-A206-1B6ED1CF62E1}" type="presOf" srcId="{3571E729-076F-461E-9331-4C0348EC85A2}" destId="{7C3F0027-033F-4438-954B-4F73346E60F5}" srcOrd="0" destOrd="1" presId="urn:microsoft.com/office/officeart/2018/5/layout/CenteredIconLabelDescriptionList"/>
    <dgm:cxn modelId="{54206968-15E7-482E-9BB6-5E8A0FE82680}" type="presOf" srcId="{8430BAD0-BABA-45AA-9F9C-64365E6BFC3B}" destId="{1651B58A-4E08-4B4A-AE77-CC82703192C0}" srcOrd="0" destOrd="0" presId="urn:microsoft.com/office/officeart/2018/5/layout/CenteredIconLabelDescriptionList"/>
    <dgm:cxn modelId="{EDC4D748-E2EA-405D-AF07-45CC33B607BE}" srcId="{EC79CCAE-5110-48F6-9AE6-019F73602BC5}" destId="{3571E729-076F-461E-9331-4C0348EC85A2}" srcOrd="1" destOrd="0" parTransId="{88795295-174A-4135-8136-2722963A907C}" sibTransId="{88BFD4C6-8563-4082-8B3E-1DD6681F7CC3}"/>
    <dgm:cxn modelId="{508CA74B-C366-4E89-B951-0DBA6F81266A}" type="presOf" srcId="{64B76EAC-9C1C-4DC4-82AF-BF939A36121C}" destId="{FC8A97E8-39A9-46D2-91B0-8AAE8886CDA5}" srcOrd="0" destOrd="0" presId="urn:microsoft.com/office/officeart/2018/5/layout/CenteredIconLabelDescriptionList"/>
    <dgm:cxn modelId="{12E9037D-DD2E-445A-97F6-37958C211642}" type="presOf" srcId="{953405DE-6267-4957-8F92-170837222670}" destId="{4462BD9C-A33E-434C-BDD3-AE9F5CCDA835}" srcOrd="0" destOrd="0" presId="urn:microsoft.com/office/officeart/2018/5/layout/CenteredIconLabelDescriptionList"/>
    <dgm:cxn modelId="{A2875581-AB1D-48A7-8367-9C6397E7DD4B}" srcId="{8430BAD0-BABA-45AA-9F9C-64365E6BFC3B}" destId="{953405DE-6267-4957-8F92-170837222670}" srcOrd="0" destOrd="0" parTransId="{BC2BB700-FE9B-4EC9-8354-3B9299A55EEE}" sibTransId="{3CAC77EF-B213-49C9-A943-5022AF93E48C}"/>
    <dgm:cxn modelId="{EBA0F39E-7329-4BD3-9531-1A1BC8E176E6}" srcId="{953405DE-6267-4957-8F92-170837222670}" destId="{66F4987E-1719-4A03-8DD4-EF3646AAAEB1}" srcOrd="1" destOrd="0" parTransId="{FCC193A1-B9FA-4477-AAE4-8B035E4AFB45}" sibTransId="{2AA6BAB7-C382-4393-9859-4C7C3527CA9D}"/>
    <dgm:cxn modelId="{B3057C9F-94FA-4798-9C49-080D534EBE7B}" srcId="{F5C98AD1-F451-4AFC-AFF2-00E57C85D549}" destId="{B580D56B-417B-4BCF-9406-169DE9EDDBF9}" srcOrd="1" destOrd="0" parTransId="{CB3D8F51-3BAE-484B-BDB4-770D885B6CD2}" sibTransId="{974A51A1-6F96-488F-893B-50E7EB7E872C}"/>
    <dgm:cxn modelId="{2303A8A0-3105-4B96-B8BC-DE821E04DE97}" type="presOf" srcId="{04019DCE-A8E9-448A-AC7D-A7A35D72ECEC}" destId="{3101DFFC-2148-4129-B07B-84D5C052CF49}" srcOrd="0" destOrd="0" presId="urn:microsoft.com/office/officeart/2018/5/layout/CenteredIconLabelDescriptionList"/>
    <dgm:cxn modelId="{A8BFD3AE-0A35-4A7C-8A79-F67AE1F73E43}" srcId="{953405DE-6267-4957-8F92-170837222670}" destId="{D8BB893E-8006-46B3-81EA-4F3DC95B12DE}" srcOrd="2" destOrd="0" parTransId="{A4D9BC1F-0478-4848-A307-350FC71BAE7D}" sibTransId="{E99C7F3C-0138-405F-B16F-A0579CF1B6AF}"/>
    <dgm:cxn modelId="{721DEFBA-88AD-4782-B923-863BC45F43BC}" srcId="{953405DE-6267-4957-8F92-170837222670}" destId="{04019DCE-A8E9-448A-AC7D-A7A35D72ECEC}" srcOrd="0" destOrd="0" parTransId="{0F9E3096-2E25-466D-8358-2FCD0DE08D0E}" sibTransId="{18E994F0-03A4-4158-B838-842D5F2DCA4E}"/>
    <dgm:cxn modelId="{893538D9-F78C-48D1-BF84-8164E16A2A5A}" type="presOf" srcId="{D8BB893E-8006-46B3-81EA-4F3DC95B12DE}" destId="{3101DFFC-2148-4129-B07B-84D5C052CF49}" srcOrd="0" destOrd="2" presId="urn:microsoft.com/office/officeart/2018/5/layout/CenteredIconLabelDescriptionList"/>
    <dgm:cxn modelId="{5EDA28F8-5FA7-4DE3-B299-27B03CA4901B}" srcId="{EC79CCAE-5110-48F6-9AE6-019F73602BC5}" destId="{D02C7D0D-E6AC-40F8-99E2-16E86FD0DB8E}" srcOrd="0" destOrd="0" parTransId="{C2960A4A-50EB-4B85-8A14-495A8711C38A}" sibTransId="{4861975A-E2E7-4694-B5EA-F4E4FCA6DE33}"/>
    <dgm:cxn modelId="{CAA0B9D8-96DE-4956-98E5-9FA1CBD8D459}" type="presParOf" srcId="{1651B58A-4E08-4B4A-AE77-CC82703192C0}" destId="{16D72F8F-CFA8-41D8-AFA7-5861D49F7000}" srcOrd="0" destOrd="0" presId="urn:microsoft.com/office/officeart/2018/5/layout/CenteredIconLabelDescriptionList"/>
    <dgm:cxn modelId="{E0B8EB2F-A2DC-407D-8974-AE03BEBA2909}" type="presParOf" srcId="{16D72F8F-CFA8-41D8-AFA7-5861D49F7000}" destId="{CAB7F7FF-D825-4E5D-9D5B-AB2877DE1C42}" srcOrd="0" destOrd="0" presId="urn:microsoft.com/office/officeart/2018/5/layout/CenteredIconLabelDescriptionList"/>
    <dgm:cxn modelId="{03E03855-1C3B-4CED-B71B-4CCB9E99B1D0}" type="presParOf" srcId="{16D72F8F-CFA8-41D8-AFA7-5861D49F7000}" destId="{4D801FEC-12CB-46D6-824C-C566C5711347}" srcOrd="1" destOrd="0" presId="urn:microsoft.com/office/officeart/2018/5/layout/CenteredIconLabelDescriptionList"/>
    <dgm:cxn modelId="{78813EDC-6687-449A-ACF4-C8F1D7C6FB49}" type="presParOf" srcId="{16D72F8F-CFA8-41D8-AFA7-5861D49F7000}" destId="{4462BD9C-A33E-434C-BDD3-AE9F5CCDA835}" srcOrd="2" destOrd="0" presId="urn:microsoft.com/office/officeart/2018/5/layout/CenteredIconLabelDescriptionList"/>
    <dgm:cxn modelId="{CBE00500-41CA-41F0-8556-B12F27128C5A}" type="presParOf" srcId="{16D72F8F-CFA8-41D8-AFA7-5861D49F7000}" destId="{E41B91A9-8264-4E06-A95D-D74765AB352F}" srcOrd="3" destOrd="0" presId="urn:microsoft.com/office/officeart/2018/5/layout/CenteredIconLabelDescriptionList"/>
    <dgm:cxn modelId="{8A8D2B11-0CEC-4EAC-8B85-3F5117BBC954}" type="presParOf" srcId="{16D72F8F-CFA8-41D8-AFA7-5861D49F7000}" destId="{3101DFFC-2148-4129-B07B-84D5C052CF49}" srcOrd="4" destOrd="0" presId="urn:microsoft.com/office/officeart/2018/5/layout/CenteredIconLabelDescriptionList"/>
    <dgm:cxn modelId="{4F455173-882E-41C7-ADFA-CA916478F128}" type="presParOf" srcId="{1651B58A-4E08-4B4A-AE77-CC82703192C0}" destId="{C647F7C5-64DE-4330-A219-7F4C42F4257D}" srcOrd="1" destOrd="0" presId="urn:microsoft.com/office/officeart/2018/5/layout/CenteredIconLabelDescriptionList"/>
    <dgm:cxn modelId="{B31DECA3-C7DA-47E8-87D1-5179F73E7688}" type="presParOf" srcId="{1651B58A-4E08-4B4A-AE77-CC82703192C0}" destId="{79ADEB9B-477E-462D-8B55-D6C1D3FBB481}" srcOrd="2" destOrd="0" presId="urn:microsoft.com/office/officeart/2018/5/layout/CenteredIconLabelDescriptionList"/>
    <dgm:cxn modelId="{8D00D8C8-7760-4F29-B986-00CF9322FBBB}" type="presParOf" srcId="{79ADEB9B-477E-462D-8B55-D6C1D3FBB481}" destId="{74B852B9-9EFE-4F4F-8DA8-5A6AA2619D5B}" srcOrd="0" destOrd="0" presId="urn:microsoft.com/office/officeart/2018/5/layout/CenteredIconLabelDescriptionList"/>
    <dgm:cxn modelId="{48AE381E-4165-4D33-A3BB-A4A44B3F9D13}" type="presParOf" srcId="{79ADEB9B-477E-462D-8B55-D6C1D3FBB481}" destId="{7E5FC3FA-AB46-4F33-AB46-A6D0035587F6}" srcOrd="1" destOrd="0" presId="urn:microsoft.com/office/officeart/2018/5/layout/CenteredIconLabelDescriptionList"/>
    <dgm:cxn modelId="{7E291FA9-20BE-4AE1-8D4A-CE4309E98B09}" type="presParOf" srcId="{79ADEB9B-477E-462D-8B55-D6C1D3FBB481}" destId="{5FF94DEC-38DE-4948-85C8-9110C557CCCB}" srcOrd="2" destOrd="0" presId="urn:microsoft.com/office/officeart/2018/5/layout/CenteredIconLabelDescriptionList"/>
    <dgm:cxn modelId="{AC90D17A-F313-47B4-9D58-E57FF62CF3F5}" type="presParOf" srcId="{79ADEB9B-477E-462D-8B55-D6C1D3FBB481}" destId="{32F6D08D-8D21-4700-A61D-BBEDA1622807}" srcOrd="3" destOrd="0" presId="urn:microsoft.com/office/officeart/2018/5/layout/CenteredIconLabelDescriptionList"/>
    <dgm:cxn modelId="{B045AD30-B58B-4757-9BB7-3C3822542F19}" type="presParOf" srcId="{79ADEB9B-477E-462D-8B55-D6C1D3FBB481}" destId="{FC8A97E8-39A9-46D2-91B0-8AAE8886CDA5}" srcOrd="4" destOrd="0" presId="urn:microsoft.com/office/officeart/2018/5/layout/CenteredIconLabelDescriptionList"/>
    <dgm:cxn modelId="{F10A8DA8-C381-4F3C-A8F6-CA9CE5B8D61E}" type="presParOf" srcId="{1651B58A-4E08-4B4A-AE77-CC82703192C0}" destId="{976714AD-DC7F-4334-A446-8439D13BA5E7}" srcOrd="3" destOrd="0" presId="urn:microsoft.com/office/officeart/2018/5/layout/CenteredIconLabelDescriptionList"/>
    <dgm:cxn modelId="{560F579F-14EF-4F13-94A9-B5976AB84655}" type="presParOf" srcId="{1651B58A-4E08-4B4A-AE77-CC82703192C0}" destId="{3D880733-A1D4-4235-9A5D-D9B65BD65535}" srcOrd="4" destOrd="0" presId="urn:microsoft.com/office/officeart/2018/5/layout/CenteredIconLabelDescriptionList"/>
    <dgm:cxn modelId="{9856A234-D421-49F4-9EC0-949555293C92}" type="presParOf" srcId="{3D880733-A1D4-4235-9A5D-D9B65BD65535}" destId="{5BF6BBB7-32AF-4CBF-AB04-30FCA14B0B79}" srcOrd="0" destOrd="0" presId="urn:microsoft.com/office/officeart/2018/5/layout/CenteredIconLabelDescriptionList"/>
    <dgm:cxn modelId="{8B6245CF-4B2E-4171-BAAD-5C75D9231C51}" type="presParOf" srcId="{3D880733-A1D4-4235-9A5D-D9B65BD65535}" destId="{7DE8F725-83AF-4A37-B7E0-17318FA1E0CD}" srcOrd="1" destOrd="0" presId="urn:microsoft.com/office/officeart/2018/5/layout/CenteredIconLabelDescriptionList"/>
    <dgm:cxn modelId="{4E2CDAD2-0207-448F-B548-4A2765CBD6D8}" type="presParOf" srcId="{3D880733-A1D4-4235-9A5D-D9B65BD65535}" destId="{194CC0D0-8D84-4D09-83FE-C3EC7A75C37F}" srcOrd="2" destOrd="0" presId="urn:microsoft.com/office/officeart/2018/5/layout/CenteredIconLabelDescriptionList"/>
    <dgm:cxn modelId="{B707AD28-C9A0-406C-AD6A-47EDB5C2B5E9}" type="presParOf" srcId="{3D880733-A1D4-4235-9A5D-D9B65BD65535}" destId="{B3794AD9-DD08-464B-9561-CE1597CF1EB6}" srcOrd="3" destOrd="0" presId="urn:microsoft.com/office/officeart/2018/5/layout/CenteredIconLabelDescriptionList"/>
    <dgm:cxn modelId="{8D317186-DBA5-4431-93CE-1D8C88096F97}" type="presParOf" srcId="{3D880733-A1D4-4235-9A5D-D9B65BD65535}" destId="{7C3F0027-033F-4438-954B-4F73346E60F5}" srcOrd="4" destOrd="0" presId="urn:microsoft.com/office/officeart/2018/5/layout/CenteredIconLabelDescrip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70A0707-0F8F-40A1-A91A-D27405BECFC9}"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CEE8F3D3-C75F-4B02-B0E2-6D95973DC235}">
      <dgm:prSet/>
      <dgm:spPr/>
      <dgm:t>
        <a:bodyPr/>
        <a:lstStyle/>
        <a:p>
          <a:r>
            <a:rPr lang="en-US" b="0" i="0" dirty="0"/>
            <a:t>At your first meeting discuss</a:t>
          </a:r>
          <a:r>
            <a:rPr lang="en-US" b="0" i="0" dirty="0">
              <a:latin typeface="Calibri" panose="020F0502020204030204"/>
            </a:rPr>
            <a:t>:</a:t>
          </a:r>
          <a:endParaRPr lang="en-US" dirty="0"/>
        </a:p>
      </dgm:t>
    </dgm:pt>
    <dgm:pt modelId="{9F5EB168-EC81-4D8B-94C9-CF8A9A4AEABB}" type="parTrans" cxnId="{3BD7C13F-2FC0-498A-9079-4EBF33EB3ED3}">
      <dgm:prSet/>
      <dgm:spPr/>
      <dgm:t>
        <a:bodyPr/>
        <a:lstStyle/>
        <a:p>
          <a:endParaRPr lang="en-US"/>
        </a:p>
      </dgm:t>
    </dgm:pt>
    <dgm:pt modelId="{C1C76F62-26E8-414A-96B0-870A64471EAD}" type="sibTrans" cxnId="{3BD7C13F-2FC0-498A-9079-4EBF33EB3ED3}">
      <dgm:prSet/>
      <dgm:spPr/>
      <dgm:t>
        <a:bodyPr/>
        <a:lstStyle/>
        <a:p>
          <a:endParaRPr lang="en-US"/>
        </a:p>
      </dgm:t>
    </dgm:pt>
    <dgm:pt modelId="{139A5F22-CE4C-4A7F-8076-89CC67B51D83}">
      <dgm:prSet/>
      <dgm:spPr/>
      <dgm:t>
        <a:bodyPr/>
        <a:lstStyle/>
        <a:p>
          <a:pPr rtl="0"/>
          <a:r>
            <a:rPr lang="en-US" b="0" i="0" dirty="0"/>
            <a:t>How often?</a:t>
          </a:r>
          <a:r>
            <a:rPr lang="en-US" b="0" i="0" dirty="0">
              <a:latin typeface="Calibri" panose="020F0502020204030204"/>
            </a:rPr>
            <a:t> </a:t>
          </a:r>
          <a:endParaRPr lang="en-US" dirty="0"/>
        </a:p>
      </dgm:t>
    </dgm:pt>
    <dgm:pt modelId="{4EA5A93E-19C5-4B8D-A7DA-A89E0E5F528C}" type="parTrans" cxnId="{BD7A3674-DCB2-4CF8-BC1F-1ADECDF2C88F}">
      <dgm:prSet/>
      <dgm:spPr/>
      <dgm:t>
        <a:bodyPr/>
        <a:lstStyle/>
        <a:p>
          <a:endParaRPr lang="en-US"/>
        </a:p>
      </dgm:t>
    </dgm:pt>
    <dgm:pt modelId="{957291DF-8A10-4689-9BC6-6063034625EA}" type="sibTrans" cxnId="{BD7A3674-DCB2-4CF8-BC1F-1ADECDF2C88F}">
      <dgm:prSet/>
      <dgm:spPr/>
      <dgm:t>
        <a:bodyPr/>
        <a:lstStyle/>
        <a:p>
          <a:endParaRPr lang="en-US"/>
        </a:p>
      </dgm:t>
    </dgm:pt>
    <dgm:pt modelId="{D2CDD9E2-9DE1-4E99-979E-4C6F3642AF85}">
      <dgm:prSet/>
      <dgm:spPr/>
      <dgm:t>
        <a:bodyPr/>
        <a:lstStyle/>
        <a:p>
          <a:r>
            <a:rPr lang="en-US" b="0" i="0" dirty="0"/>
            <a:t>Who should join?</a:t>
          </a:r>
          <a:endParaRPr lang="en-US" dirty="0"/>
        </a:p>
      </dgm:t>
    </dgm:pt>
    <dgm:pt modelId="{477D43F0-E9BE-4BF9-9143-BA574AA3CD5A}" type="parTrans" cxnId="{50C97EC6-A4A9-440E-9225-43FDE77CDDCA}">
      <dgm:prSet/>
      <dgm:spPr/>
      <dgm:t>
        <a:bodyPr/>
        <a:lstStyle/>
        <a:p>
          <a:endParaRPr lang="en-US"/>
        </a:p>
      </dgm:t>
    </dgm:pt>
    <dgm:pt modelId="{525B4D8E-79EF-4DD1-9DE8-3E727D9D876F}" type="sibTrans" cxnId="{50C97EC6-A4A9-440E-9225-43FDE77CDDCA}">
      <dgm:prSet/>
      <dgm:spPr/>
      <dgm:t>
        <a:bodyPr/>
        <a:lstStyle/>
        <a:p>
          <a:endParaRPr lang="en-US"/>
        </a:p>
      </dgm:t>
    </dgm:pt>
    <dgm:pt modelId="{6A016A0F-5A6D-4D60-B6D3-EB0CE24D2BA2}">
      <dgm:prSet/>
      <dgm:spPr/>
      <dgm:t>
        <a:bodyPr/>
        <a:lstStyle/>
        <a:p>
          <a:r>
            <a:rPr lang="en-US" b="1" i="0" u="sng" dirty="0"/>
            <a:t>Tips from Teams at AC:</a:t>
          </a:r>
          <a:endParaRPr lang="en-US" dirty="0"/>
        </a:p>
      </dgm:t>
    </dgm:pt>
    <dgm:pt modelId="{BF8A122C-BEC6-4D22-B7A3-3077B4259DDC}" type="parTrans" cxnId="{CB30E1F2-A8F3-402C-8012-00957D44A51A}">
      <dgm:prSet/>
      <dgm:spPr/>
      <dgm:t>
        <a:bodyPr/>
        <a:lstStyle/>
        <a:p>
          <a:endParaRPr lang="en-US"/>
        </a:p>
      </dgm:t>
    </dgm:pt>
    <dgm:pt modelId="{FD115C82-AB22-4B33-8DF4-212DFC4ED00C}" type="sibTrans" cxnId="{CB30E1F2-A8F3-402C-8012-00957D44A51A}">
      <dgm:prSet/>
      <dgm:spPr/>
      <dgm:t>
        <a:bodyPr/>
        <a:lstStyle/>
        <a:p>
          <a:endParaRPr lang="en-US"/>
        </a:p>
      </dgm:t>
    </dgm:pt>
    <dgm:pt modelId="{47DC7698-2F7B-4527-ABD3-AB2F1616EBA0}">
      <dgm:prSet/>
      <dgm:spPr/>
      <dgm:t>
        <a:bodyPr/>
        <a:lstStyle/>
        <a:p>
          <a:r>
            <a:rPr lang="en-US" b="0" i="0" dirty="0"/>
            <a:t>Schedule meetings on the same day and time</a:t>
          </a:r>
          <a:endParaRPr lang="en-US" dirty="0"/>
        </a:p>
      </dgm:t>
    </dgm:pt>
    <dgm:pt modelId="{4AD3FF56-6A1C-43FF-8228-DF0FB2D8B0FE}" type="parTrans" cxnId="{B2346ED4-C43F-4F5F-9C5F-F8525F110DC6}">
      <dgm:prSet/>
      <dgm:spPr/>
      <dgm:t>
        <a:bodyPr/>
        <a:lstStyle/>
        <a:p>
          <a:endParaRPr lang="en-US"/>
        </a:p>
      </dgm:t>
    </dgm:pt>
    <dgm:pt modelId="{C85AB96B-AA22-45BC-B149-ED45414D63F5}" type="sibTrans" cxnId="{B2346ED4-C43F-4F5F-9C5F-F8525F110DC6}">
      <dgm:prSet/>
      <dgm:spPr/>
      <dgm:t>
        <a:bodyPr/>
        <a:lstStyle/>
        <a:p>
          <a:endParaRPr lang="en-US"/>
        </a:p>
      </dgm:t>
    </dgm:pt>
    <dgm:pt modelId="{90DD9897-92D8-4F57-AE9D-4F385590DA86}">
      <dgm:prSet/>
      <dgm:spPr/>
      <dgm:t>
        <a:bodyPr/>
        <a:lstStyle/>
        <a:p>
          <a:pPr rtl="0"/>
          <a:r>
            <a:rPr lang="en-US" b="0" i="0" dirty="0"/>
            <a:t>Set a time limit</a:t>
          </a:r>
          <a:r>
            <a:rPr lang="en-US" b="0" i="0" dirty="0">
              <a:latin typeface="Calibri" panose="020F0502020204030204"/>
            </a:rPr>
            <a:t> </a:t>
          </a:r>
          <a:endParaRPr lang="en-US" dirty="0"/>
        </a:p>
      </dgm:t>
    </dgm:pt>
    <dgm:pt modelId="{CD4FD024-1BE8-44C8-AFA2-EE19C360D8E4}" type="parTrans" cxnId="{AEFE5911-90A8-48D4-ACFC-D7A54617685E}">
      <dgm:prSet/>
      <dgm:spPr/>
      <dgm:t>
        <a:bodyPr/>
        <a:lstStyle/>
        <a:p>
          <a:endParaRPr lang="en-US"/>
        </a:p>
      </dgm:t>
    </dgm:pt>
    <dgm:pt modelId="{CB7EEF1D-AE1D-4A77-B6BC-6C493419A0CD}" type="sibTrans" cxnId="{AEFE5911-90A8-48D4-ACFC-D7A54617685E}">
      <dgm:prSet/>
      <dgm:spPr/>
      <dgm:t>
        <a:bodyPr/>
        <a:lstStyle/>
        <a:p>
          <a:endParaRPr lang="en-US"/>
        </a:p>
      </dgm:t>
    </dgm:pt>
    <dgm:pt modelId="{EE4FA855-2656-4259-916B-324B92DB6848}">
      <dgm:prSet/>
      <dgm:spPr/>
      <dgm:t>
        <a:bodyPr/>
        <a:lstStyle/>
        <a:p>
          <a:pPr rtl="0"/>
          <a:r>
            <a:rPr lang="en-US" b="0" i="0" dirty="0"/>
            <a:t>Have an agenda and state meeting objectives</a:t>
          </a:r>
          <a:r>
            <a:rPr lang="en-US" b="0" i="0" dirty="0">
              <a:latin typeface="Calibri" panose="020F0502020204030204"/>
            </a:rPr>
            <a:t> </a:t>
          </a:r>
          <a:endParaRPr lang="en-US" dirty="0"/>
        </a:p>
      </dgm:t>
    </dgm:pt>
    <dgm:pt modelId="{BE4C6C55-EE54-4D2D-98BB-8476728973BD}" type="parTrans" cxnId="{BD825141-D061-4CD1-AB83-57BB0F717314}">
      <dgm:prSet/>
      <dgm:spPr/>
      <dgm:t>
        <a:bodyPr/>
        <a:lstStyle/>
        <a:p>
          <a:endParaRPr lang="en-US"/>
        </a:p>
      </dgm:t>
    </dgm:pt>
    <dgm:pt modelId="{09A10FEC-FCF5-45FA-951D-7A04037848DE}" type="sibTrans" cxnId="{BD825141-D061-4CD1-AB83-57BB0F717314}">
      <dgm:prSet/>
      <dgm:spPr/>
      <dgm:t>
        <a:bodyPr/>
        <a:lstStyle/>
        <a:p>
          <a:endParaRPr lang="en-US"/>
        </a:p>
      </dgm:t>
    </dgm:pt>
    <dgm:pt modelId="{3BFA2CAB-90F4-4D2D-BA7F-E282870BF99F}">
      <dgm:prSet/>
      <dgm:spPr/>
      <dgm:t>
        <a:bodyPr/>
        <a:lstStyle/>
        <a:p>
          <a:pPr rtl="0"/>
          <a:r>
            <a:rPr lang="en-US" b="0" i="0" dirty="0"/>
            <a:t>Review old news and achievements in the beginning</a:t>
          </a:r>
          <a:r>
            <a:rPr lang="en-US" b="0" i="0" dirty="0">
              <a:latin typeface="Calibri" panose="020F0502020204030204"/>
            </a:rPr>
            <a:t> </a:t>
          </a:r>
          <a:endParaRPr lang="en-US" dirty="0"/>
        </a:p>
      </dgm:t>
    </dgm:pt>
    <dgm:pt modelId="{94D6F4E7-09A7-42A8-8668-B18838C7151D}" type="parTrans" cxnId="{ABA11102-995D-4DC6-9C24-D08EA06D222E}">
      <dgm:prSet/>
      <dgm:spPr/>
      <dgm:t>
        <a:bodyPr/>
        <a:lstStyle/>
        <a:p>
          <a:endParaRPr lang="en-US"/>
        </a:p>
      </dgm:t>
    </dgm:pt>
    <dgm:pt modelId="{F66870CD-0320-4B1E-BDE7-4B2A669BC255}" type="sibTrans" cxnId="{ABA11102-995D-4DC6-9C24-D08EA06D222E}">
      <dgm:prSet/>
      <dgm:spPr/>
      <dgm:t>
        <a:bodyPr/>
        <a:lstStyle/>
        <a:p>
          <a:endParaRPr lang="en-US"/>
        </a:p>
      </dgm:t>
    </dgm:pt>
    <dgm:pt modelId="{07A4E516-B104-47B0-B7A9-6BF4D27D6863}">
      <dgm:prSet/>
      <dgm:spPr/>
      <dgm:t>
        <a:bodyPr/>
        <a:lstStyle/>
        <a:p>
          <a:r>
            <a:rPr lang="en-US" b="0" i="0" dirty="0"/>
            <a:t>Ensure there are different ways to attend meetings- live, virtual, recording</a:t>
          </a:r>
          <a:endParaRPr lang="en-US" dirty="0"/>
        </a:p>
      </dgm:t>
    </dgm:pt>
    <dgm:pt modelId="{4A6587D6-6927-4F28-BA4C-2AE6A6D416C9}" type="parTrans" cxnId="{B6078621-30E1-45AD-8583-BA092101320F}">
      <dgm:prSet/>
      <dgm:spPr/>
      <dgm:t>
        <a:bodyPr/>
        <a:lstStyle/>
        <a:p>
          <a:endParaRPr lang="en-US"/>
        </a:p>
      </dgm:t>
    </dgm:pt>
    <dgm:pt modelId="{760666F3-8E87-4712-897C-BC8F3156E45D}" type="sibTrans" cxnId="{B6078621-30E1-45AD-8583-BA092101320F}">
      <dgm:prSet/>
      <dgm:spPr/>
      <dgm:t>
        <a:bodyPr/>
        <a:lstStyle/>
        <a:p>
          <a:endParaRPr lang="en-US"/>
        </a:p>
      </dgm:t>
    </dgm:pt>
    <dgm:pt modelId="{A431962B-81FE-4CB0-AE45-263D21CDC198}" type="pres">
      <dgm:prSet presAssocID="{970A0707-0F8F-40A1-A91A-D27405BECFC9}" presName="linear" presStyleCnt="0">
        <dgm:presLayoutVars>
          <dgm:animLvl val="lvl"/>
          <dgm:resizeHandles val="exact"/>
        </dgm:presLayoutVars>
      </dgm:prSet>
      <dgm:spPr/>
    </dgm:pt>
    <dgm:pt modelId="{35368261-AEE3-40EB-959D-B071339ABA87}" type="pres">
      <dgm:prSet presAssocID="{CEE8F3D3-C75F-4B02-B0E2-6D95973DC235}" presName="parentText" presStyleLbl="node1" presStyleIdx="0" presStyleCnt="2">
        <dgm:presLayoutVars>
          <dgm:chMax val="0"/>
          <dgm:bulletEnabled val="1"/>
        </dgm:presLayoutVars>
      </dgm:prSet>
      <dgm:spPr/>
    </dgm:pt>
    <dgm:pt modelId="{EEAA2F8B-9C2C-4C65-B6FA-D7485E5103E0}" type="pres">
      <dgm:prSet presAssocID="{CEE8F3D3-C75F-4B02-B0E2-6D95973DC235}" presName="childText" presStyleLbl="revTx" presStyleIdx="0" presStyleCnt="2">
        <dgm:presLayoutVars>
          <dgm:bulletEnabled val="1"/>
        </dgm:presLayoutVars>
      </dgm:prSet>
      <dgm:spPr/>
    </dgm:pt>
    <dgm:pt modelId="{5A7E119B-54DB-432A-88F7-7896131A6EC0}" type="pres">
      <dgm:prSet presAssocID="{6A016A0F-5A6D-4D60-B6D3-EB0CE24D2BA2}" presName="parentText" presStyleLbl="node1" presStyleIdx="1" presStyleCnt="2">
        <dgm:presLayoutVars>
          <dgm:chMax val="0"/>
          <dgm:bulletEnabled val="1"/>
        </dgm:presLayoutVars>
      </dgm:prSet>
      <dgm:spPr/>
    </dgm:pt>
    <dgm:pt modelId="{2E60D2F4-3711-4957-913D-3B8FDA1058CA}" type="pres">
      <dgm:prSet presAssocID="{6A016A0F-5A6D-4D60-B6D3-EB0CE24D2BA2}" presName="childText" presStyleLbl="revTx" presStyleIdx="1" presStyleCnt="2">
        <dgm:presLayoutVars>
          <dgm:bulletEnabled val="1"/>
        </dgm:presLayoutVars>
      </dgm:prSet>
      <dgm:spPr/>
    </dgm:pt>
  </dgm:ptLst>
  <dgm:cxnLst>
    <dgm:cxn modelId="{ABA11102-995D-4DC6-9C24-D08EA06D222E}" srcId="{6A016A0F-5A6D-4D60-B6D3-EB0CE24D2BA2}" destId="{3BFA2CAB-90F4-4D2D-BA7F-E282870BF99F}" srcOrd="3" destOrd="0" parTransId="{94D6F4E7-09A7-42A8-8668-B18838C7151D}" sibTransId="{F66870CD-0320-4B1E-BDE7-4B2A669BC255}"/>
    <dgm:cxn modelId="{AEFE5911-90A8-48D4-ACFC-D7A54617685E}" srcId="{6A016A0F-5A6D-4D60-B6D3-EB0CE24D2BA2}" destId="{90DD9897-92D8-4F57-AE9D-4F385590DA86}" srcOrd="1" destOrd="0" parTransId="{CD4FD024-1BE8-44C8-AFA2-EE19C360D8E4}" sibTransId="{CB7EEF1D-AE1D-4A77-B6BC-6C493419A0CD}"/>
    <dgm:cxn modelId="{157A4413-3B81-454E-8566-8BC48F1DEF6A}" type="presOf" srcId="{90DD9897-92D8-4F57-AE9D-4F385590DA86}" destId="{2E60D2F4-3711-4957-913D-3B8FDA1058CA}" srcOrd="0" destOrd="1" presId="urn:microsoft.com/office/officeart/2005/8/layout/vList2"/>
    <dgm:cxn modelId="{DB4AE118-075F-4EB2-8E67-0804A52CFC7D}" type="presOf" srcId="{D2CDD9E2-9DE1-4E99-979E-4C6F3642AF85}" destId="{EEAA2F8B-9C2C-4C65-B6FA-D7485E5103E0}" srcOrd="0" destOrd="1" presId="urn:microsoft.com/office/officeart/2005/8/layout/vList2"/>
    <dgm:cxn modelId="{B6078621-30E1-45AD-8583-BA092101320F}" srcId="{6A016A0F-5A6D-4D60-B6D3-EB0CE24D2BA2}" destId="{07A4E516-B104-47B0-B7A9-6BF4D27D6863}" srcOrd="4" destOrd="0" parTransId="{4A6587D6-6927-4F28-BA4C-2AE6A6D416C9}" sibTransId="{760666F3-8E87-4712-897C-BC8F3156E45D}"/>
    <dgm:cxn modelId="{03CB2B30-534C-45E1-8A88-5B20FAAB2001}" type="presOf" srcId="{6A016A0F-5A6D-4D60-B6D3-EB0CE24D2BA2}" destId="{5A7E119B-54DB-432A-88F7-7896131A6EC0}" srcOrd="0" destOrd="0" presId="urn:microsoft.com/office/officeart/2005/8/layout/vList2"/>
    <dgm:cxn modelId="{320F293C-FF04-4CD7-A6D2-441153399779}" type="presOf" srcId="{139A5F22-CE4C-4A7F-8076-89CC67B51D83}" destId="{EEAA2F8B-9C2C-4C65-B6FA-D7485E5103E0}" srcOrd="0" destOrd="0" presId="urn:microsoft.com/office/officeart/2005/8/layout/vList2"/>
    <dgm:cxn modelId="{3BD7C13F-2FC0-498A-9079-4EBF33EB3ED3}" srcId="{970A0707-0F8F-40A1-A91A-D27405BECFC9}" destId="{CEE8F3D3-C75F-4B02-B0E2-6D95973DC235}" srcOrd="0" destOrd="0" parTransId="{9F5EB168-EC81-4D8B-94C9-CF8A9A4AEABB}" sibTransId="{C1C76F62-26E8-414A-96B0-870A64471EAD}"/>
    <dgm:cxn modelId="{BD825141-D061-4CD1-AB83-57BB0F717314}" srcId="{6A016A0F-5A6D-4D60-B6D3-EB0CE24D2BA2}" destId="{EE4FA855-2656-4259-916B-324B92DB6848}" srcOrd="2" destOrd="0" parTransId="{BE4C6C55-EE54-4D2D-98BB-8476728973BD}" sibTransId="{09A10FEC-FCF5-45FA-951D-7A04037848DE}"/>
    <dgm:cxn modelId="{F1A38662-4B15-4912-A70A-C1207C3FD9D9}" type="presOf" srcId="{970A0707-0F8F-40A1-A91A-D27405BECFC9}" destId="{A431962B-81FE-4CB0-AE45-263D21CDC198}" srcOrd="0" destOrd="0" presId="urn:microsoft.com/office/officeart/2005/8/layout/vList2"/>
    <dgm:cxn modelId="{5FB7656C-43D9-4C16-9ED7-70488AAAA7F1}" type="presOf" srcId="{47DC7698-2F7B-4527-ABD3-AB2F1616EBA0}" destId="{2E60D2F4-3711-4957-913D-3B8FDA1058CA}" srcOrd="0" destOrd="0" presId="urn:microsoft.com/office/officeart/2005/8/layout/vList2"/>
    <dgm:cxn modelId="{81D5B16C-22FF-43C6-9EC7-86938D28F697}" type="presOf" srcId="{CEE8F3D3-C75F-4B02-B0E2-6D95973DC235}" destId="{35368261-AEE3-40EB-959D-B071339ABA87}" srcOrd="0" destOrd="0" presId="urn:microsoft.com/office/officeart/2005/8/layout/vList2"/>
    <dgm:cxn modelId="{7A666773-6605-4D99-917A-B682A8B9DC97}" type="presOf" srcId="{EE4FA855-2656-4259-916B-324B92DB6848}" destId="{2E60D2F4-3711-4957-913D-3B8FDA1058CA}" srcOrd="0" destOrd="2" presId="urn:microsoft.com/office/officeart/2005/8/layout/vList2"/>
    <dgm:cxn modelId="{BD7A3674-DCB2-4CF8-BC1F-1ADECDF2C88F}" srcId="{CEE8F3D3-C75F-4B02-B0E2-6D95973DC235}" destId="{139A5F22-CE4C-4A7F-8076-89CC67B51D83}" srcOrd="0" destOrd="0" parTransId="{4EA5A93E-19C5-4B8D-A7DA-A89E0E5F528C}" sibTransId="{957291DF-8A10-4689-9BC6-6063034625EA}"/>
    <dgm:cxn modelId="{D9FCFC90-4259-48AF-BAAF-09AC93E6D8EA}" type="presOf" srcId="{3BFA2CAB-90F4-4D2D-BA7F-E282870BF99F}" destId="{2E60D2F4-3711-4957-913D-3B8FDA1058CA}" srcOrd="0" destOrd="3" presId="urn:microsoft.com/office/officeart/2005/8/layout/vList2"/>
    <dgm:cxn modelId="{A7B487BD-C8A9-4F7E-A94B-B88295F5DED7}" type="presOf" srcId="{07A4E516-B104-47B0-B7A9-6BF4D27D6863}" destId="{2E60D2F4-3711-4957-913D-3B8FDA1058CA}" srcOrd="0" destOrd="4" presId="urn:microsoft.com/office/officeart/2005/8/layout/vList2"/>
    <dgm:cxn modelId="{50C97EC6-A4A9-440E-9225-43FDE77CDDCA}" srcId="{CEE8F3D3-C75F-4B02-B0E2-6D95973DC235}" destId="{D2CDD9E2-9DE1-4E99-979E-4C6F3642AF85}" srcOrd="1" destOrd="0" parTransId="{477D43F0-E9BE-4BF9-9143-BA574AA3CD5A}" sibTransId="{525B4D8E-79EF-4DD1-9DE8-3E727D9D876F}"/>
    <dgm:cxn modelId="{B2346ED4-C43F-4F5F-9C5F-F8525F110DC6}" srcId="{6A016A0F-5A6D-4D60-B6D3-EB0CE24D2BA2}" destId="{47DC7698-2F7B-4527-ABD3-AB2F1616EBA0}" srcOrd="0" destOrd="0" parTransId="{4AD3FF56-6A1C-43FF-8228-DF0FB2D8B0FE}" sibTransId="{C85AB96B-AA22-45BC-B149-ED45414D63F5}"/>
    <dgm:cxn modelId="{CB30E1F2-A8F3-402C-8012-00957D44A51A}" srcId="{970A0707-0F8F-40A1-A91A-D27405BECFC9}" destId="{6A016A0F-5A6D-4D60-B6D3-EB0CE24D2BA2}" srcOrd="1" destOrd="0" parTransId="{BF8A122C-BEC6-4D22-B7A3-3077B4259DDC}" sibTransId="{FD115C82-AB22-4B33-8DF4-212DFC4ED00C}"/>
    <dgm:cxn modelId="{14F976BF-413F-4929-8686-AD85AF6AA529}" type="presParOf" srcId="{A431962B-81FE-4CB0-AE45-263D21CDC198}" destId="{35368261-AEE3-40EB-959D-B071339ABA87}" srcOrd="0" destOrd="0" presId="urn:microsoft.com/office/officeart/2005/8/layout/vList2"/>
    <dgm:cxn modelId="{80B628EC-FC3F-4014-9892-FFFF5424814C}" type="presParOf" srcId="{A431962B-81FE-4CB0-AE45-263D21CDC198}" destId="{EEAA2F8B-9C2C-4C65-B6FA-D7485E5103E0}" srcOrd="1" destOrd="0" presId="urn:microsoft.com/office/officeart/2005/8/layout/vList2"/>
    <dgm:cxn modelId="{74F26EC3-BCEF-4DDA-81E6-7B4CF846C18A}" type="presParOf" srcId="{A431962B-81FE-4CB0-AE45-263D21CDC198}" destId="{5A7E119B-54DB-432A-88F7-7896131A6EC0}" srcOrd="2" destOrd="0" presId="urn:microsoft.com/office/officeart/2005/8/layout/vList2"/>
    <dgm:cxn modelId="{65D2F2B7-6E3F-4681-B279-8A7745B817C6}" type="presParOf" srcId="{A431962B-81FE-4CB0-AE45-263D21CDC198}" destId="{2E60D2F4-3711-4957-913D-3B8FDA1058CA}"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F2803A7-90A0-4BC6-BC05-28FBD2D976FA}" type="doc">
      <dgm:prSet loTypeId="urn:microsoft.com/office/officeart/2005/8/layout/hList1" loCatId="list" qsTypeId="urn:microsoft.com/office/officeart/2005/8/quickstyle/simple1" qsCatId="simple" csTypeId="urn:microsoft.com/office/officeart/2005/8/colors/colorful1" csCatId="colorful"/>
      <dgm:spPr/>
      <dgm:t>
        <a:bodyPr/>
        <a:lstStyle/>
        <a:p>
          <a:endParaRPr lang="en-US"/>
        </a:p>
      </dgm:t>
    </dgm:pt>
    <dgm:pt modelId="{1E7551E2-F93B-47D4-9821-DD67FEBEF221}">
      <dgm:prSet/>
      <dgm:spPr/>
      <dgm:t>
        <a:bodyPr/>
        <a:lstStyle/>
        <a:p>
          <a:r>
            <a:rPr lang="en-US"/>
            <a:t>Hospital Level Data form</a:t>
          </a:r>
        </a:p>
      </dgm:t>
    </dgm:pt>
    <dgm:pt modelId="{35D105FF-3E6E-4E68-A8E2-85AC789B699F}" type="parTrans" cxnId="{81F77749-EF3F-41D4-B107-045C3634334D}">
      <dgm:prSet/>
      <dgm:spPr/>
      <dgm:t>
        <a:bodyPr/>
        <a:lstStyle/>
        <a:p>
          <a:endParaRPr lang="en-US"/>
        </a:p>
      </dgm:t>
    </dgm:pt>
    <dgm:pt modelId="{3482EDDA-887F-4535-922A-A7894AA6FF27}" type="sibTrans" cxnId="{81F77749-EF3F-41D4-B107-045C3634334D}">
      <dgm:prSet/>
      <dgm:spPr/>
      <dgm:t>
        <a:bodyPr/>
        <a:lstStyle/>
        <a:p>
          <a:endParaRPr lang="en-US"/>
        </a:p>
      </dgm:t>
    </dgm:pt>
    <dgm:pt modelId="{CDE93A3B-D304-4BF9-B63C-A18A03CC1339}">
      <dgm:prSet/>
      <dgm:spPr/>
      <dgm:t>
        <a:bodyPr/>
        <a:lstStyle/>
        <a:p>
          <a:r>
            <a:rPr lang="en-US"/>
            <a:t>Structure Measures </a:t>
          </a:r>
        </a:p>
      </dgm:t>
    </dgm:pt>
    <dgm:pt modelId="{AC4E72F0-4302-408C-9916-58033F307E66}" type="parTrans" cxnId="{2455CDAC-E222-43F9-9142-8813BE8A5C89}">
      <dgm:prSet/>
      <dgm:spPr/>
      <dgm:t>
        <a:bodyPr/>
        <a:lstStyle/>
        <a:p>
          <a:endParaRPr lang="en-US"/>
        </a:p>
      </dgm:t>
    </dgm:pt>
    <dgm:pt modelId="{B75563AB-8B5A-40CF-949E-A56EF8A4FEBC}" type="sibTrans" cxnId="{2455CDAC-E222-43F9-9142-8813BE8A5C89}">
      <dgm:prSet/>
      <dgm:spPr/>
      <dgm:t>
        <a:bodyPr/>
        <a:lstStyle/>
        <a:p>
          <a:endParaRPr lang="en-US"/>
        </a:p>
      </dgm:t>
    </dgm:pt>
    <dgm:pt modelId="{E048B95C-A001-4DC8-A7B9-E10A52BE0629}">
      <dgm:prSet/>
      <dgm:spPr/>
      <dgm:t>
        <a:bodyPr/>
        <a:lstStyle/>
        <a:p>
          <a:r>
            <a:rPr lang="en-US"/>
            <a:t>Education Measures</a:t>
          </a:r>
        </a:p>
      </dgm:t>
    </dgm:pt>
    <dgm:pt modelId="{D46A2253-7F42-4F35-A6D0-B92212B2AA93}" type="parTrans" cxnId="{340CA8D4-8C91-4151-8F19-CD102E3F8CCC}">
      <dgm:prSet/>
      <dgm:spPr/>
      <dgm:t>
        <a:bodyPr/>
        <a:lstStyle/>
        <a:p>
          <a:endParaRPr lang="en-US"/>
        </a:p>
      </dgm:t>
    </dgm:pt>
    <dgm:pt modelId="{5FA6BCB9-9FAB-401C-AADA-2BAB1285B0E6}" type="sibTrans" cxnId="{340CA8D4-8C91-4151-8F19-CD102E3F8CCC}">
      <dgm:prSet/>
      <dgm:spPr/>
      <dgm:t>
        <a:bodyPr/>
        <a:lstStyle/>
        <a:p>
          <a:endParaRPr lang="en-US"/>
        </a:p>
      </dgm:t>
    </dgm:pt>
    <dgm:pt modelId="{2F96AE4C-80EE-42F0-9C1C-F09A8B9EB6B1}">
      <dgm:prSet/>
      <dgm:spPr/>
      <dgm:t>
        <a:bodyPr/>
        <a:lstStyle/>
        <a:p>
          <a:r>
            <a:rPr lang="en-US"/>
            <a:t>Crib Audits</a:t>
          </a:r>
        </a:p>
      </dgm:t>
    </dgm:pt>
    <dgm:pt modelId="{993F732A-4C89-4B04-949B-565AF25BC9C1}" type="parTrans" cxnId="{B966FE98-A212-43A6-9A1C-E4F1F6105032}">
      <dgm:prSet/>
      <dgm:spPr/>
      <dgm:t>
        <a:bodyPr/>
        <a:lstStyle/>
        <a:p>
          <a:endParaRPr lang="en-US"/>
        </a:p>
      </dgm:t>
    </dgm:pt>
    <dgm:pt modelId="{840B5B38-E302-4593-A113-A37975CD5192}" type="sibTrans" cxnId="{B966FE98-A212-43A6-9A1C-E4F1F6105032}">
      <dgm:prSet/>
      <dgm:spPr/>
      <dgm:t>
        <a:bodyPr/>
        <a:lstStyle/>
        <a:p>
          <a:endParaRPr lang="en-US"/>
        </a:p>
      </dgm:t>
    </dgm:pt>
    <dgm:pt modelId="{22D5BD7D-2E8D-478E-A9E9-F93DFD60822F}">
      <dgm:prSet/>
      <dgm:spPr/>
      <dgm:t>
        <a:bodyPr/>
        <a:lstStyle/>
        <a:p>
          <a:r>
            <a:rPr lang="en-US"/>
            <a:t>Patient Level Data form</a:t>
          </a:r>
        </a:p>
      </dgm:t>
    </dgm:pt>
    <dgm:pt modelId="{0FC81F1A-D000-4B5D-A9D6-601EF1AA153F}" type="parTrans" cxnId="{7A17557C-68F8-460B-B2DB-AD1E9B339C1D}">
      <dgm:prSet/>
      <dgm:spPr/>
      <dgm:t>
        <a:bodyPr/>
        <a:lstStyle/>
        <a:p>
          <a:endParaRPr lang="en-US"/>
        </a:p>
      </dgm:t>
    </dgm:pt>
    <dgm:pt modelId="{514469A3-F785-4FB7-8162-EBEDC6170801}" type="sibTrans" cxnId="{7A17557C-68F8-460B-B2DB-AD1E9B339C1D}">
      <dgm:prSet/>
      <dgm:spPr/>
      <dgm:t>
        <a:bodyPr/>
        <a:lstStyle/>
        <a:p>
          <a:endParaRPr lang="en-US"/>
        </a:p>
      </dgm:t>
    </dgm:pt>
    <dgm:pt modelId="{29A9AEB3-1C54-4E12-B059-0D2F8ED1614B}">
      <dgm:prSet/>
      <dgm:spPr/>
      <dgm:t>
        <a:bodyPr/>
        <a:lstStyle/>
        <a:p>
          <a:r>
            <a:rPr lang="en-US"/>
            <a:t>Random sample of 20 newborns discharged each month​</a:t>
          </a:r>
        </a:p>
      </dgm:t>
    </dgm:pt>
    <dgm:pt modelId="{9FF34403-9B14-437A-8A20-24E31C6152CA}" type="parTrans" cxnId="{48C76931-764E-4E46-B9AE-F6A5150A8A32}">
      <dgm:prSet/>
      <dgm:spPr/>
      <dgm:t>
        <a:bodyPr/>
        <a:lstStyle/>
        <a:p>
          <a:endParaRPr lang="en-US"/>
        </a:p>
      </dgm:t>
    </dgm:pt>
    <dgm:pt modelId="{E12A0EB6-A256-4A0E-AA7A-712D58EA38F9}" type="sibTrans" cxnId="{48C76931-764E-4E46-B9AE-F6A5150A8A32}">
      <dgm:prSet/>
      <dgm:spPr/>
      <dgm:t>
        <a:bodyPr/>
        <a:lstStyle/>
        <a:p>
          <a:endParaRPr lang="en-US"/>
        </a:p>
      </dgm:t>
    </dgm:pt>
    <dgm:pt modelId="{8DD8113F-3048-40A9-8EC1-48C9434AE9D5}">
      <dgm:prSet/>
      <dgm:spPr/>
      <dgm:t>
        <a:bodyPr/>
        <a:lstStyle/>
        <a:p>
          <a:r>
            <a:rPr lang="en-US"/>
            <a:t>Newborn and birthing person demographic data​</a:t>
          </a:r>
        </a:p>
      </dgm:t>
    </dgm:pt>
    <dgm:pt modelId="{A6A15F87-D059-4B54-9240-8FA6FAB1AA11}" type="parTrans" cxnId="{88BDBB16-3955-4632-B83B-21BDC6B2FAB9}">
      <dgm:prSet/>
      <dgm:spPr/>
      <dgm:t>
        <a:bodyPr/>
        <a:lstStyle/>
        <a:p>
          <a:endParaRPr lang="en-US"/>
        </a:p>
      </dgm:t>
    </dgm:pt>
    <dgm:pt modelId="{7E72E34E-F8D6-4976-8500-1FDB964A1093}" type="sibTrans" cxnId="{88BDBB16-3955-4632-B83B-21BDC6B2FAB9}">
      <dgm:prSet/>
      <dgm:spPr/>
      <dgm:t>
        <a:bodyPr/>
        <a:lstStyle/>
        <a:p>
          <a:endParaRPr lang="en-US"/>
        </a:p>
      </dgm:t>
    </dgm:pt>
    <dgm:pt modelId="{DB53729D-64B6-4E6A-A7E6-341E0B9CA7DB}">
      <dgm:prSet/>
      <dgm:spPr/>
      <dgm:t>
        <a:bodyPr/>
        <a:lstStyle/>
        <a:p>
          <a:r>
            <a:rPr lang="en-US"/>
            <a:t>Safe sleep education​</a:t>
          </a:r>
        </a:p>
      </dgm:t>
    </dgm:pt>
    <dgm:pt modelId="{2B6E623A-0592-48CF-A16E-27E8AAD8108A}" type="parTrans" cxnId="{83A9A204-B95F-4184-BEA3-9C14208F3645}">
      <dgm:prSet/>
      <dgm:spPr/>
      <dgm:t>
        <a:bodyPr/>
        <a:lstStyle/>
        <a:p>
          <a:endParaRPr lang="en-US"/>
        </a:p>
      </dgm:t>
    </dgm:pt>
    <dgm:pt modelId="{FBE4F8C7-319D-4B26-8309-872454126917}" type="sibTrans" cxnId="{83A9A204-B95F-4184-BEA3-9C14208F3645}">
      <dgm:prSet/>
      <dgm:spPr/>
      <dgm:t>
        <a:bodyPr/>
        <a:lstStyle/>
        <a:p>
          <a:endParaRPr lang="en-US"/>
        </a:p>
      </dgm:t>
    </dgm:pt>
    <dgm:pt modelId="{EAB071E8-CDD2-4E4F-8F34-A669EEE4D813}">
      <dgm:prSet/>
      <dgm:spPr/>
      <dgm:t>
        <a:bodyPr/>
        <a:lstStyle/>
        <a:p>
          <a:r>
            <a:rPr lang="en-US"/>
            <a:t>Transfer of care documentation​</a:t>
          </a:r>
        </a:p>
      </dgm:t>
    </dgm:pt>
    <dgm:pt modelId="{88AECF3A-DA6F-4E01-9F6E-DC956428531F}" type="parTrans" cxnId="{AF69837F-3867-4E2F-B39B-191E07FEEA4F}">
      <dgm:prSet/>
      <dgm:spPr/>
      <dgm:t>
        <a:bodyPr/>
        <a:lstStyle/>
        <a:p>
          <a:endParaRPr lang="en-US"/>
        </a:p>
      </dgm:t>
    </dgm:pt>
    <dgm:pt modelId="{36C97ABB-C9CF-47D0-9358-749D9FADA06A}" type="sibTrans" cxnId="{AF69837F-3867-4E2F-B39B-191E07FEEA4F}">
      <dgm:prSet/>
      <dgm:spPr/>
      <dgm:t>
        <a:bodyPr/>
        <a:lstStyle/>
        <a:p>
          <a:endParaRPr lang="en-US"/>
        </a:p>
      </dgm:t>
    </dgm:pt>
    <dgm:pt modelId="{CA9A1851-BC48-4982-B52D-BC9989FB78D2}" type="pres">
      <dgm:prSet presAssocID="{9F2803A7-90A0-4BC6-BC05-28FBD2D976FA}" presName="Name0" presStyleCnt="0">
        <dgm:presLayoutVars>
          <dgm:dir/>
          <dgm:animLvl val="lvl"/>
          <dgm:resizeHandles val="exact"/>
        </dgm:presLayoutVars>
      </dgm:prSet>
      <dgm:spPr/>
    </dgm:pt>
    <dgm:pt modelId="{9129533E-A104-45C5-A3B3-305C27EB86D4}" type="pres">
      <dgm:prSet presAssocID="{1E7551E2-F93B-47D4-9821-DD67FEBEF221}" presName="composite" presStyleCnt="0"/>
      <dgm:spPr/>
    </dgm:pt>
    <dgm:pt modelId="{0A6E60D1-F877-47D4-8B41-F856165E7A80}" type="pres">
      <dgm:prSet presAssocID="{1E7551E2-F93B-47D4-9821-DD67FEBEF221}" presName="parTx" presStyleLbl="alignNode1" presStyleIdx="0" presStyleCnt="2">
        <dgm:presLayoutVars>
          <dgm:chMax val="0"/>
          <dgm:chPref val="0"/>
          <dgm:bulletEnabled val="1"/>
        </dgm:presLayoutVars>
      </dgm:prSet>
      <dgm:spPr/>
    </dgm:pt>
    <dgm:pt modelId="{9CDF1165-2B21-4627-8D70-B6E057345958}" type="pres">
      <dgm:prSet presAssocID="{1E7551E2-F93B-47D4-9821-DD67FEBEF221}" presName="desTx" presStyleLbl="alignAccFollowNode1" presStyleIdx="0" presStyleCnt="2">
        <dgm:presLayoutVars>
          <dgm:bulletEnabled val="1"/>
        </dgm:presLayoutVars>
      </dgm:prSet>
      <dgm:spPr/>
    </dgm:pt>
    <dgm:pt modelId="{BA2F7A74-7A3D-4692-B18C-DEEE183052BE}" type="pres">
      <dgm:prSet presAssocID="{3482EDDA-887F-4535-922A-A7894AA6FF27}" presName="space" presStyleCnt="0"/>
      <dgm:spPr/>
    </dgm:pt>
    <dgm:pt modelId="{28FDC6B1-63B4-4B80-8398-8943F315BE9C}" type="pres">
      <dgm:prSet presAssocID="{22D5BD7D-2E8D-478E-A9E9-F93DFD60822F}" presName="composite" presStyleCnt="0"/>
      <dgm:spPr/>
    </dgm:pt>
    <dgm:pt modelId="{72E90577-3D0A-44A9-802D-7402B1482B47}" type="pres">
      <dgm:prSet presAssocID="{22D5BD7D-2E8D-478E-A9E9-F93DFD60822F}" presName="parTx" presStyleLbl="alignNode1" presStyleIdx="1" presStyleCnt="2">
        <dgm:presLayoutVars>
          <dgm:chMax val="0"/>
          <dgm:chPref val="0"/>
          <dgm:bulletEnabled val="1"/>
        </dgm:presLayoutVars>
      </dgm:prSet>
      <dgm:spPr/>
    </dgm:pt>
    <dgm:pt modelId="{CF05495E-421B-40F8-91AB-BC717C052FA2}" type="pres">
      <dgm:prSet presAssocID="{22D5BD7D-2E8D-478E-A9E9-F93DFD60822F}" presName="desTx" presStyleLbl="alignAccFollowNode1" presStyleIdx="1" presStyleCnt="2">
        <dgm:presLayoutVars>
          <dgm:bulletEnabled val="1"/>
        </dgm:presLayoutVars>
      </dgm:prSet>
      <dgm:spPr/>
    </dgm:pt>
  </dgm:ptLst>
  <dgm:cxnLst>
    <dgm:cxn modelId="{FE096E00-CE66-4981-9D15-0A3D8AD2388C}" type="presOf" srcId="{EAB071E8-CDD2-4E4F-8F34-A669EEE4D813}" destId="{CF05495E-421B-40F8-91AB-BC717C052FA2}" srcOrd="0" destOrd="3" presId="urn:microsoft.com/office/officeart/2005/8/layout/hList1"/>
    <dgm:cxn modelId="{83A9A204-B95F-4184-BEA3-9C14208F3645}" srcId="{22D5BD7D-2E8D-478E-A9E9-F93DFD60822F}" destId="{DB53729D-64B6-4E6A-A7E6-341E0B9CA7DB}" srcOrd="2" destOrd="0" parTransId="{2B6E623A-0592-48CF-A16E-27E8AAD8108A}" sibTransId="{FBE4F8C7-319D-4B26-8309-872454126917}"/>
    <dgm:cxn modelId="{EFD36A07-2EFF-410F-9378-FDC95117018C}" type="presOf" srcId="{DB53729D-64B6-4E6A-A7E6-341E0B9CA7DB}" destId="{CF05495E-421B-40F8-91AB-BC717C052FA2}" srcOrd="0" destOrd="2" presId="urn:microsoft.com/office/officeart/2005/8/layout/hList1"/>
    <dgm:cxn modelId="{88BDBB16-3955-4632-B83B-21BDC6B2FAB9}" srcId="{22D5BD7D-2E8D-478E-A9E9-F93DFD60822F}" destId="{8DD8113F-3048-40A9-8EC1-48C9434AE9D5}" srcOrd="1" destOrd="0" parTransId="{A6A15F87-D059-4B54-9240-8FA6FAB1AA11}" sibTransId="{7E72E34E-F8D6-4976-8500-1FDB964A1093}"/>
    <dgm:cxn modelId="{48C76931-764E-4E46-B9AE-F6A5150A8A32}" srcId="{22D5BD7D-2E8D-478E-A9E9-F93DFD60822F}" destId="{29A9AEB3-1C54-4E12-B059-0D2F8ED1614B}" srcOrd="0" destOrd="0" parTransId="{9FF34403-9B14-437A-8A20-24E31C6152CA}" sibTransId="{E12A0EB6-A256-4A0E-AA7A-712D58EA38F9}"/>
    <dgm:cxn modelId="{81F77749-EF3F-41D4-B107-045C3634334D}" srcId="{9F2803A7-90A0-4BC6-BC05-28FBD2D976FA}" destId="{1E7551E2-F93B-47D4-9821-DD67FEBEF221}" srcOrd="0" destOrd="0" parTransId="{35D105FF-3E6E-4E68-A8E2-85AC789B699F}" sibTransId="{3482EDDA-887F-4535-922A-A7894AA6FF27}"/>
    <dgm:cxn modelId="{B00CE04B-5B7D-42FA-81C6-EC6C82D6C67B}" type="presOf" srcId="{2F96AE4C-80EE-42F0-9C1C-F09A8B9EB6B1}" destId="{9CDF1165-2B21-4627-8D70-B6E057345958}" srcOrd="0" destOrd="2" presId="urn:microsoft.com/office/officeart/2005/8/layout/hList1"/>
    <dgm:cxn modelId="{7165D74D-6BFD-4210-8ABA-77B18A6E3AC1}" type="presOf" srcId="{22D5BD7D-2E8D-478E-A9E9-F93DFD60822F}" destId="{72E90577-3D0A-44A9-802D-7402B1482B47}" srcOrd="0" destOrd="0" presId="urn:microsoft.com/office/officeart/2005/8/layout/hList1"/>
    <dgm:cxn modelId="{C7531579-4B3E-4E9C-A637-CB5355321A5E}" type="presOf" srcId="{9F2803A7-90A0-4BC6-BC05-28FBD2D976FA}" destId="{CA9A1851-BC48-4982-B52D-BC9989FB78D2}" srcOrd="0" destOrd="0" presId="urn:microsoft.com/office/officeart/2005/8/layout/hList1"/>
    <dgm:cxn modelId="{6C1E4979-0D1B-4298-B1D9-B252DC74106A}" type="presOf" srcId="{E048B95C-A001-4DC8-A7B9-E10A52BE0629}" destId="{9CDF1165-2B21-4627-8D70-B6E057345958}" srcOrd="0" destOrd="1" presId="urn:microsoft.com/office/officeart/2005/8/layout/hList1"/>
    <dgm:cxn modelId="{7A17557C-68F8-460B-B2DB-AD1E9B339C1D}" srcId="{9F2803A7-90A0-4BC6-BC05-28FBD2D976FA}" destId="{22D5BD7D-2E8D-478E-A9E9-F93DFD60822F}" srcOrd="1" destOrd="0" parTransId="{0FC81F1A-D000-4B5D-A9D6-601EF1AA153F}" sibTransId="{514469A3-F785-4FB7-8162-EBEDC6170801}"/>
    <dgm:cxn modelId="{0590D27C-00A3-46A1-B525-278D462D6D9B}" type="presOf" srcId="{29A9AEB3-1C54-4E12-B059-0D2F8ED1614B}" destId="{CF05495E-421B-40F8-91AB-BC717C052FA2}" srcOrd="0" destOrd="0" presId="urn:microsoft.com/office/officeart/2005/8/layout/hList1"/>
    <dgm:cxn modelId="{AF69837F-3867-4E2F-B39B-191E07FEEA4F}" srcId="{22D5BD7D-2E8D-478E-A9E9-F93DFD60822F}" destId="{EAB071E8-CDD2-4E4F-8F34-A669EEE4D813}" srcOrd="3" destOrd="0" parTransId="{88AECF3A-DA6F-4E01-9F6E-DC956428531F}" sibTransId="{36C97ABB-C9CF-47D0-9358-749D9FADA06A}"/>
    <dgm:cxn modelId="{45D2B28C-15A1-44B9-9119-17C11CDEBD07}" type="presOf" srcId="{1E7551E2-F93B-47D4-9821-DD67FEBEF221}" destId="{0A6E60D1-F877-47D4-8B41-F856165E7A80}" srcOrd="0" destOrd="0" presId="urn:microsoft.com/office/officeart/2005/8/layout/hList1"/>
    <dgm:cxn modelId="{B966FE98-A212-43A6-9A1C-E4F1F6105032}" srcId="{1E7551E2-F93B-47D4-9821-DD67FEBEF221}" destId="{2F96AE4C-80EE-42F0-9C1C-F09A8B9EB6B1}" srcOrd="2" destOrd="0" parTransId="{993F732A-4C89-4B04-949B-565AF25BC9C1}" sibTransId="{840B5B38-E302-4593-A113-A37975CD5192}"/>
    <dgm:cxn modelId="{2455CDAC-E222-43F9-9142-8813BE8A5C89}" srcId="{1E7551E2-F93B-47D4-9821-DD67FEBEF221}" destId="{CDE93A3B-D304-4BF9-B63C-A18A03CC1339}" srcOrd="0" destOrd="0" parTransId="{AC4E72F0-4302-408C-9916-58033F307E66}" sibTransId="{B75563AB-8B5A-40CF-949E-A56EF8A4FEBC}"/>
    <dgm:cxn modelId="{687232AD-801E-49C7-A659-6917DB7391DF}" type="presOf" srcId="{CDE93A3B-D304-4BF9-B63C-A18A03CC1339}" destId="{9CDF1165-2B21-4627-8D70-B6E057345958}" srcOrd="0" destOrd="0" presId="urn:microsoft.com/office/officeart/2005/8/layout/hList1"/>
    <dgm:cxn modelId="{340CA8D4-8C91-4151-8F19-CD102E3F8CCC}" srcId="{1E7551E2-F93B-47D4-9821-DD67FEBEF221}" destId="{E048B95C-A001-4DC8-A7B9-E10A52BE0629}" srcOrd="1" destOrd="0" parTransId="{D46A2253-7F42-4F35-A6D0-B92212B2AA93}" sibTransId="{5FA6BCB9-9FAB-401C-AADA-2BAB1285B0E6}"/>
    <dgm:cxn modelId="{371B7BD9-6F73-40A3-9216-7B800D8FFB25}" type="presOf" srcId="{8DD8113F-3048-40A9-8EC1-48C9434AE9D5}" destId="{CF05495E-421B-40F8-91AB-BC717C052FA2}" srcOrd="0" destOrd="1" presId="urn:microsoft.com/office/officeart/2005/8/layout/hList1"/>
    <dgm:cxn modelId="{89902445-5C9C-4DEC-AF52-A6FEF9EB696B}" type="presParOf" srcId="{CA9A1851-BC48-4982-B52D-BC9989FB78D2}" destId="{9129533E-A104-45C5-A3B3-305C27EB86D4}" srcOrd="0" destOrd="0" presId="urn:microsoft.com/office/officeart/2005/8/layout/hList1"/>
    <dgm:cxn modelId="{DF7AF739-0732-4AA9-9990-97583BB98171}" type="presParOf" srcId="{9129533E-A104-45C5-A3B3-305C27EB86D4}" destId="{0A6E60D1-F877-47D4-8B41-F856165E7A80}" srcOrd="0" destOrd="0" presId="urn:microsoft.com/office/officeart/2005/8/layout/hList1"/>
    <dgm:cxn modelId="{BA89DBE8-F864-41DC-B5B3-EE7E81A28A4D}" type="presParOf" srcId="{9129533E-A104-45C5-A3B3-305C27EB86D4}" destId="{9CDF1165-2B21-4627-8D70-B6E057345958}" srcOrd="1" destOrd="0" presId="urn:microsoft.com/office/officeart/2005/8/layout/hList1"/>
    <dgm:cxn modelId="{BBF643C8-4331-4499-B743-2FE207F17EB9}" type="presParOf" srcId="{CA9A1851-BC48-4982-B52D-BC9989FB78D2}" destId="{BA2F7A74-7A3D-4692-B18C-DEEE183052BE}" srcOrd="1" destOrd="0" presId="urn:microsoft.com/office/officeart/2005/8/layout/hList1"/>
    <dgm:cxn modelId="{27CCB225-6587-49D5-A4FA-EAD3CC97C905}" type="presParOf" srcId="{CA9A1851-BC48-4982-B52D-BC9989FB78D2}" destId="{28FDC6B1-63B4-4B80-8398-8943F315BE9C}" srcOrd="2" destOrd="0" presId="urn:microsoft.com/office/officeart/2005/8/layout/hList1"/>
    <dgm:cxn modelId="{76BF201C-395D-46F7-9054-A027AFFD8F08}" type="presParOf" srcId="{28FDC6B1-63B4-4B80-8398-8943F315BE9C}" destId="{72E90577-3D0A-44A9-802D-7402B1482B47}" srcOrd="0" destOrd="0" presId="urn:microsoft.com/office/officeart/2005/8/layout/hList1"/>
    <dgm:cxn modelId="{0B39C839-4462-4100-BB73-959B02A80F29}" type="presParOf" srcId="{28FDC6B1-63B4-4B80-8398-8943F315BE9C}" destId="{CF05495E-421B-40F8-91AB-BC717C052FA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65764A5-75DC-49C2-A448-F8F6955F2204}"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32AB735E-7A52-4141-A7CD-5D85AE47153F}">
      <dgm:prSet/>
      <dgm:spPr/>
      <dgm:t>
        <a:bodyPr/>
        <a:lstStyle/>
        <a:p>
          <a:r>
            <a:rPr lang="en-US" b="0" i="0"/>
            <a:t>Who is educated? </a:t>
          </a:r>
          <a:endParaRPr lang="en-US"/>
        </a:p>
      </dgm:t>
    </dgm:pt>
    <dgm:pt modelId="{F2D37F37-21B4-45E6-B8E1-842F9AFEA68A}" type="parTrans" cxnId="{5942A130-D0C6-4E8B-AE7F-0DCF9071AE7B}">
      <dgm:prSet/>
      <dgm:spPr/>
      <dgm:t>
        <a:bodyPr/>
        <a:lstStyle/>
        <a:p>
          <a:endParaRPr lang="en-US"/>
        </a:p>
      </dgm:t>
    </dgm:pt>
    <dgm:pt modelId="{47D4FD13-B5D9-4AED-B54B-29A8913E0AA2}" type="sibTrans" cxnId="{5942A130-D0C6-4E8B-AE7F-0DCF9071AE7B}">
      <dgm:prSet/>
      <dgm:spPr/>
      <dgm:t>
        <a:bodyPr/>
        <a:lstStyle/>
        <a:p>
          <a:endParaRPr lang="en-US"/>
        </a:p>
      </dgm:t>
    </dgm:pt>
    <dgm:pt modelId="{83C1D274-BB98-4873-9514-AE7474CE8694}">
      <dgm:prSet/>
      <dgm:spPr/>
      <dgm:t>
        <a:bodyPr/>
        <a:lstStyle/>
        <a:p>
          <a:r>
            <a:rPr lang="en-US" b="0" i="0"/>
            <a:t>What is the format? </a:t>
          </a:r>
          <a:endParaRPr lang="en-US"/>
        </a:p>
      </dgm:t>
    </dgm:pt>
    <dgm:pt modelId="{6AD9DBFC-4D72-47ED-B81E-9C58D558AC3F}" type="parTrans" cxnId="{8F1A7FBA-D865-4EE1-8193-8B0CEA43EB63}">
      <dgm:prSet/>
      <dgm:spPr/>
      <dgm:t>
        <a:bodyPr/>
        <a:lstStyle/>
        <a:p>
          <a:endParaRPr lang="en-US"/>
        </a:p>
      </dgm:t>
    </dgm:pt>
    <dgm:pt modelId="{7932D8F4-5E00-4BF5-8581-391D548B55B9}" type="sibTrans" cxnId="{8F1A7FBA-D865-4EE1-8193-8B0CEA43EB63}">
      <dgm:prSet/>
      <dgm:spPr/>
      <dgm:t>
        <a:bodyPr/>
        <a:lstStyle/>
        <a:p>
          <a:endParaRPr lang="en-US"/>
        </a:p>
      </dgm:t>
    </dgm:pt>
    <dgm:pt modelId="{B64A7B18-5C98-4F4F-9B1E-A43D947F9C80}">
      <dgm:prSet/>
      <dgm:spPr/>
      <dgm:t>
        <a:bodyPr/>
        <a:lstStyle/>
        <a:p>
          <a:r>
            <a:rPr lang="en-US" b="0" i="0"/>
            <a:t>How effective is it? </a:t>
          </a:r>
          <a:endParaRPr lang="en-US"/>
        </a:p>
      </dgm:t>
    </dgm:pt>
    <dgm:pt modelId="{FCD3C96F-73FC-4C55-8131-F606D307FBCD}" type="parTrans" cxnId="{2ED81355-CC10-455B-BE02-015DDE72C56F}">
      <dgm:prSet/>
      <dgm:spPr/>
      <dgm:t>
        <a:bodyPr/>
        <a:lstStyle/>
        <a:p>
          <a:endParaRPr lang="en-US"/>
        </a:p>
      </dgm:t>
    </dgm:pt>
    <dgm:pt modelId="{E9B7B206-9D19-4049-A3EF-38A8FAFEE818}" type="sibTrans" cxnId="{2ED81355-CC10-455B-BE02-015DDE72C56F}">
      <dgm:prSet/>
      <dgm:spPr/>
      <dgm:t>
        <a:bodyPr/>
        <a:lstStyle/>
        <a:p>
          <a:endParaRPr lang="en-US"/>
        </a:p>
      </dgm:t>
    </dgm:pt>
    <dgm:pt modelId="{9B835F3F-E50D-4B77-BEE8-A86B41C193E9}">
      <dgm:prSet/>
      <dgm:spPr/>
      <dgm:t>
        <a:bodyPr/>
        <a:lstStyle/>
        <a:p>
          <a:r>
            <a:rPr lang="en-US" b="0" i="0"/>
            <a:t>How can it be improved?</a:t>
          </a:r>
          <a:endParaRPr lang="en-US"/>
        </a:p>
      </dgm:t>
    </dgm:pt>
    <dgm:pt modelId="{F0CE5C64-21DF-43B3-B9EC-2B874E5D991A}" type="parTrans" cxnId="{29CEA035-1D5A-438D-8F95-E76801D51916}">
      <dgm:prSet/>
      <dgm:spPr/>
      <dgm:t>
        <a:bodyPr/>
        <a:lstStyle/>
        <a:p>
          <a:endParaRPr lang="en-US"/>
        </a:p>
      </dgm:t>
    </dgm:pt>
    <dgm:pt modelId="{8BA1A73F-3A0F-47E1-A973-DC88D78FAFD5}" type="sibTrans" cxnId="{29CEA035-1D5A-438D-8F95-E76801D51916}">
      <dgm:prSet/>
      <dgm:spPr/>
      <dgm:t>
        <a:bodyPr/>
        <a:lstStyle/>
        <a:p>
          <a:endParaRPr lang="en-US"/>
        </a:p>
      </dgm:t>
    </dgm:pt>
    <dgm:pt modelId="{19E3B7D5-0B92-41D6-B212-705A565092AF}" type="pres">
      <dgm:prSet presAssocID="{165764A5-75DC-49C2-A448-F8F6955F2204}" presName="root" presStyleCnt="0">
        <dgm:presLayoutVars>
          <dgm:dir/>
          <dgm:resizeHandles val="exact"/>
        </dgm:presLayoutVars>
      </dgm:prSet>
      <dgm:spPr/>
    </dgm:pt>
    <dgm:pt modelId="{45CB7D17-2058-4449-971D-A5719E98E368}" type="pres">
      <dgm:prSet presAssocID="{32AB735E-7A52-4141-A7CD-5D85AE47153F}" presName="compNode" presStyleCnt="0"/>
      <dgm:spPr/>
    </dgm:pt>
    <dgm:pt modelId="{D7209206-939B-4D9F-9469-A4489B6BFEEE}" type="pres">
      <dgm:prSet presAssocID="{32AB735E-7A52-4141-A7CD-5D85AE47153F}" presName="bgRect" presStyleLbl="bgShp" presStyleIdx="0" presStyleCnt="4"/>
      <dgm:spPr/>
    </dgm:pt>
    <dgm:pt modelId="{F7CB6EB2-ADA0-4D68-9D60-F7B7318090E9}" type="pres">
      <dgm:prSet presAssocID="{32AB735E-7A52-4141-A7CD-5D85AE47153F}"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octor female with solid fill"/>
        </a:ext>
      </dgm:extLst>
    </dgm:pt>
    <dgm:pt modelId="{1836511A-6131-404E-BD39-BB26059090F6}" type="pres">
      <dgm:prSet presAssocID="{32AB735E-7A52-4141-A7CD-5D85AE47153F}" presName="spaceRect" presStyleCnt="0"/>
      <dgm:spPr/>
    </dgm:pt>
    <dgm:pt modelId="{B5CFE20D-FE69-4720-B81A-979737D2AC10}" type="pres">
      <dgm:prSet presAssocID="{32AB735E-7A52-4141-A7CD-5D85AE47153F}" presName="parTx" presStyleLbl="revTx" presStyleIdx="0" presStyleCnt="4">
        <dgm:presLayoutVars>
          <dgm:chMax val="0"/>
          <dgm:chPref val="0"/>
        </dgm:presLayoutVars>
      </dgm:prSet>
      <dgm:spPr/>
    </dgm:pt>
    <dgm:pt modelId="{C3DA0AD3-6333-47AE-8C5C-854C7A26B9D3}" type="pres">
      <dgm:prSet presAssocID="{47D4FD13-B5D9-4AED-B54B-29A8913E0AA2}" presName="sibTrans" presStyleCnt="0"/>
      <dgm:spPr/>
    </dgm:pt>
    <dgm:pt modelId="{7359A9C7-00E9-412F-8019-A6DB3A696FA9}" type="pres">
      <dgm:prSet presAssocID="{83C1D274-BB98-4873-9514-AE7474CE8694}" presName="compNode" presStyleCnt="0"/>
      <dgm:spPr/>
    </dgm:pt>
    <dgm:pt modelId="{20FF99E0-E872-4C87-AB89-86E9578C8DDF}" type="pres">
      <dgm:prSet presAssocID="{83C1D274-BB98-4873-9514-AE7474CE8694}" presName="bgRect" presStyleLbl="bgShp" presStyleIdx="1" presStyleCnt="4"/>
      <dgm:spPr/>
    </dgm:pt>
    <dgm:pt modelId="{FE328E90-B613-4A5A-895B-B7300879B71B}" type="pres">
      <dgm:prSet presAssocID="{83C1D274-BB98-4873-9514-AE7474CE8694}" presName="iconRect" presStyleLbl="node1" presStyleIdx="1" presStyleCnt="4"/>
      <dgm:spPr>
        <a:blipFill>
          <a:blip xmlns:r="http://schemas.openxmlformats.org/officeDocument/2006/relationships" r:embed="rId3">
            <a:extLs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lassroom with solid fill"/>
        </a:ext>
      </dgm:extLst>
    </dgm:pt>
    <dgm:pt modelId="{9AB41017-8BA3-492E-9D4C-3543BC39FC1A}" type="pres">
      <dgm:prSet presAssocID="{83C1D274-BB98-4873-9514-AE7474CE8694}" presName="spaceRect" presStyleCnt="0"/>
      <dgm:spPr/>
    </dgm:pt>
    <dgm:pt modelId="{8A018F78-18F2-4046-8232-2DF71BD5D9D9}" type="pres">
      <dgm:prSet presAssocID="{83C1D274-BB98-4873-9514-AE7474CE8694}" presName="parTx" presStyleLbl="revTx" presStyleIdx="1" presStyleCnt="4">
        <dgm:presLayoutVars>
          <dgm:chMax val="0"/>
          <dgm:chPref val="0"/>
        </dgm:presLayoutVars>
      </dgm:prSet>
      <dgm:spPr/>
    </dgm:pt>
    <dgm:pt modelId="{EDB563DD-2D3E-4CDD-BEB7-F26B0CAF5754}" type="pres">
      <dgm:prSet presAssocID="{7932D8F4-5E00-4BF5-8581-391D548B55B9}" presName="sibTrans" presStyleCnt="0"/>
      <dgm:spPr/>
    </dgm:pt>
    <dgm:pt modelId="{05C09904-E29E-4EDF-8D5A-35D52F309E60}" type="pres">
      <dgm:prSet presAssocID="{B64A7B18-5C98-4F4F-9B1E-A43D947F9C80}" presName="compNode" presStyleCnt="0"/>
      <dgm:spPr/>
    </dgm:pt>
    <dgm:pt modelId="{9C73F8EA-A8FC-4F63-86A9-E4A9E76DCAC4}" type="pres">
      <dgm:prSet presAssocID="{B64A7B18-5C98-4F4F-9B1E-A43D947F9C80}" presName="bgRect" presStyleLbl="bgShp" presStyleIdx="2" presStyleCnt="4"/>
      <dgm:spPr/>
    </dgm:pt>
    <dgm:pt modelId="{B9C0EDBC-4130-49F0-BD1C-7715E15128FE}" type="pres">
      <dgm:prSet presAssocID="{B64A7B18-5C98-4F4F-9B1E-A43D947F9C80}"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topwatch"/>
        </a:ext>
      </dgm:extLst>
    </dgm:pt>
    <dgm:pt modelId="{5F2CBBA0-D2F6-4549-A91D-219566733A28}" type="pres">
      <dgm:prSet presAssocID="{B64A7B18-5C98-4F4F-9B1E-A43D947F9C80}" presName="spaceRect" presStyleCnt="0"/>
      <dgm:spPr/>
    </dgm:pt>
    <dgm:pt modelId="{47E3F42C-2B9F-4364-8C4A-77E20F78A27E}" type="pres">
      <dgm:prSet presAssocID="{B64A7B18-5C98-4F4F-9B1E-A43D947F9C80}" presName="parTx" presStyleLbl="revTx" presStyleIdx="2" presStyleCnt="4">
        <dgm:presLayoutVars>
          <dgm:chMax val="0"/>
          <dgm:chPref val="0"/>
        </dgm:presLayoutVars>
      </dgm:prSet>
      <dgm:spPr/>
    </dgm:pt>
    <dgm:pt modelId="{BC943EC3-0CB9-46F6-B60A-445BCCE3DBE9}" type="pres">
      <dgm:prSet presAssocID="{E9B7B206-9D19-4049-A3EF-38A8FAFEE818}" presName="sibTrans" presStyleCnt="0"/>
      <dgm:spPr/>
    </dgm:pt>
    <dgm:pt modelId="{4B753616-69E5-4F1D-B181-A9B3B3C69157}" type="pres">
      <dgm:prSet presAssocID="{9B835F3F-E50D-4B77-BEE8-A86B41C193E9}" presName="compNode" presStyleCnt="0"/>
      <dgm:spPr/>
    </dgm:pt>
    <dgm:pt modelId="{7E206A1E-ED79-40B1-845D-015A7CCFB18F}" type="pres">
      <dgm:prSet presAssocID="{9B835F3F-E50D-4B77-BEE8-A86B41C193E9}" presName="bgRect" presStyleLbl="bgShp" presStyleIdx="3" presStyleCnt="4"/>
      <dgm:spPr/>
    </dgm:pt>
    <dgm:pt modelId="{A7D2A605-B3F5-4D19-BB4A-25D4F28B3FBF}" type="pres">
      <dgm:prSet presAssocID="{9B835F3F-E50D-4B77-BEE8-A86B41C193E9}"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Business Growth"/>
        </a:ext>
      </dgm:extLst>
    </dgm:pt>
    <dgm:pt modelId="{BB79C603-554E-45FB-BFB4-31C399146663}" type="pres">
      <dgm:prSet presAssocID="{9B835F3F-E50D-4B77-BEE8-A86B41C193E9}" presName="spaceRect" presStyleCnt="0"/>
      <dgm:spPr/>
    </dgm:pt>
    <dgm:pt modelId="{E7576307-21A1-4AAF-A60F-F743A7342BC4}" type="pres">
      <dgm:prSet presAssocID="{9B835F3F-E50D-4B77-BEE8-A86B41C193E9}" presName="parTx" presStyleLbl="revTx" presStyleIdx="3" presStyleCnt="4">
        <dgm:presLayoutVars>
          <dgm:chMax val="0"/>
          <dgm:chPref val="0"/>
        </dgm:presLayoutVars>
      </dgm:prSet>
      <dgm:spPr/>
    </dgm:pt>
  </dgm:ptLst>
  <dgm:cxnLst>
    <dgm:cxn modelId="{5942A130-D0C6-4E8B-AE7F-0DCF9071AE7B}" srcId="{165764A5-75DC-49C2-A448-F8F6955F2204}" destId="{32AB735E-7A52-4141-A7CD-5D85AE47153F}" srcOrd="0" destOrd="0" parTransId="{F2D37F37-21B4-45E6-B8E1-842F9AFEA68A}" sibTransId="{47D4FD13-B5D9-4AED-B54B-29A8913E0AA2}"/>
    <dgm:cxn modelId="{29CEA035-1D5A-438D-8F95-E76801D51916}" srcId="{165764A5-75DC-49C2-A448-F8F6955F2204}" destId="{9B835F3F-E50D-4B77-BEE8-A86B41C193E9}" srcOrd="3" destOrd="0" parTransId="{F0CE5C64-21DF-43B3-B9EC-2B874E5D991A}" sibTransId="{8BA1A73F-3A0F-47E1-A973-DC88D78FAFD5}"/>
    <dgm:cxn modelId="{913BB43A-7AF8-497C-BEA0-AEBE78F0184A}" type="presOf" srcId="{B64A7B18-5C98-4F4F-9B1E-A43D947F9C80}" destId="{47E3F42C-2B9F-4364-8C4A-77E20F78A27E}" srcOrd="0" destOrd="0" presId="urn:microsoft.com/office/officeart/2018/2/layout/IconVerticalSolidList"/>
    <dgm:cxn modelId="{2ED81355-CC10-455B-BE02-015DDE72C56F}" srcId="{165764A5-75DC-49C2-A448-F8F6955F2204}" destId="{B64A7B18-5C98-4F4F-9B1E-A43D947F9C80}" srcOrd="2" destOrd="0" parTransId="{FCD3C96F-73FC-4C55-8131-F606D307FBCD}" sibTransId="{E9B7B206-9D19-4049-A3EF-38A8FAFEE818}"/>
    <dgm:cxn modelId="{AD109275-B3C2-4F51-A240-C1F80EE60321}" type="presOf" srcId="{9B835F3F-E50D-4B77-BEE8-A86B41C193E9}" destId="{E7576307-21A1-4AAF-A60F-F743A7342BC4}" srcOrd="0" destOrd="0" presId="urn:microsoft.com/office/officeart/2018/2/layout/IconVerticalSolidList"/>
    <dgm:cxn modelId="{C3F223AC-FC8A-4701-9827-3A876126898F}" type="presOf" srcId="{83C1D274-BB98-4873-9514-AE7474CE8694}" destId="{8A018F78-18F2-4046-8232-2DF71BD5D9D9}" srcOrd="0" destOrd="0" presId="urn:microsoft.com/office/officeart/2018/2/layout/IconVerticalSolidList"/>
    <dgm:cxn modelId="{8F1A7FBA-D865-4EE1-8193-8B0CEA43EB63}" srcId="{165764A5-75DC-49C2-A448-F8F6955F2204}" destId="{83C1D274-BB98-4873-9514-AE7474CE8694}" srcOrd="1" destOrd="0" parTransId="{6AD9DBFC-4D72-47ED-B81E-9C58D558AC3F}" sibTransId="{7932D8F4-5E00-4BF5-8581-391D548B55B9}"/>
    <dgm:cxn modelId="{F1FC7CD9-0BED-4C22-B5DE-3D13E24B7823}" type="presOf" srcId="{165764A5-75DC-49C2-A448-F8F6955F2204}" destId="{19E3B7D5-0B92-41D6-B212-705A565092AF}" srcOrd="0" destOrd="0" presId="urn:microsoft.com/office/officeart/2018/2/layout/IconVerticalSolidList"/>
    <dgm:cxn modelId="{7F11E3F7-FEFC-4480-B380-3028E4EE324D}" type="presOf" srcId="{32AB735E-7A52-4141-A7CD-5D85AE47153F}" destId="{B5CFE20D-FE69-4720-B81A-979737D2AC10}" srcOrd="0" destOrd="0" presId="urn:microsoft.com/office/officeart/2018/2/layout/IconVerticalSolidList"/>
    <dgm:cxn modelId="{5530B0AB-699E-49DE-BDF9-166B3BE84E64}" type="presParOf" srcId="{19E3B7D5-0B92-41D6-B212-705A565092AF}" destId="{45CB7D17-2058-4449-971D-A5719E98E368}" srcOrd="0" destOrd="0" presId="urn:microsoft.com/office/officeart/2018/2/layout/IconVerticalSolidList"/>
    <dgm:cxn modelId="{A3B5C5AE-67B9-4391-ACDF-780CEB9A33F8}" type="presParOf" srcId="{45CB7D17-2058-4449-971D-A5719E98E368}" destId="{D7209206-939B-4D9F-9469-A4489B6BFEEE}" srcOrd="0" destOrd="0" presId="urn:microsoft.com/office/officeart/2018/2/layout/IconVerticalSolidList"/>
    <dgm:cxn modelId="{FCCC4F5D-4486-4BC7-BBD3-F5F421C26B23}" type="presParOf" srcId="{45CB7D17-2058-4449-971D-A5719E98E368}" destId="{F7CB6EB2-ADA0-4D68-9D60-F7B7318090E9}" srcOrd="1" destOrd="0" presId="urn:microsoft.com/office/officeart/2018/2/layout/IconVerticalSolidList"/>
    <dgm:cxn modelId="{D38C3B51-671A-40C1-995C-C656615B9E1F}" type="presParOf" srcId="{45CB7D17-2058-4449-971D-A5719E98E368}" destId="{1836511A-6131-404E-BD39-BB26059090F6}" srcOrd="2" destOrd="0" presId="urn:microsoft.com/office/officeart/2018/2/layout/IconVerticalSolidList"/>
    <dgm:cxn modelId="{1A8B7874-E2AB-47CB-8CAE-AE596BD7DFF7}" type="presParOf" srcId="{45CB7D17-2058-4449-971D-A5719E98E368}" destId="{B5CFE20D-FE69-4720-B81A-979737D2AC10}" srcOrd="3" destOrd="0" presId="urn:microsoft.com/office/officeart/2018/2/layout/IconVerticalSolidList"/>
    <dgm:cxn modelId="{DD828F9D-D4FF-45D4-AAEE-C2E697644391}" type="presParOf" srcId="{19E3B7D5-0B92-41D6-B212-705A565092AF}" destId="{C3DA0AD3-6333-47AE-8C5C-854C7A26B9D3}" srcOrd="1" destOrd="0" presId="urn:microsoft.com/office/officeart/2018/2/layout/IconVerticalSolidList"/>
    <dgm:cxn modelId="{F56AF670-0F89-44D6-8A9E-2F77ED0E6BB1}" type="presParOf" srcId="{19E3B7D5-0B92-41D6-B212-705A565092AF}" destId="{7359A9C7-00E9-412F-8019-A6DB3A696FA9}" srcOrd="2" destOrd="0" presId="urn:microsoft.com/office/officeart/2018/2/layout/IconVerticalSolidList"/>
    <dgm:cxn modelId="{AC141B83-3D73-4AAF-AE1C-78E23DFA37C2}" type="presParOf" srcId="{7359A9C7-00E9-412F-8019-A6DB3A696FA9}" destId="{20FF99E0-E872-4C87-AB89-86E9578C8DDF}" srcOrd="0" destOrd="0" presId="urn:microsoft.com/office/officeart/2018/2/layout/IconVerticalSolidList"/>
    <dgm:cxn modelId="{ED4F961B-B34F-4EA1-A383-94E5442E5CAA}" type="presParOf" srcId="{7359A9C7-00E9-412F-8019-A6DB3A696FA9}" destId="{FE328E90-B613-4A5A-895B-B7300879B71B}" srcOrd="1" destOrd="0" presId="urn:microsoft.com/office/officeart/2018/2/layout/IconVerticalSolidList"/>
    <dgm:cxn modelId="{763680D5-6B34-41C2-B95C-0FE798291C1F}" type="presParOf" srcId="{7359A9C7-00E9-412F-8019-A6DB3A696FA9}" destId="{9AB41017-8BA3-492E-9D4C-3543BC39FC1A}" srcOrd="2" destOrd="0" presId="urn:microsoft.com/office/officeart/2018/2/layout/IconVerticalSolidList"/>
    <dgm:cxn modelId="{156294E9-51A6-4167-A297-372220078EA0}" type="presParOf" srcId="{7359A9C7-00E9-412F-8019-A6DB3A696FA9}" destId="{8A018F78-18F2-4046-8232-2DF71BD5D9D9}" srcOrd="3" destOrd="0" presId="urn:microsoft.com/office/officeart/2018/2/layout/IconVerticalSolidList"/>
    <dgm:cxn modelId="{0CD285EF-F7C8-4AF1-9DB7-AA37E65BA312}" type="presParOf" srcId="{19E3B7D5-0B92-41D6-B212-705A565092AF}" destId="{EDB563DD-2D3E-4CDD-BEB7-F26B0CAF5754}" srcOrd="3" destOrd="0" presId="urn:microsoft.com/office/officeart/2018/2/layout/IconVerticalSolidList"/>
    <dgm:cxn modelId="{D0E45AAC-8AA7-480B-B5A0-8BE355D431BD}" type="presParOf" srcId="{19E3B7D5-0B92-41D6-B212-705A565092AF}" destId="{05C09904-E29E-4EDF-8D5A-35D52F309E60}" srcOrd="4" destOrd="0" presId="urn:microsoft.com/office/officeart/2018/2/layout/IconVerticalSolidList"/>
    <dgm:cxn modelId="{65925DAE-0AB1-4868-BFF5-093516818B77}" type="presParOf" srcId="{05C09904-E29E-4EDF-8D5A-35D52F309E60}" destId="{9C73F8EA-A8FC-4F63-86A9-E4A9E76DCAC4}" srcOrd="0" destOrd="0" presId="urn:microsoft.com/office/officeart/2018/2/layout/IconVerticalSolidList"/>
    <dgm:cxn modelId="{79ED4D04-2487-4FF3-97D9-BE104365848F}" type="presParOf" srcId="{05C09904-E29E-4EDF-8D5A-35D52F309E60}" destId="{B9C0EDBC-4130-49F0-BD1C-7715E15128FE}" srcOrd="1" destOrd="0" presId="urn:microsoft.com/office/officeart/2018/2/layout/IconVerticalSolidList"/>
    <dgm:cxn modelId="{468BADEF-25FF-4266-9FF0-872BC5AA7F6A}" type="presParOf" srcId="{05C09904-E29E-4EDF-8D5A-35D52F309E60}" destId="{5F2CBBA0-D2F6-4549-A91D-219566733A28}" srcOrd="2" destOrd="0" presId="urn:microsoft.com/office/officeart/2018/2/layout/IconVerticalSolidList"/>
    <dgm:cxn modelId="{811C6BC4-C21C-4EB4-BBAE-3302EC8C6399}" type="presParOf" srcId="{05C09904-E29E-4EDF-8D5A-35D52F309E60}" destId="{47E3F42C-2B9F-4364-8C4A-77E20F78A27E}" srcOrd="3" destOrd="0" presId="urn:microsoft.com/office/officeart/2018/2/layout/IconVerticalSolidList"/>
    <dgm:cxn modelId="{85F28B0C-5E3B-4786-8E41-9BBD2E8C0FBA}" type="presParOf" srcId="{19E3B7D5-0B92-41D6-B212-705A565092AF}" destId="{BC943EC3-0CB9-46F6-B60A-445BCCE3DBE9}" srcOrd="5" destOrd="0" presId="urn:microsoft.com/office/officeart/2018/2/layout/IconVerticalSolidList"/>
    <dgm:cxn modelId="{196B6F4E-A2E1-4ADC-9247-FE6E54BB46CB}" type="presParOf" srcId="{19E3B7D5-0B92-41D6-B212-705A565092AF}" destId="{4B753616-69E5-4F1D-B181-A9B3B3C69157}" srcOrd="6" destOrd="0" presId="urn:microsoft.com/office/officeart/2018/2/layout/IconVerticalSolidList"/>
    <dgm:cxn modelId="{3718DCC6-C214-4214-BA6F-C9D388E35346}" type="presParOf" srcId="{4B753616-69E5-4F1D-B181-A9B3B3C69157}" destId="{7E206A1E-ED79-40B1-845D-015A7CCFB18F}" srcOrd="0" destOrd="0" presId="urn:microsoft.com/office/officeart/2018/2/layout/IconVerticalSolidList"/>
    <dgm:cxn modelId="{FA0727DF-BD78-4FC4-B58D-A4B393A800F6}" type="presParOf" srcId="{4B753616-69E5-4F1D-B181-A9B3B3C69157}" destId="{A7D2A605-B3F5-4D19-BB4A-25D4F28B3FBF}" srcOrd="1" destOrd="0" presId="urn:microsoft.com/office/officeart/2018/2/layout/IconVerticalSolidList"/>
    <dgm:cxn modelId="{479FE9EE-54C7-40D0-9810-48F2B6698566}" type="presParOf" srcId="{4B753616-69E5-4F1D-B181-A9B3B3C69157}" destId="{BB79C603-554E-45FB-BFB4-31C399146663}" srcOrd="2" destOrd="0" presId="urn:microsoft.com/office/officeart/2018/2/layout/IconVerticalSolidList"/>
    <dgm:cxn modelId="{D1B28413-8E38-46C7-9987-CC5FF59E5A8C}" type="presParOf" srcId="{4B753616-69E5-4F1D-B181-A9B3B3C69157}" destId="{E7576307-21A1-4AAF-A60F-F743A7342BC4}"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E31CE2D-52AD-47EE-9F57-FF0C2AB9FBB8}"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US"/>
        </a:p>
      </dgm:t>
    </dgm:pt>
    <dgm:pt modelId="{DD004FB2-A568-4C30-AA6F-36014AE077F5}">
      <dgm:prSet phldrT="[Text]" phldr="0"/>
      <dgm:spPr/>
      <dgm:t>
        <a:bodyPr/>
        <a:lstStyle/>
        <a:p>
          <a:pPr rtl="0"/>
          <a:r>
            <a:rPr lang="en-US">
              <a:solidFill>
                <a:schemeClr val="bg1"/>
              </a:solidFill>
              <a:latin typeface="Calibri" panose="020F0502020204030204"/>
            </a:rPr>
            <a:t>First ESSI Monthly Webinar</a:t>
          </a:r>
        </a:p>
      </dgm:t>
    </dgm:pt>
    <dgm:pt modelId="{8A748206-AA4B-4343-A7F9-8E20175B63BD}" type="parTrans" cxnId="{3E189249-B51E-4CE4-A1B6-4178EBF15B98}">
      <dgm:prSet/>
      <dgm:spPr/>
      <dgm:t>
        <a:bodyPr/>
        <a:lstStyle/>
        <a:p>
          <a:endParaRPr lang="en-US"/>
        </a:p>
      </dgm:t>
    </dgm:pt>
    <dgm:pt modelId="{27591AC4-CF58-4301-ADC8-138FE74B6235}" type="sibTrans" cxnId="{3E189249-B51E-4CE4-A1B6-4178EBF15B98}">
      <dgm:prSet/>
      <dgm:spPr/>
      <dgm:t>
        <a:bodyPr/>
        <a:lstStyle/>
        <a:p>
          <a:endParaRPr lang="en-US"/>
        </a:p>
      </dgm:t>
    </dgm:pt>
    <dgm:pt modelId="{27331272-1A14-4E80-B031-5AA5C5A02FFF}">
      <dgm:prSet phldrT="[Text]" phldr="0"/>
      <dgm:spPr/>
      <dgm:t>
        <a:bodyPr/>
        <a:lstStyle/>
        <a:p>
          <a:pPr rtl="0"/>
          <a:r>
            <a:rPr lang="en-US" dirty="0">
              <a:latin typeface="Calibri" panose="020F0502020204030204"/>
            </a:rPr>
            <a:t>January 18th, 2023</a:t>
          </a:r>
          <a:endParaRPr lang="en-US" dirty="0"/>
        </a:p>
      </dgm:t>
    </dgm:pt>
    <dgm:pt modelId="{122F1A91-902B-46B9-8338-EF09B86B28D2}" type="parTrans" cxnId="{49DE3DA2-09E1-4714-93B6-2DD2D749A3C6}">
      <dgm:prSet/>
      <dgm:spPr/>
      <dgm:t>
        <a:bodyPr/>
        <a:lstStyle/>
        <a:p>
          <a:endParaRPr lang="en-US"/>
        </a:p>
      </dgm:t>
    </dgm:pt>
    <dgm:pt modelId="{D141C3BC-F34D-4A2E-BCBE-2D15C984B647}" type="sibTrans" cxnId="{49DE3DA2-09E1-4714-93B6-2DD2D749A3C6}">
      <dgm:prSet/>
      <dgm:spPr/>
      <dgm:t>
        <a:bodyPr/>
        <a:lstStyle/>
        <a:p>
          <a:endParaRPr lang="en-US"/>
        </a:p>
      </dgm:t>
    </dgm:pt>
    <dgm:pt modelId="{017DC130-9F90-46B9-BC95-6B4655F98326}">
      <dgm:prSet phldr="0"/>
      <dgm:spPr/>
      <dgm:t>
        <a:bodyPr/>
        <a:lstStyle/>
        <a:p>
          <a:pPr rtl="0"/>
          <a:r>
            <a:rPr lang="en-US" dirty="0">
              <a:latin typeface="Calibri" panose="020F0502020204030204"/>
            </a:rPr>
            <a:t>December 7th, 2023</a:t>
          </a:r>
        </a:p>
      </dgm:t>
    </dgm:pt>
    <dgm:pt modelId="{3812E649-201B-4DFF-8BBC-01B4BBC59472}" type="parTrans" cxnId="{511E4CF6-5811-40F7-A02D-75BFF4F1BF21}">
      <dgm:prSet/>
      <dgm:spPr/>
      <dgm:t>
        <a:bodyPr/>
        <a:lstStyle/>
        <a:p>
          <a:endParaRPr lang="en-US"/>
        </a:p>
      </dgm:t>
    </dgm:pt>
    <dgm:pt modelId="{CC58E277-C8D2-4919-914C-61D9B04D7FA7}" type="sibTrans" cxnId="{511E4CF6-5811-40F7-A02D-75BFF4F1BF21}">
      <dgm:prSet/>
      <dgm:spPr/>
      <dgm:t>
        <a:bodyPr/>
        <a:lstStyle/>
        <a:p>
          <a:endParaRPr lang="en-US"/>
        </a:p>
      </dgm:t>
    </dgm:pt>
    <dgm:pt modelId="{A0D4E7A4-3117-4723-AAF3-8936E6B80F33}">
      <dgm:prSet phldr="0"/>
      <dgm:spPr/>
      <dgm:t>
        <a:bodyPr/>
        <a:lstStyle/>
        <a:p>
          <a:pPr rtl="0"/>
          <a:r>
            <a:rPr lang="en-US" dirty="0">
              <a:latin typeface="Calibri" panose="020F0502020204030204"/>
            </a:rPr>
            <a:t>QI Team Lead Support Call</a:t>
          </a:r>
        </a:p>
      </dgm:t>
    </dgm:pt>
    <dgm:pt modelId="{03EBEDE4-5DB2-4ECC-B6FB-1004FF9F36BC}" type="parTrans" cxnId="{5E59A7AB-CE34-464C-B6A2-AF34995932B4}">
      <dgm:prSet/>
      <dgm:spPr/>
      <dgm:t>
        <a:bodyPr/>
        <a:lstStyle/>
        <a:p>
          <a:endParaRPr lang="en-US"/>
        </a:p>
      </dgm:t>
    </dgm:pt>
    <dgm:pt modelId="{7A8CEC07-3094-400E-A904-2790BC6396A7}" type="sibTrans" cxnId="{5E59A7AB-CE34-464C-B6A2-AF34995932B4}">
      <dgm:prSet/>
      <dgm:spPr/>
      <dgm:t>
        <a:bodyPr/>
        <a:lstStyle/>
        <a:p>
          <a:endParaRPr lang="en-US"/>
        </a:p>
      </dgm:t>
    </dgm:pt>
    <dgm:pt modelId="{04184E62-4203-4EBA-846A-647E12EDFE7B}">
      <dgm:prSet phldr="0"/>
      <dgm:spPr/>
      <dgm:t>
        <a:bodyPr/>
        <a:lstStyle/>
        <a:p>
          <a:pPr rtl="0"/>
          <a:r>
            <a:rPr lang="en-US" dirty="0">
              <a:latin typeface="Calibri" panose="020F0502020204030204"/>
            </a:rPr>
            <a:t>January 11th, 2023</a:t>
          </a:r>
        </a:p>
      </dgm:t>
    </dgm:pt>
    <dgm:pt modelId="{EE4A0166-5E04-4EBC-AF62-E44395844E0C}" type="parTrans" cxnId="{EE9E9E4D-E9D0-4DF0-BDDB-06881D93649A}">
      <dgm:prSet/>
      <dgm:spPr/>
      <dgm:t>
        <a:bodyPr/>
        <a:lstStyle/>
        <a:p>
          <a:endParaRPr lang="en-US"/>
        </a:p>
      </dgm:t>
    </dgm:pt>
    <dgm:pt modelId="{2F6FE8A9-DA40-4FAB-B60D-059693FD4BA0}" type="sibTrans" cxnId="{EE9E9E4D-E9D0-4DF0-BDDB-06881D93649A}">
      <dgm:prSet/>
      <dgm:spPr/>
      <dgm:t>
        <a:bodyPr/>
        <a:lstStyle/>
        <a:p>
          <a:endParaRPr lang="en-US"/>
        </a:p>
      </dgm:t>
    </dgm:pt>
    <dgm:pt modelId="{3D132738-1FFB-47B6-A01C-0E0BA5C84AF4}">
      <dgm:prSet phldr="0"/>
      <dgm:spPr/>
      <dgm:t>
        <a:bodyPr/>
        <a:lstStyle/>
        <a:p>
          <a:pPr rtl="0"/>
          <a:r>
            <a:rPr lang="en-US" dirty="0">
              <a:solidFill>
                <a:srgbClr val="444444"/>
              </a:solidFill>
              <a:latin typeface="Calibri" panose="020F0502020204030204"/>
            </a:rPr>
            <a:t>January </a:t>
          </a:r>
          <a:r>
            <a:rPr lang="en-US" dirty="0">
              <a:latin typeface="Calibri" panose="020F0502020204030204"/>
            </a:rPr>
            <a:t>2023</a:t>
          </a:r>
        </a:p>
      </dgm:t>
    </dgm:pt>
    <dgm:pt modelId="{3702912D-5439-43E2-989F-EE84A8E59696}" type="parTrans" cxnId="{B712C632-1056-4BFA-8C71-58049149EE79}">
      <dgm:prSet/>
      <dgm:spPr/>
      <dgm:t>
        <a:bodyPr/>
        <a:lstStyle/>
        <a:p>
          <a:endParaRPr lang="en-US"/>
        </a:p>
      </dgm:t>
    </dgm:pt>
    <dgm:pt modelId="{09C5895F-1864-4560-A785-C2AF1169DC22}" type="sibTrans" cxnId="{B712C632-1056-4BFA-8C71-58049149EE79}">
      <dgm:prSet/>
      <dgm:spPr/>
      <dgm:t>
        <a:bodyPr/>
        <a:lstStyle/>
        <a:p>
          <a:endParaRPr lang="en-US"/>
        </a:p>
      </dgm:t>
    </dgm:pt>
    <dgm:pt modelId="{80CD9FC5-84A2-4119-AE4E-1AD6DC2A6A90}">
      <dgm:prSet phldr="0"/>
      <dgm:spPr/>
      <dgm:t>
        <a:bodyPr/>
        <a:lstStyle/>
        <a:p>
          <a:r>
            <a:rPr lang="en-US">
              <a:latin typeface="Calibri" panose="020F0502020204030204"/>
            </a:rPr>
            <a:t>ESSI Data Training Webinars</a:t>
          </a:r>
          <a:endParaRPr lang="en-US"/>
        </a:p>
      </dgm:t>
    </dgm:pt>
    <dgm:pt modelId="{44C892A4-16B5-4D15-B018-7008CEF3E344}" type="parTrans" cxnId="{6795C9E4-6439-4AED-8F87-57DCF0542CEC}">
      <dgm:prSet/>
      <dgm:spPr/>
      <dgm:t>
        <a:bodyPr/>
        <a:lstStyle/>
        <a:p>
          <a:endParaRPr lang="en-US"/>
        </a:p>
      </dgm:t>
    </dgm:pt>
    <dgm:pt modelId="{DD32E8B5-4713-4832-9F58-63A206E397CB}" type="sibTrans" cxnId="{6795C9E4-6439-4AED-8F87-57DCF0542CEC}">
      <dgm:prSet/>
      <dgm:spPr/>
      <dgm:t>
        <a:bodyPr/>
        <a:lstStyle/>
        <a:p>
          <a:endParaRPr lang="en-US"/>
        </a:p>
      </dgm:t>
    </dgm:pt>
    <dgm:pt modelId="{1E8B09AA-4CC9-487B-B16A-6BDBDBFF1448}">
      <dgm:prSet phldr="0"/>
      <dgm:spPr/>
      <dgm:t>
        <a:bodyPr/>
        <a:lstStyle/>
        <a:p>
          <a:pPr rtl="0"/>
          <a:r>
            <a:rPr lang="en-US" dirty="0">
              <a:latin typeface="Calibri" panose="020F0502020204030204"/>
            </a:rPr>
            <a:t>Important information for ESSI team leads on how to get started</a:t>
          </a:r>
        </a:p>
      </dgm:t>
    </dgm:pt>
    <dgm:pt modelId="{572F0438-E305-46A2-B41D-50C346A5F61B}" type="parTrans" cxnId="{3ECA6895-47D3-481A-9ADA-955DE7944A3F}">
      <dgm:prSet/>
      <dgm:spPr/>
      <dgm:t>
        <a:bodyPr/>
        <a:lstStyle/>
        <a:p>
          <a:endParaRPr lang="en-US"/>
        </a:p>
      </dgm:t>
    </dgm:pt>
    <dgm:pt modelId="{486899FC-F27C-4EF0-8E11-85A0FAF30A1F}" type="sibTrans" cxnId="{3ECA6895-47D3-481A-9ADA-955DE7944A3F}">
      <dgm:prSet/>
      <dgm:spPr/>
      <dgm:t>
        <a:bodyPr/>
        <a:lstStyle/>
        <a:p>
          <a:endParaRPr lang="en-US"/>
        </a:p>
      </dgm:t>
    </dgm:pt>
    <dgm:pt modelId="{8987D20E-A147-4A43-925C-44077CAB82FE}">
      <dgm:prSet phldrT="[Text]" phldr="0"/>
      <dgm:spPr/>
      <dgm:t>
        <a:bodyPr/>
        <a:lstStyle/>
        <a:p>
          <a:pPr rtl="0"/>
          <a:r>
            <a:rPr lang="en-US" dirty="0"/>
            <a:t>How to collect data, access redcap, enter data and review reports</a:t>
          </a:r>
        </a:p>
      </dgm:t>
    </dgm:pt>
    <dgm:pt modelId="{6B30D2D7-0E76-4EA4-99EE-94C6A94F841A}" type="parTrans" cxnId="{B4FCBD76-7A47-43C1-973A-9B43A1A74391}">
      <dgm:prSet/>
      <dgm:spPr/>
      <dgm:t>
        <a:bodyPr/>
        <a:lstStyle/>
        <a:p>
          <a:endParaRPr lang="en-US"/>
        </a:p>
      </dgm:t>
    </dgm:pt>
    <dgm:pt modelId="{C80FE73F-A6EA-4A5F-96ED-9CDBAFEA26D0}" type="sibTrans" cxnId="{B4FCBD76-7A47-43C1-973A-9B43A1A74391}">
      <dgm:prSet/>
      <dgm:spPr/>
      <dgm:t>
        <a:bodyPr/>
        <a:lstStyle/>
        <a:p>
          <a:endParaRPr lang="en-US"/>
        </a:p>
      </dgm:t>
    </dgm:pt>
    <dgm:pt modelId="{7F435329-FBED-4AA4-A84F-70D9E9A80178}">
      <dgm:prSet phldr="0"/>
      <dgm:spPr/>
      <dgm:t>
        <a:bodyPr/>
        <a:lstStyle/>
        <a:p>
          <a:pPr rtl="0"/>
          <a:r>
            <a:rPr lang="en-US" dirty="0">
              <a:latin typeface="Calibri" panose="020F0502020204030204"/>
            </a:rPr>
            <a:t>Getting started with healthcare provider and nurse education</a:t>
          </a:r>
        </a:p>
      </dgm:t>
    </dgm:pt>
    <dgm:pt modelId="{E566D771-E43F-4068-844B-AB66BDDEF978}" type="parTrans" cxnId="{EFD93375-6B85-4531-B658-65EBE50D7D0C}">
      <dgm:prSet/>
      <dgm:spPr/>
      <dgm:t>
        <a:bodyPr/>
        <a:lstStyle/>
        <a:p>
          <a:endParaRPr lang="en-US"/>
        </a:p>
      </dgm:t>
    </dgm:pt>
    <dgm:pt modelId="{351D4B12-ACDB-4DE6-B3B8-871BA24FF0AB}" type="sibTrans" cxnId="{EFD93375-6B85-4531-B658-65EBE50D7D0C}">
      <dgm:prSet/>
      <dgm:spPr/>
      <dgm:t>
        <a:bodyPr/>
        <a:lstStyle/>
        <a:p>
          <a:endParaRPr lang="en-US"/>
        </a:p>
      </dgm:t>
    </dgm:pt>
    <dgm:pt modelId="{1AC9F623-2B54-4F8A-831B-0CFEB8F285F0}" type="pres">
      <dgm:prSet presAssocID="{CE31CE2D-52AD-47EE-9F57-FF0C2AB9FBB8}" presName="Name0" presStyleCnt="0">
        <dgm:presLayoutVars>
          <dgm:chPref val="3"/>
          <dgm:dir/>
          <dgm:animLvl val="lvl"/>
          <dgm:resizeHandles/>
        </dgm:presLayoutVars>
      </dgm:prSet>
      <dgm:spPr/>
    </dgm:pt>
    <dgm:pt modelId="{9396E2C7-844D-4CC0-9F68-4357429F89BF}" type="pres">
      <dgm:prSet presAssocID="{A0D4E7A4-3117-4723-AAF3-8936E6B80F33}" presName="horFlow" presStyleCnt="0"/>
      <dgm:spPr/>
    </dgm:pt>
    <dgm:pt modelId="{81B6DA4E-BFB9-43D6-AF7A-AEDE000EE248}" type="pres">
      <dgm:prSet presAssocID="{A0D4E7A4-3117-4723-AAF3-8936E6B80F33}" presName="bigChev" presStyleLbl="node1" presStyleIdx="0" presStyleCnt="3"/>
      <dgm:spPr/>
    </dgm:pt>
    <dgm:pt modelId="{D19B867F-F50F-4C70-8508-500D3527C665}" type="pres">
      <dgm:prSet presAssocID="{3812E649-201B-4DFF-8BBC-01B4BBC59472}" presName="parTrans" presStyleCnt="0"/>
      <dgm:spPr/>
    </dgm:pt>
    <dgm:pt modelId="{69A3F573-828B-4DB7-9CCF-884EA63CCE92}" type="pres">
      <dgm:prSet presAssocID="{017DC130-9F90-46B9-BC95-6B4655F98326}" presName="node" presStyleLbl="alignAccFollowNode1" presStyleIdx="0" presStyleCnt="7">
        <dgm:presLayoutVars>
          <dgm:bulletEnabled val="1"/>
        </dgm:presLayoutVars>
      </dgm:prSet>
      <dgm:spPr/>
    </dgm:pt>
    <dgm:pt modelId="{0206FF33-B79E-4336-BD64-329B9BD269A0}" type="pres">
      <dgm:prSet presAssocID="{CC58E277-C8D2-4919-914C-61D9B04D7FA7}" presName="sibTrans" presStyleCnt="0"/>
      <dgm:spPr/>
    </dgm:pt>
    <dgm:pt modelId="{A66BEFC1-E304-4612-B5D9-747AB98866B1}" type="pres">
      <dgm:prSet presAssocID="{1E8B09AA-4CC9-487B-B16A-6BDBDBFF1448}" presName="node" presStyleLbl="alignAccFollowNode1" presStyleIdx="1" presStyleCnt="7" custScaleX="179088">
        <dgm:presLayoutVars>
          <dgm:bulletEnabled val="1"/>
        </dgm:presLayoutVars>
      </dgm:prSet>
      <dgm:spPr/>
    </dgm:pt>
    <dgm:pt modelId="{2B03031B-DEE1-43C6-B247-6312ED180B11}" type="pres">
      <dgm:prSet presAssocID="{A0D4E7A4-3117-4723-AAF3-8936E6B80F33}" presName="vSp" presStyleCnt="0"/>
      <dgm:spPr/>
    </dgm:pt>
    <dgm:pt modelId="{D3E44863-7289-4C7F-A5F9-3F338DEA58F3}" type="pres">
      <dgm:prSet presAssocID="{DD004FB2-A568-4C30-AA6F-36014AE077F5}" presName="horFlow" presStyleCnt="0"/>
      <dgm:spPr/>
    </dgm:pt>
    <dgm:pt modelId="{60962599-610D-41A6-A308-3C61676FA10F}" type="pres">
      <dgm:prSet presAssocID="{DD004FB2-A568-4C30-AA6F-36014AE077F5}" presName="bigChev" presStyleLbl="node1" presStyleIdx="1" presStyleCnt="3"/>
      <dgm:spPr/>
    </dgm:pt>
    <dgm:pt modelId="{7B006ADB-7AD9-4CA9-AB29-0B37917A63E6}" type="pres">
      <dgm:prSet presAssocID="{3702912D-5439-43E2-989F-EE84A8E59696}" presName="parTrans" presStyleCnt="0"/>
      <dgm:spPr/>
    </dgm:pt>
    <dgm:pt modelId="{40C493D5-84C5-414A-B25E-F0516F30F1DB}" type="pres">
      <dgm:prSet presAssocID="{3D132738-1FFB-47B6-A01C-0E0BA5C84AF4}" presName="node" presStyleLbl="alignAccFollowNode1" presStyleIdx="2" presStyleCnt="7">
        <dgm:presLayoutVars>
          <dgm:bulletEnabled val="1"/>
        </dgm:presLayoutVars>
      </dgm:prSet>
      <dgm:spPr/>
    </dgm:pt>
    <dgm:pt modelId="{F5C0DCC4-DF73-4790-9CF8-ACC7AEF01C85}" type="pres">
      <dgm:prSet presAssocID="{09C5895F-1864-4560-A785-C2AF1169DC22}" presName="sibTrans" presStyleCnt="0"/>
      <dgm:spPr/>
    </dgm:pt>
    <dgm:pt modelId="{E4E686C1-FC9F-4B2F-8F63-DDC471B0DEB4}" type="pres">
      <dgm:prSet presAssocID="{7F435329-FBED-4AA4-A84F-70D9E9A80178}" presName="node" presStyleLbl="alignAccFollowNode1" presStyleIdx="3" presStyleCnt="7" custScaleX="183164">
        <dgm:presLayoutVars>
          <dgm:bulletEnabled val="1"/>
        </dgm:presLayoutVars>
      </dgm:prSet>
      <dgm:spPr/>
    </dgm:pt>
    <dgm:pt modelId="{02C85D75-F0CF-4656-9A04-F9D649821F56}" type="pres">
      <dgm:prSet presAssocID="{DD004FB2-A568-4C30-AA6F-36014AE077F5}" presName="vSp" presStyleCnt="0"/>
      <dgm:spPr/>
    </dgm:pt>
    <dgm:pt modelId="{A5B46316-F840-4195-86CF-FCB8623A496A}" type="pres">
      <dgm:prSet presAssocID="{80CD9FC5-84A2-4119-AE4E-1AD6DC2A6A90}" presName="horFlow" presStyleCnt="0"/>
      <dgm:spPr/>
    </dgm:pt>
    <dgm:pt modelId="{5D5075C0-CF76-44AB-9B25-E029186A86C7}" type="pres">
      <dgm:prSet presAssocID="{80CD9FC5-84A2-4119-AE4E-1AD6DC2A6A90}" presName="bigChev" presStyleLbl="node1" presStyleIdx="2" presStyleCnt="3"/>
      <dgm:spPr/>
    </dgm:pt>
    <dgm:pt modelId="{A535F8AE-7CBE-4C20-8A04-B0949F1BDC20}" type="pres">
      <dgm:prSet presAssocID="{EE4A0166-5E04-4EBC-AF62-E44395844E0C}" presName="parTrans" presStyleCnt="0"/>
      <dgm:spPr/>
    </dgm:pt>
    <dgm:pt modelId="{DBA3233D-396D-4828-ABB1-05C8FA826E94}" type="pres">
      <dgm:prSet presAssocID="{04184E62-4203-4EBA-846A-647E12EDFE7B}" presName="node" presStyleLbl="alignAccFollowNode1" presStyleIdx="4" presStyleCnt="7" custScaleX="86985">
        <dgm:presLayoutVars>
          <dgm:bulletEnabled val="1"/>
        </dgm:presLayoutVars>
      </dgm:prSet>
      <dgm:spPr/>
    </dgm:pt>
    <dgm:pt modelId="{5767BAFD-75A5-43CA-B5AA-360BDD57BF97}" type="pres">
      <dgm:prSet presAssocID="{2F6FE8A9-DA40-4FAB-B60D-059693FD4BA0}" presName="sibTrans" presStyleCnt="0"/>
      <dgm:spPr/>
    </dgm:pt>
    <dgm:pt modelId="{4507A95F-1518-44E3-95D0-73A0EC79E6E5}" type="pres">
      <dgm:prSet presAssocID="{27331272-1A14-4E80-B031-5AA5C5A02FFF}" presName="node" presStyleLbl="alignAccFollowNode1" presStyleIdx="5" presStyleCnt="7" custScaleX="83282">
        <dgm:presLayoutVars>
          <dgm:bulletEnabled val="1"/>
        </dgm:presLayoutVars>
      </dgm:prSet>
      <dgm:spPr/>
    </dgm:pt>
    <dgm:pt modelId="{0EC2BE38-4523-4232-97BE-604EF5DE0027}" type="pres">
      <dgm:prSet presAssocID="{D141C3BC-F34D-4A2E-BCBE-2D15C984B647}" presName="sibTrans" presStyleCnt="0"/>
      <dgm:spPr/>
    </dgm:pt>
    <dgm:pt modelId="{D8BA990C-EEA2-4E44-B076-9170393433C7}" type="pres">
      <dgm:prSet presAssocID="{8987D20E-A147-4A43-925C-44077CAB82FE}" presName="node" presStyleLbl="alignAccFollowNode1" presStyleIdx="6" presStyleCnt="7" custScaleX="134560">
        <dgm:presLayoutVars>
          <dgm:bulletEnabled val="1"/>
        </dgm:presLayoutVars>
      </dgm:prSet>
      <dgm:spPr/>
    </dgm:pt>
  </dgm:ptLst>
  <dgm:cxnLst>
    <dgm:cxn modelId="{02016008-E2EE-4DE1-804D-9CEC1ED6AB2D}" type="presOf" srcId="{8987D20E-A147-4A43-925C-44077CAB82FE}" destId="{D8BA990C-EEA2-4E44-B076-9170393433C7}" srcOrd="0" destOrd="0" presId="urn:microsoft.com/office/officeart/2005/8/layout/lProcess3"/>
    <dgm:cxn modelId="{BDAB7910-D8FD-4EDE-8D8E-E497F8B527B6}" type="presOf" srcId="{017DC130-9F90-46B9-BC95-6B4655F98326}" destId="{69A3F573-828B-4DB7-9CCF-884EA63CCE92}" srcOrd="0" destOrd="0" presId="urn:microsoft.com/office/officeart/2005/8/layout/lProcess3"/>
    <dgm:cxn modelId="{B712C632-1056-4BFA-8C71-58049149EE79}" srcId="{DD004FB2-A568-4C30-AA6F-36014AE077F5}" destId="{3D132738-1FFB-47B6-A01C-0E0BA5C84AF4}" srcOrd="0" destOrd="0" parTransId="{3702912D-5439-43E2-989F-EE84A8E59696}" sibTransId="{09C5895F-1864-4560-A785-C2AF1169DC22}"/>
    <dgm:cxn modelId="{4EE57D38-1E02-4DDA-A22C-B6F91958A8EC}" type="presOf" srcId="{CE31CE2D-52AD-47EE-9F57-FF0C2AB9FBB8}" destId="{1AC9F623-2B54-4F8A-831B-0CFEB8F285F0}" srcOrd="0" destOrd="0" presId="urn:microsoft.com/office/officeart/2005/8/layout/lProcess3"/>
    <dgm:cxn modelId="{ADC9AB42-FB46-4B34-A6AC-B9F6F9CF4382}" type="presOf" srcId="{1E8B09AA-4CC9-487B-B16A-6BDBDBFF1448}" destId="{A66BEFC1-E304-4612-B5D9-747AB98866B1}" srcOrd="0" destOrd="0" presId="urn:microsoft.com/office/officeart/2005/8/layout/lProcess3"/>
    <dgm:cxn modelId="{3E189249-B51E-4CE4-A1B6-4178EBF15B98}" srcId="{CE31CE2D-52AD-47EE-9F57-FF0C2AB9FBB8}" destId="{DD004FB2-A568-4C30-AA6F-36014AE077F5}" srcOrd="1" destOrd="0" parTransId="{8A748206-AA4B-4343-A7F9-8E20175B63BD}" sibTransId="{27591AC4-CF58-4301-ADC8-138FE74B6235}"/>
    <dgm:cxn modelId="{EE9E9E4D-E9D0-4DF0-BDDB-06881D93649A}" srcId="{80CD9FC5-84A2-4119-AE4E-1AD6DC2A6A90}" destId="{04184E62-4203-4EBA-846A-647E12EDFE7B}" srcOrd="0" destOrd="0" parTransId="{EE4A0166-5E04-4EBC-AF62-E44395844E0C}" sibTransId="{2F6FE8A9-DA40-4FAB-B60D-059693FD4BA0}"/>
    <dgm:cxn modelId="{EFD93375-6B85-4531-B658-65EBE50D7D0C}" srcId="{DD004FB2-A568-4C30-AA6F-36014AE077F5}" destId="{7F435329-FBED-4AA4-A84F-70D9E9A80178}" srcOrd="1" destOrd="0" parTransId="{E566D771-E43F-4068-844B-AB66BDDEF978}" sibTransId="{351D4B12-ACDB-4DE6-B3B8-871BA24FF0AB}"/>
    <dgm:cxn modelId="{B4FCBD76-7A47-43C1-973A-9B43A1A74391}" srcId="{80CD9FC5-84A2-4119-AE4E-1AD6DC2A6A90}" destId="{8987D20E-A147-4A43-925C-44077CAB82FE}" srcOrd="2" destOrd="0" parTransId="{6B30D2D7-0E76-4EA4-99EE-94C6A94F841A}" sibTransId="{C80FE73F-A6EA-4A5F-96ED-9CDBAFEA26D0}"/>
    <dgm:cxn modelId="{82D4537A-1D2B-4DC4-85FA-12FA56B5F801}" type="presOf" srcId="{DD004FB2-A568-4C30-AA6F-36014AE077F5}" destId="{60962599-610D-41A6-A308-3C61676FA10F}" srcOrd="0" destOrd="0" presId="urn:microsoft.com/office/officeart/2005/8/layout/lProcess3"/>
    <dgm:cxn modelId="{64137987-E82E-4069-A81F-55C7272FD118}" type="presOf" srcId="{27331272-1A14-4E80-B031-5AA5C5A02FFF}" destId="{4507A95F-1518-44E3-95D0-73A0EC79E6E5}" srcOrd="0" destOrd="0" presId="urn:microsoft.com/office/officeart/2005/8/layout/lProcess3"/>
    <dgm:cxn modelId="{39F82B8C-D17B-433D-B04B-C5189620BE03}" type="presOf" srcId="{7F435329-FBED-4AA4-A84F-70D9E9A80178}" destId="{E4E686C1-FC9F-4B2F-8F63-DDC471B0DEB4}" srcOrd="0" destOrd="0" presId="urn:microsoft.com/office/officeart/2005/8/layout/lProcess3"/>
    <dgm:cxn modelId="{3ECA6895-47D3-481A-9ADA-955DE7944A3F}" srcId="{A0D4E7A4-3117-4723-AAF3-8936E6B80F33}" destId="{1E8B09AA-4CC9-487B-B16A-6BDBDBFF1448}" srcOrd="1" destOrd="0" parTransId="{572F0438-E305-46A2-B41D-50C346A5F61B}" sibTransId="{486899FC-F27C-4EF0-8E11-85A0FAF30A1F}"/>
    <dgm:cxn modelId="{49DE3DA2-09E1-4714-93B6-2DD2D749A3C6}" srcId="{80CD9FC5-84A2-4119-AE4E-1AD6DC2A6A90}" destId="{27331272-1A14-4E80-B031-5AA5C5A02FFF}" srcOrd="1" destOrd="0" parTransId="{122F1A91-902B-46B9-8338-EF09B86B28D2}" sibTransId="{D141C3BC-F34D-4A2E-BCBE-2D15C984B647}"/>
    <dgm:cxn modelId="{0D8676A2-7019-48BB-B9C9-37F63CB7F3BD}" type="presOf" srcId="{A0D4E7A4-3117-4723-AAF3-8936E6B80F33}" destId="{81B6DA4E-BFB9-43D6-AF7A-AEDE000EE248}" srcOrd="0" destOrd="0" presId="urn:microsoft.com/office/officeart/2005/8/layout/lProcess3"/>
    <dgm:cxn modelId="{5E59A7AB-CE34-464C-B6A2-AF34995932B4}" srcId="{CE31CE2D-52AD-47EE-9F57-FF0C2AB9FBB8}" destId="{A0D4E7A4-3117-4723-AAF3-8936E6B80F33}" srcOrd="0" destOrd="0" parTransId="{03EBEDE4-5DB2-4ECC-B6FB-1004FF9F36BC}" sibTransId="{7A8CEC07-3094-400E-A904-2790BC6396A7}"/>
    <dgm:cxn modelId="{534CC6BE-90D0-4D02-B30B-52CCFBC6D2C9}" type="presOf" srcId="{80CD9FC5-84A2-4119-AE4E-1AD6DC2A6A90}" destId="{5D5075C0-CF76-44AB-9B25-E029186A86C7}" srcOrd="0" destOrd="0" presId="urn:microsoft.com/office/officeart/2005/8/layout/lProcess3"/>
    <dgm:cxn modelId="{E68F7CC1-5E40-4B73-9C2C-E5F65863BEDD}" type="presOf" srcId="{04184E62-4203-4EBA-846A-647E12EDFE7B}" destId="{DBA3233D-396D-4828-ABB1-05C8FA826E94}" srcOrd="0" destOrd="0" presId="urn:microsoft.com/office/officeart/2005/8/layout/lProcess3"/>
    <dgm:cxn modelId="{6795C9E4-6439-4AED-8F87-57DCF0542CEC}" srcId="{CE31CE2D-52AD-47EE-9F57-FF0C2AB9FBB8}" destId="{80CD9FC5-84A2-4119-AE4E-1AD6DC2A6A90}" srcOrd="2" destOrd="0" parTransId="{44C892A4-16B5-4D15-B018-7008CEF3E344}" sibTransId="{DD32E8B5-4713-4832-9F58-63A206E397CB}"/>
    <dgm:cxn modelId="{511E4CF6-5811-40F7-A02D-75BFF4F1BF21}" srcId="{A0D4E7A4-3117-4723-AAF3-8936E6B80F33}" destId="{017DC130-9F90-46B9-BC95-6B4655F98326}" srcOrd="0" destOrd="0" parTransId="{3812E649-201B-4DFF-8BBC-01B4BBC59472}" sibTransId="{CC58E277-C8D2-4919-914C-61D9B04D7FA7}"/>
    <dgm:cxn modelId="{9FC0ACFA-D330-4375-9CA9-354007310AFE}" type="presOf" srcId="{3D132738-1FFB-47B6-A01C-0E0BA5C84AF4}" destId="{40C493D5-84C5-414A-B25E-F0516F30F1DB}" srcOrd="0" destOrd="0" presId="urn:microsoft.com/office/officeart/2005/8/layout/lProcess3"/>
    <dgm:cxn modelId="{286FB61C-3FB2-4BBA-9BB4-0FB1C7771D35}" type="presParOf" srcId="{1AC9F623-2B54-4F8A-831B-0CFEB8F285F0}" destId="{9396E2C7-844D-4CC0-9F68-4357429F89BF}" srcOrd="0" destOrd="0" presId="urn:microsoft.com/office/officeart/2005/8/layout/lProcess3"/>
    <dgm:cxn modelId="{3408CAD6-42C0-4BC6-A89A-13DAF9FF005D}" type="presParOf" srcId="{9396E2C7-844D-4CC0-9F68-4357429F89BF}" destId="{81B6DA4E-BFB9-43D6-AF7A-AEDE000EE248}" srcOrd="0" destOrd="0" presId="urn:microsoft.com/office/officeart/2005/8/layout/lProcess3"/>
    <dgm:cxn modelId="{E3D1A304-79BA-4FB8-ACEB-C08BDFAA9A49}" type="presParOf" srcId="{9396E2C7-844D-4CC0-9F68-4357429F89BF}" destId="{D19B867F-F50F-4C70-8508-500D3527C665}" srcOrd="1" destOrd="0" presId="urn:microsoft.com/office/officeart/2005/8/layout/lProcess3"/>
    <dgm:cxn modelId="{776A7AB7-713C-4705-B165-2692F1FD4796}" type="presParOf" srcId="{9396E2C7-844D-4CC0-9F68-4357429F89BF}" destId="{69A3F573-828B-4DB7-9CCF-884EA63CCE92}" srcOrd="2" destOrd="0" presId="urn:microsoft.com/office/officeart/2005/8/layout/lProcess3"/>
    <dgm:cxn modelId="{0512F1D8-A445-4762-8A40-111D90851181}" type="presParOf" srcId="{9396E2C7-844D-4CC0-9F68-4357429F89BF}" destId="{0206FF33-B79E-4336-BD64-329B9BD269A0}" srcOrd="3" destOrd="0" presId="urn:microsoft.com/office/officeart/2005/8/layout/lProcess3"/>
    <dgm:cxn modelId="{AE716D97-499E-459C-9F98-4B623DE22CDD}" type="presParOf" srcId="{9396E2C7-844D-4CC0-9F68-4357429F89BF}" destId="{A66BEFC1-E304-4612-B5D9-747AB98866B1}" srcOrd="4" destOrd="0" presId="urn:microsoft.com/office/officeart/2005/8/layout/lProcess3"/>
    <dgm:cxn modelId="{423A4B8A-3518-4FED-999B-3F4664D1DDDE}" type="presParOf" srcId="{1AC9F623-2B54-4F8A-831B-0CFEB8F285F0}" destId="{2B03031B-DEE1-43C6-B247-6312ED180B11}" srcOrd="1" destOrd="0" presId="urn:microsoft.com/office/officeart/2005/8/layout/lProcess3"/>
    <dgm:cxn modelId="{CBAB0D97-2A22-4C71-9572-FFD19F505868}" type="presParOf" srcId="{1AC9F623-2B54-4F8A-831B-0CFEB8F285F0}" destId="{D3E44863-7289-4C7F-A5F9-3F338DEA58F3}" srcOrd="2" destOrd="0" presId="urn:microsoft.com/office/officeart/2005/8/layout/lProcess3"/>
    <dgm:cxn modelId="{726E8719-CD64-4FEE-912D-0C78AF99FA09}" type="presParOf" srcId="{D3E44863-7289-4C7F-A5F9-3F338DEA58F3}" destId="{60962599-610D-41A6-A308-3C61676FA10F}" srcOrd="0" destOrd="0" presId="urn:microsoft.com/office/officeart/2005/8/layout/lProcess3"/>
    <dgm:cxn modelId="{75529053-E374-4F72-92E1-CAA6A514D937}" type="presParOf" srcId="{D3E44863-7289-4C7F-A5F9-3F338DEA58F3}" destId="{7B006ADB-7AD9-4CA9-AB29-0B37917A63E6}" srcOrd="1" destOrd="0" presId="urn:microsoft.com/office/officeart/2005/8/layout/lProcess3"/>
    <dgm:cxn modelId="{FCF6E24C-C812-455F-AF3D-DF29D0FA77B1}" type="presParOf" srcId="{D3E44863-7289-4C7F-A5F9-3F338DEA58F3}" destId="{40C493D5-84C5-414A-B25E-F0516F30F1DB}" srcOrd="2" destOrd="0" presId="urn:microsoft.com/office/officeart/2005/8/layout/lProcess3"/>
    <dgm:cxn modelId="{1539827A-4D92-479D-A433-689063AED2E7}" type="presParOf" srcId="{D3E44863-7289-4C7F-A5F9-3F338DEA58F3}" destId="{F5C0DCC4-DF73-4790-9CF8-ACC7AEF01C85}" srcOrd="3" destOrd="0" presId="urn:microsoft.com/office/officeart/2005/8/layout/lProcess3"/>
    <dgm:cxn modelId="{EAFA3150-B40E-4AD9-B304-EACC67AC6986}" type="presParOf" srcId="{D3E44863-7289-4C7F-A5F9-3F338DEA58F3}" destId="{E4E686C1-FC9F-4B2F-8F63-DDC471B0DEB4}" srcOrd="4" destOrd="0" presId="urn:microsoft.com/office/officeart/2005/8/layout/lProcess3"/>
    <dgm:cxn modelId="{E4D7968D-80F9-42E6-B2A7-0BD52A871463}" type="presParOf" srcId="{1AC9F623-2B54-4F8A-831B-0CFEB8F285F0}" destId="{02C85D75-F0CF-4656-9A04-F9D649821F56}" srcOrd="3" destOrd="0" presId="urn:microsoft.com/office/officeart/2005/8/layout/lProcess3"/>
    <dgm:cxn modelId="{C69E2E52-FD9C-473D-8954-1D42EEEA6C9D}" type="presParOf" srcId="{1AC9F623-2B54-4F8A-831B-0CFEB8F285F0}" destId="{A5B46316-F840-4195-86CF-FCB8623A496A}" srcOrd="4" destOrd="0" presId="urn:microsoft.com/office/officeart/2005/8/layout/lProcess3"/>
    <dgm:cxn modelId="{B94B1DFE-E295-4FD7-AA9C-DA8B54510B6A}" type="presParOf" srcId="{A5B46316-F840-4195-86CF-FCB8623A496A}" destId="{5D5075C0-CF76-44AB-9B25-E029186A86C7}" srcOrd="0" destOrd="0" presId="urn:microsoft.com/office/officeart/2005/8/layout/lProcess3"/>
    <dgm:cxn modelId="{F53B7BB6-ED74-48EA-8AC9-81D1938227F6}" type="presParOf" srcId="{A5B46316-F840-4195-86CF-FCB8623A496A}" destId="{A535F8AE-7CBE-4C20-8A04-B0949F1BDC20}" srcOrd="1" destOrd="0" presId="urn:microsoft.com/office/officeart/2005/8/layout/lProcess3"/>
    <dgm:cxn modelId="{25EFE1F9-8145-4DCD-8C22-C0773BF8430C}" type="presParOf" srcId="{A5B46316-F840-4195-86CF-FCB8623A496A}" destId="{DBA3233D-396D-4828-ABB1-05C8FA826E94}" srcOrd="2" destOrd="0" presId="urn:microsoft.com/office/officeart/2005/8/layout/lProcess3"/>
    <dgm:cxn modelId="{BA1979BE-AEEE-4651-9711-05D522321162}" type="presParOf" srcId="{A5B46316-F840-4195-86CF-FCB8623A496A}" destId="{5767BAFD-75A5-43CA-B5AA-360BDD57BF97}" srcOrd="3" destOrd="0" presId="urn:microsoft.com/office/officeart/2005/8/layout/lProcess3"/>
    <dgm:cxn modelId="{180428B1-40E1-4BE1-97BE-36B5B9FC0DA1}" type="presParOf" srcId="{A5B46316-F840-4195-86CF-FCB8623A496A}" destId="{4507A95F-1518-44E3-95D0-73A0EC79E6E5}" srcOrd="4" destOrd="0" presId="urn:microsoft.com/office/officeart/2005/8/layout/lProcess3"/>
    <dgm:cxn modelId="{A905ABE8-1EFD-4C93-9FE5-0ED762320C8C}" type="presParOf" srcId="{A5B46316-F840-4195-86CF-FCB8623A496A}" destId="{0EC2BE38-4523-4232-97BE-604EF5DE0027}" srcOrd="5" destOrd="0" presId="urn:microsoft.com/office/officeart/2005/8/layout/lProcess3"/>
    <dgm:cxn modelId="{CA980183-8DC9-4BB9-AFB7-E657DDD9CF42}" type="presParOf" srcId="{A5B46316-F840-4195-86CF-FCB8623A496A}" destId="{D8BA990C-EEA2-4E44-B076-9170393433C7}" srcOrd="6"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F36647C-5324-4D08-BDB9-3E9B48F20DD1}" type="doc">
      <dgm:prSet loTypeId="urn:microsoft.com/office/officeart/2017/3/layout/DropPinTimeline" loCatId="process" qsTypeId="urn:microsoft.com/office/officeart/2005/8/quickstyle/simple1" qsCatId="simple" csTypeId="urn:microsoft.com/office/officeart/2005/8/colors/colorful1" csCatId="colorful" phldr="1"/>
      <dgm:spPr/>
      <dgm:t>
        <a:bodyPr/>
        <a:lstStyle/>
        <a:p>
          <a:endParaRPr lang="en-US"/>
        </a:p>
      </dgm:t>
    </dgm:pt>
    <dgm:pt modelId="{888DC0D2-4444-40D9-B858-BFDAA4CDF353}">
      <dgm:prSet/>
      <dgm:spPr/>
      <dgm:t>
        <a:bodyPr/>
        <a:lstStyle/>
        <a:p>
          <a:pPr>
            <a:defRPr b="1"/>
          </a:pPr>
          <a:r>
            <a:rPr lang="en-US"/>
            <a:t>January</a:t>
          </a:r>
        </a:p>
      </dgm:t>
    </dgm:pt>
    <dgm:pt modelId="{60EC43F8-DA40-49EB-BE0E-26C4F395A32F}" type="parTrans" cxnId="{3F45C7ED-0090-4AEE-94EB-07E2C9AD936C}">
      <dgm:prSet/>
      <dgm:spPr/>
      <dgm:t>
        <a:bodyPr/>
        <a:lstStyle/>
        <a:p>
          <a:endParaRPr lang="en-US"/>
        </a:p>
      </dgm:t>
    </dgm:pt>
    <dgm:pt modelId="{4EEDA2CB-0EF6-42B3-B5C1-B63D1AE6F3BD}" type="sibTrans" cxnId="{3F45C7ED-0090-4AEE-94EB-07E2C9AD936C}">
      <dgm:prSet/>
      <dgm:spPr/>
      <dgm:t>
        <a:bodyPr/>
        <a:lstStyle/>
        <a:p>
          <a:endParaRPr lang="en-US"/>
        </a:p>
      </dgm:t>
    </dgm:pt>
    <dgm:pt modelId="{35F31090-FA02-4466-AFB5-87B6DF07BCD7}">
      <dgm:prSet/>
      <dgm:spPr/>
      <dgm:t>
        <a:bodyPr/>
        <a:lstStyle/>
        <a:p>
          <a:r>
            <a:rPr lang="en-US"/>
            <a:t>Equitable and Respectful Care Education and Implementation</a:t>
          </a:r>
        </a:p>
      </dgm:t>
    </dgm:pt>
    <dgm:pt modelId="{02A6F90A-4E5E-47CC-991A-2BAB3C5B6268}" type="parTrans" cxnId="{EFA22CE1-2C52-470A-9938-CD484B2EA0F6}">
      <dgm:prSet/>
      <dgm:spPr/>
      <dgm:t>
        <a:bodyPr/>
        <a:lstStyle/>
        <a:p>
          <a:endParaRPr lang="en-US"/>
        </a:p>
      </dgm:t>
    </dgm:pt>
    <dgm:pt modelId="{F084EB43-00FB-414A-AD2A-3F7880D78FB6}" type="sibTrans" cxnId="{EFA22CE1-2C52-470A-9938-CD484B2EA0F6}">
      <dgm:prSet/>
      <dgm:spPr/>
      <dgm:t>
        <a:bodyPr/>
        <a:lstStyle/>
        <a:p>
          <a:endParaRPr lang="en-US"/>
        </a:p>
      </dgm:t>
    </dgm:pt>
    <dgm:pt modelId="{71889293-8C1F-4AD7-B68C-3FE0C7D16B13}">
      <dgm:prSet/>
      <dgm:spPr/>
      <dgm:t>
        <a:bodyPr/>
        <a:lstStyle/>
        <a:p>
          <a:pPr>
            <a:defRPr b="1"/>
          </a:pPr>
          <a:r>
            <a:rPr lang="en-US"/>
            <a:t>February</a:t>
          </a:r>
        </a:p>
      </dgm:t>
    </dgm:pt>
    <dgm:pt modelId="{FDAA98F7-80E5-459E-B1FE-A3F0CB591E6B}" type="parTrans" cxnId="{D1029826-F304-40AB-8A45-E110812DD908}">
      <dgm:prSet/>
      <dgm:spPr/>
      <dgm:t>
        <a:bodyPr/>
        <a:lstStyle/>
        <a:p>
          <a:endParaRPr lang="en-US"/>
        </a:p>
      </dgm:t>
    </dgm:pt>
    <dgm:pt modelId="{704D613E-FC16-44F7-BE3D-38E429095BE1}" type="sibTrans" cxnId="{D1029826-F304-40AB-8A45-E110812DD908}">
      <dgm:prSet/>
      <dgm:spPr/>
      <dgm:t>
        <a:bodyPr/>
        <a:lstStyle/>
        <a:p>
          <a:endParaRPr lang="en-US"/>
        </a:p>
      </dgm:t>
    </dgm:pt>
    <dgm:pt modelId="{CD7881FF-A15F-410F-B09D-1E890C99EC42}">
      <dgm:prSet/>
      <dgm:spPr/>
      <dgm:t>
        <a:bodyPr/>
        <a:lstStyle/>
        <a:p>
          <a:r>
            <a:rPr lang="en-US"/>
            <a:t>Equitable and Respectful Care Education and Implementation Part 2</a:t>
          </a:r>
        </a:p>
      </dgm:t>
    </dgm:pt>
    <dgm:pt modelId="{E5D9AAA8-90BA-4237-8261-FCC83548659B}" type="parTrans" cxnId="{BAADE26F-6135-4A42-861F-8734B5021E8C}">
      <dgm:prSet/>
      <dgm:spPr/>
      <dgm:t>
        <a:bodyPr/>
        <a:lstStyle/>
        <a:p>
          <a:endParaRPr lang="en-US"/>
        </a:p>
      </dgm:t>
    </dgm:pt>
    <dgm:pt modelId="{6AF0B477-E943-470E-9479-F3363B74625A}" type="sibTrans" cxnId="{BAADE26F-6135-4A42-861F-8734B5021E8C}">
      <dgm:prSet/>
      <dgm:spPr/>
      <dgm:t>
        <a:bodyPr/>
        <a:lstStyle/>
        <a:p>
          <a:endParaRPr lang="en-US"/>
        </a:p>
      </dgm:t>
    </dgm:pt>
    <dgm:pt modelId="{782B7E6D-275E-44FE-B64E-CF4DCB18CE03}">
      <dgm:prSet/>
      <dgm:spPr/>
      <dgm:t>
        <a:bodyPr/>
        <a:lstStyle/>
        <a:p>
          <a:pPr>
            <a:defRPr b="1"/>
          </a:pPr>
          <a:r>
            <a:rPr lang="en-US"/>
            <a:t>March</a:t>
          </a:r>
        </a:p>
      </dgm:t>
    </dgm:pt>
    <dgm:pt modelId="{7E3DD2C2-FCF7-483B-BBFA-964A0E2EAC0C}" type="parTrans" cxnId="{8DCA5369-4987-4395-B577-3F77808A3F83}">
      <dgm:prSet/>
      <dgm:spPr/>
      <dgm:t>
        <a:bodyPr/>
        <a:lstStyle/>
        <a:p>
          <a:endParaRPr lang="en-US"/>
        </a:p>
      </dgm:t>
    </dgm:pt>
    <dgm:pt modelId="{7A44FBB3-0697-4CC5-A841-27A346413981}" type="sibTrans" cxnId="{8DCA5369-4987-4395-B577-3F77808A3F83}">
      <dgm:prSet/>
      <dgm:spPr/>
      <dgm:t>
        <a:bodyPr/>
        <a:lstStyle/>
        <a:p>
          <a:endParaRPr lang="en-US"/>
        </a:p>
      </dgm:t>
    </dgm:pt>
    <dgm:pt modelId="{3941DDB8-F743-41AB-B193-8BE13A9EBF36}">
      <dgm:prSet/>
      <dgm:spPr/>
      <dgm:t>
        <a:bodyPr/>
        <a:lstStyle/>
        <a:p>
          <a:r>
            <a:rPr lang="en-US"/>
            <a:t>Safe Sleep Environment Education and Implementation</a:t>
          </a:r>
        </a:p>
      </dgm:t>
    </dgm:pt>
    <dgm:pt modelId="{58428392-E344-41F5-84FA-76EEA50DA237}" type="parTrans" cxnId="{F4F8E7B3-B5C3-4ADE-A4BF-BF9089E937FD}">
      <dgm:prSet/>
      <dgm:spPr/>
      <dgm:t>
        <a:bodyPr/>
        <a:lstStyle/>
        <a:p>
          <a:endParaRPr lang="en-US"/>
        </a:p>
      </dgm:t>
    </dgm:pt>
    <dgm:pt modelId="{6DEDE53F-E007-4201-94B1-14C6431F9A09}" type="sibTrans" cxnId="{F4F8E7B3-B5C3-4ADE-A4BF-BF9089E937FD}">
      <dgm:prSet/>
      <dgm:spPr/>
      <dgm:t>
        <a:bodyPr/>
        <a:lstStyle/>
        <a:p>
          <a:endParaRPr lang="en-US"/>
        </a:p>
      </dgm:t>
    </dgm:pt>
    <dgm:pt modelId="{08572C69-19EE-42C6-BA4D-603CD7F3307B}">
      <dgm:prSet/>
      <dgm:spPr/>
      <dgm:t>
        <a:bodyPr/>
        <a:lstStyle/>
        <a:p>
          <a:pPr>
            <a:defRPr b="1"/>
          </a:pPr>
          <a:r>
            <a:rPr lang="en-US"/>
            <a:t>April</a:t>
          </a:r>
        </a:p>
      </dgm:t>
    </dgm:pt>
    <dgm:pt modelId="{F36C70AE-C5E9-45FD-B03D-266D24EF552D}" type="parTrans" cxnId="{C7566451-E4E4-4666-9F97-113B57CFD5DA}">
      <dgm:prSet/>
      <dgm:spPr/>
      <dgm:t>
        <a:bodyPr/>
        <a:lstStyle/>
        <a:p>
          <a:endParaRPr lang="en-US"/>
        </a:p>
      </dgm:t>
    </dgm:pt>
    <dgm:pt modelId="{82A263F1-86DA-4665-B566-AA56CDF4A9BB}" type="sibTrans" cxnId="{C7566451-E4E4-4666-9F97-113B57CFD5DA}">
      <dgm:prSet/>
      <dgm:spPr/>
      <dgm:t>
        <a:bodyPr/>
        <a:lstStyle/>
        <a:p>
          <a:endParaRPr lang="en-US"/>
        </a:p>
      </dgm:t>
    </dgm:pt>
    <dgm:pt modelId="{788A36FF-269B-4055-95FF-3C5324B20379}">
      <dgm:prSet/>
      <dgm:spPr/>
      <dgm:t>
        <a:bodyPr/>
        <a:lstStyle/>
        <a:p>
          <a:r>
            <a:rPr lang="en-US"/>
            <a:t>Policy Review (AAP Safe Sleep Guidelines and reviewing polices with an equity lens) </a:t>
          </a:r>
        </a:p>
      </dgm:t>
    </dgm:pt>
    <dgm:pt modelId="{CCA24C21-3B1C-402F-8FDC-C2B89962FAF9}" type="parTrans" cxnId="{6679F8F8-4DD6-45EF-A5D8-9725BB126DC4}">
      <dgm:prSet/>
      <dgm:spPr/>
      <dgm:t>
        <a:bodyPr/>
        <a:lstStyle/>
        <a:p>
          <a:endParaRPr lang="en-US"/>
        </a:p>
      </dgm:t>
    </dgm:pt>
    <dgm:pt modelId="{C51466E5-D8D4-4B32-8450-8F1E54EA0DC1}" type="sibTrans" cxnId="{6679F8F8-4DD6-45EF-A5D8-9725BB126DC4}">
      <dgm:prSet/>
      <dgm:spPr/>
      <dgm:t>
        <a:bodyPr/>
        <a:lstStyle/>
        <a:p>
          <a:endParaRPr lang="en-US"/>
        </a:p>
      </dgm:t>
    </dgm:pt>
    <dgm:pt modelId="{9DACF67C-F2C7-4BB0-891B-22735034EE56}">
      <dgm:prSet/>
      <dgm:spPr/>
      <dgm:t>
        <a:bodyPr/>
        <a:lstStyle/>
        <a:p>
          <a:pPr>
            <a:defRPr b="1"/>
          </a:pPr>
          <a:r>
            <a:rPr lang="en-US"/>
            <a:t>May</a:t>
          </a:r>
        </a:p>
      </dgm:t>
    </dgm:pt>
    <dgm:pt modelId="{7F53CC57-155F-4B0C-BC49-1CD3FA3AA2D3}" type="parTrans" cxnId="{69545631-356E-4F19-BD8D-26C6F2396ED8}">
      <dgm:prSet/>
      <dgm:spPr/>
      <dgm:t>
        <a:bodyPr/>
        <a:lstStyle/>
        <a:p>
          <a:endParaRPr lang="en-US"/>
        </a:p>
      </dgm:t>
    </dgm:pt>
    <dgm:pt modelId="{67BA471E-783A-4701-8B8C-A920C9849F32}" type="sibTrans" cxnId="{69545631-356E-4F19-BD8D-26C6F2396ED8}">
      <dgm:prSet/>
      <dgm:spPr/>
      <dgm:t>
        <a:bodyPr/>
        <a:lstStyle/>
        <a:p>
          <a:endParaRPr lang="en-US"/>
        </a:p>
      </dgm:t>
    </dgm:pt>
    <dgm:pt modelId="{B883083D-8218-49D7-A828-1ECC3C14D9E4}">
      <dgm:prSet/>
      <dgm:spPr/>
      <dgm:t>
        <a:bodyPr/>
        <a:lstStyle/>
        <a:p>
          <a:r>
            <a:rPr lang="en-US"/>
            <a:t>2024 Face-to-Face Meeting in Springfield IL</a:t>
          </a:r>
        </a:p>
      </dgm:t>
    </dgm:pt>
    <dgm:pt modelId="{3085840A-FC05-43FB-9035-4E3F090482CE}" type="parTrans" cxnId="{C1C5D9CF-DAC4-4058-A2FB-83924AE08BCC}">
      <dgm:prSet/>
      <dgm:spPr/>
      <dgm:t>
        <a:bodyPr/>
        <a:lstStyle/>
        <a:p>
          <a:endParaRPr lang="en-US"/>
        </a:p>
      </dgm:t>
    </dgm:pt>
    <dgm:pt modelId="{B0152FBA-F1BA-4B09-9920-901A87904351}" type="sibTrans" cxnId="{C1C5D9CF-DAC4-4058-A2FB-83924AE08BCC}">
      <dgm:prSet/>
      <dgm:spPr/>
      <dgm:t>
        <a:bodyPr/>
        <a:lstStyle/>
        <a:p>
          <a:endParaRPr lang="en-US"/>
        </a:p>
      </dgm:t>
    </dgm:pt>
    <dgm:pt modelId="{A2E3FFE0-9999-4268-8734-DB850753F80D}">
      <dgm:prSet/>
      <dgm:spPr/>
      <dgm:t>
        <a:bodyPr/>
        <a:lstStyle/>
        <a:p>
          <a:pPr>
            <a:defRPr b="1"/>
          </a:pPr>
          <a:r>
            <a:rPr lang="en-US"/>
            <a:t>June</a:t>
          </a:r>
        </a:p>
      </dgm:t>
    </dgm:pt>
    <dgm:pt modelId="{6361E677-9F3D-4A4A-99E9-7CE7A5F01E13}" type="parTrans" cxnId="{65F80EA2-5680-4228-9825-E3CDA1171EEC}">
      <dgm:prSet/>
      <dgm:spPr/>
      <dgm:t>
        <a:bodyPr/>
        <a:lstStyle/>
        <a:p>
          <a:endParaRPr lang="en-US"/>
        </a:p>
      </dgm:t>
    </dgm:pt>
    <dgm:pt modelId="{25EAF25B-BEF4-4F4D-B2AD-CA7A1C39F772}" type="sibTrans" cxnId="{65F80EA2-5680-4228-9825-E3CDA1171EEC}">
      <dgm:prSet/>
      <dgm:spPr/>
      <dgm:t>
        <a:bodyPr/>
        <a:lstStyle/>
        <a:p>
          <a:endParaRPr lang="en-US"/>
        </a:p>
      </dgm:t>
    </dgm:pt>
    <dgm:pt modelId="{DCC8DE00-82BC-4FE7-898C-EE46322F74A2}">
      <dgm:prSet/>
      <dgm:spPr/>
      <dgm:t>
        <a:bodyPr/>
        <a:lstStyle/>
        <a:p>
          <a:r>
            <a:rPr lang="en-US"/>
            <a:t>Use qualified interpreters and provide information in multiple languages </a:t>
          </a:r>
        </a:p>
      </dgm:t>
    </dgm:pt>
    <dgm:pt modelId="{3CB8E035-6D16-4AC8-8498-BC3E5C909FD4}" type="parTrans" cxnId="{9CCC6C1C-B34E-4BF8-A441-D8690429EEE2}">
      <dgm:prSet/>
      <dgm:spPr/>
      <dgm:t>
        <a:bodyPr/>
        <a:lstStyle/>
        <a:p>
          <a:endParaRPr lang="en-US"/>
        </a:p>
      </dgm:t>
    </dgm:pt>
    <dgm:pt modelId="{15991261-2B68-4B79-B15A-381A2449504C}" type="sibTrans" cxnId="{9CCC6C1C-B34E-4BF8-A441-D8690429EEE2}">
      <dgm:prSet/>
      <dgm:spPr/>
      <dgm:t>
        <a:bodyPr/>
        <a:lstStyle/>
        <a:p>
          <a:endParaRPr lang="en-US"/>
        </a:p>
      </dgm:t>
    </dgm:pt>
    <dgm:pt modelId="{1BECC204-0B33-4492-B18F-BFFE0A1C4F24}" type="pres">
      <dgm:prSet presAssocID="{FF36647C-5324-4D08-BDB9-3E9B48F20DD1}" presName="root" presStyleCnt="0">
        <dgm:presLayoutVars>
          <dgm:chMax/>
          <dgm:chPref/>
          <dgm:animLvl val="lvl"/>
        </dgm:presLayoutVars>
      </dgm:prSet>
      <dgm:spPr/>
    </dgm:pt>
    <dgm:pt modelId="{3348F4B1-7F5F-4A53-A952-22DBCA5BB3EC}" type="pres">
      <dgm:prSet presAssocID="{FF36647C-5324-4D08-BDB9-3E9B48F20DD1}" presName="divider" presStyleLbl="fgAcc1" presStyleIdx="0" presStyleCnt="7"/>
      <dgm:spPr>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miter lim="800000"/>
          <a:tailEnd type="triangle" w="lg" len="lg"/>
        </a:ln>
        <a:effectLst/>
      </dgm:spPr>
    </dgm:pt>
    <dgm:pt modelId="{0AA2C8D3-19FD-4BCC-B35D-CCF603F7C82D}" type="pres">
      <dgm:prSet presAssocID="{FF36647C-5324-4D08-BDB9-3E9B48F20DD1}" presName="nodes" presStyleCnt="0">
        <dgm:presLayoutVars>
          <dgm:chMax/>
          <dgm:chPref/>
          <dgm:animLvl val="lvl"/>
        </dgm:presLayoutVars>
      </dgm:prSet>
      <dgm:spPr/>
    </dgm:pt>
    <dgm:pt modelId="{7647DCFA-31EF-4955-B48B-77294C2049C0}" type="pres">
      <dgm:prSet presAssocID="{888DC0D2-4444-40D9-B858-BFDAA4CDF353}" presName="composite" presStyleCnt="0"/>
      <dgm:spPr/>
    </dgm:pt>
    <dgm:pt modelId="{D22A234F-1E9D-4969-A922-A19F09F4C458}" type="pres">
      <dgm:prSet presAssocID="{888DC0D2-4444-40D9-B858-BFDAA4CDF353}" presName="ConnectorPoint" presStyleLbl="lnNode1" presStyleIdx="0" presStyleCnt="6"/>
      <dgm:spPr>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794BEF26-121F-48B4-9A3A-6B5F50F65E99}" type="pres">
      <dgm:prSet presAssocID="{888DC0D2-4444-40D9-B858-BFDAA4CDF353}" presName="DropPinPlaceHolder" presStyleCnt="0"/>
      <dgm:spPr/>
    </dgm:pt>
    <dgm:pt modelId="{A9511F33-CA42-4152-A4A1-9DD03A2021F8}" type="pres">
      <dgm:prSet presAssocID="{888DC0D2-4444-40D9-B858-BFDAA4CDF353}" presName="DropPin" presStyleLbl="alignNode1" presStyleIdx="0" presStyleCnt="6"/>
      <dgm:spPr/>
    </dgm:pt>
    <dgm:pt modelId="{68D7ED5E-FB27-42A2-AA5A-D2F167CAF615}" type="pres">
      <dgm:prSet presAssocID="{888DC0D2-4444-40D9-B858-BFDAA4CDF353}" presName="Ellipse" presStyleLbl="fgAcc1" presStyleIdx="1" presStyleCnt="7"/>
      <dgm:spPr>
        <a:solidFill>
          <a:schemeClr val="lt1">
            <a:alpha val="90000"/>
            <a:hueOff val="0"/>
            <a:satOff val="0"/>
            <a:lumOff val="0"/>
            <a:alphaOff val="0"/>
          </a:schemeClr>
        </a:solidFill>
        <a:ln w="12700" cap="flat" cmpd="sng" algn="ctr">
          <a:noFill/>
          <a:prstDash val="solid"/>
          <a:miter lim="800000"/>
        </a:ln>
        <a:effectLst/>
      </dgm:spPr>
    </dgm:pt>
    <dgm:pt modelId="{FCFABF29-6938-49B1-A567-2C728891E9CA}" type="pres">
      <dgm:prSet presAssocID="{888DC0D2-4444-40D9-B858-BFDAA4CDF353}" presName="L2TextContainer" presStyleLbl="revTx" presStyleIdx="0" presStyleCnt="12">
        <dgm:presLayoutVars>
          <dgm:bulletEnabled val="1"/>
        </dgm:presLayoutVars>
      </dgm:prSet>
      <dgm:spPr/>
    </dgm:pt>
    <dgm:pt modelId="{9645BC26-64C3-4BAD-BB69-975CFA0A023B}" type="pres">
      <dgm:prSet presAssocID="{888DC0D2-4444-40D9-B858-BFDAA4CDF353}" presName="L1TextContainer" presStyleLbl="revTx" presStyleIdx="1" presStyleCnt="12">
        <dgm:presLayoutVars>
          <dgm:chMax val="1"/>
          <dgm:chPref val="1"/>
          <dgm:bulletEnabled val="1"/>
        </dgm:presLayoutVars>
      </dgm:prSet>
      <dgm:spPr/>
    </dgm:pt>
    <dgm:pt modelId="{0878A462-46B3-4B25-9268-DE75AAAA8082}" type="pres">
      <dgm:prSet presAssocID="{888DC0D2-4444-40D9-B858-BFDAA4CDF353}" presName="ConnectLine" presStyleLbl="sibTrans1D1" presStyleIdx="0" presStyleCnt="6"/>
      <dgm:spPr>
        <a:noFill/>
        <a:ln w="12700" cap="flat" cmpd="sng" algn="ctr">
          <a:solidFill>
            <a:schemeClr val="accent2">
              <a:hueOff val="0"/>
              <a:satOff val="0"/>
              <a:lumOff val="0"/>
              <a:alphaOff val="0"/>
            </a:schemeClr>
          </a:solidFill>
          <a:prstDash val="dash"/>
          <a:miter lim="800000"/>
        </a:ln>
        <a:effectLst/>
      </dgm:spPr>
    </dgm:pt>
    <dgm:pt modelId="{AA4F517A-B97A-4D6D-A03F-37D75BFB37CD}" type="pres">
      <dgm:prSet presAssocID="{888DC0D2-4444-40D9-B858-BFDAA4CDF353}" presName="EmptyPlaceHolder" presStyleCnt="0"/>
      <dgm:spPr/>
    </dgm:pt>
    <dgm:pt modelId="{839A820A-31DA-4797-8204-7F7EF9F5555F}" type="pres">
      <dgm:prSet presAssocID="{4EEDA2CB-0EF6-42B3-B5C1-B63D1AE6F3BD}" presName="spaceBetweenRectangles" presStyleCnt="0"/>
      <dgm:spPr/>
    </dgm:pt>
    <dgm:pt modelId="{8C66825A-5B96-44A4-805E-158B893449C4}" type="pres">
      <dgm:prSet presAssocID="{71889293-8C1F-4AD7-B68C-3FE0C7D16B13}" presName="composite" presStyleCnt="0"/>
      <dgm:spPr/>
    </dgm:pt>
    <dgm:pt modelId="{9D2E5EF5-7EEC-4C17-8531-A7A2D99FD415}" type="pres">
      <dgm:prSet presAssocID="{71889293-8C1F-4AD7-B68C-3FE0C7D16B13}" presName="ConnectorPoint" presStyleLbl="lnNode1" presStyleIdx="1" presStyleCnt="6"/>
      <dgm:spPr>
        <a:solidFill>
          <a:schemeClr val="accent3">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073D0FEF-32C2-487B-9F98-8494D9AF969D}" type="pres">
      <dgm:prSet presAssocID="{71889293-8C1F-4AD7-B68C-3FE0C7D16B13}" presName="DropPinPlaceHolder" presStyleCnt="0"/>
      <dgm:spPr/>
    </dgm:pt>
    <dgm:pt modelId="{A75CD570-BD88-4B9C-A3F3-94C8F8344772}" type="pres">
      <dgm:prSet presAssocID="{71889293-8C1F-4AD7-B68C-3FE0C7D16B13}" presName="DropPin" presStyleLbl="alignNode1" presStyleIdx="1" presStyleCnt="6"/>
      <dgm:spPr/>
    </dgm:pt>
    <dgm:pt modelId="{302517CD-6564-4F8E-8536-A67BF33B4069}" type="pres">
      <dgm:prSet presAssocID="{71889293-8C1F-4AD7-B68C-3FE0C7D16B13}" presName="Ellipse" presStyleLbl="fgAcc1" presStyleIdx="2" presStyleCnt="7"/>
      <dgm:spPr>
        <a:solidFill>
          <a:schemeClr val="lt1">
            <a:alpha val="90000"/>
            <a:hueOff val="0"/>
            <a:satOff val="0"/>
            <a:lumOff val="0"/>
            <a:alphaOff val="0"/>
          </a:schemeClr>
        </a:solidFill>
        <a:ln w="12700" cap="flat" cmpd="sng" algn="ctr">
          <a:noFill/>
          <a:prstDash val="solid"/>
          <a:miter lim="800000"/>
        </a:ln>
        <a:effectLst/>
      </dgm:spPr>
    </dgm:pt>
    <dgm:pt modelId="{F8BF2188-6BF4-47CB-ACB2-C7EBAAA124D8}" type="pres">
      <dgm:prSet presAssocID="{71889293-8C1F-4AD7-B68C-3FE0C7D16B13}" presName="L2TextContainer" presStyleLbl="revTx" presStyleIdx="2" presStyleCnt="12">
        <dgm:presLayoutVars>
          <dgm:bulletEnabled val="1"/>
        </dgm:presLayoutVars>
      </dgm:prSet>
      <dgm:spPr/>
    </dgm:pt>
    <dgm:pt modelId="{D0934DA1-1A1E-4382-BFE9-4832C18E047F}" type="pres">
      <dgm:prSet presAssocID="{71889293-8C1F-4AD7-B68C-3FE0C7D16B13}" presName="L1TextContainer" presStyleLbl="revTx" presStyleIdx="3" presStyleCnt="12">
        <dgm:presLayoutVars>
          <dgm:chMax val="1"/>
          <dgm:chPref val="1"/>
          <dgm:bulletEnabled val="1"/>
        </dgm:presLayoutVars>
      </dgm:prSet>
      <dgm:spPr/>
    </dgm:pt>
    <dgm:pt modelId="{FC6D5085-BC9A-425C-9655-F4EAAB9422C6}" type="pres">
      <dgm:prSet presAssocID="{71889293-8C1F-4AD7-B68C-3FE0C7D16B13}" presName="ConnectLine" presStyleLbl="sibTrans1D1" presStyleIdx="1" presStyleCnt="6"/>
      <dgm:spPr>
        <a:noFill/>
        <a:ln w="12700" cap="flat" cmpd="sng" algn="ctr">
          <a:solidFill>
            <a:schemeClr val="accent3">
              <a:hueOff val="0"/>
              <a:satOff val="0"/>
              <a:lumOff val="0"/>
              <a:alphaOff val="0"/>
            </a:schemeClr>
          </a:solidFill>
          <a:prstDash val="dash"/>
          <a:miter lim="800000"/>
        </a:ln>
        <a:effectLst/>
      </dgm:spPr>
    </dgm:pt>
    <dgm:pt modelId="{7CFA46A4-9BD6-49D6-94DC-1AE13D5F412E}" type="pres">
      <dgm:prSet presAssocID="{71889293-8C1F-4AD7-B68C-3FE0C7D16B13}" presName="EmptyPlaceHolder" presStyleCnt="0"/>
      <dgm:spPr/>
    </dgm:pt>
    <dgm:pt modelId="{9B67900B-CDC5-49D7-8DC9-8FE2E33D3D7E}" type="pres">
      <dgm:prSet presAssocID="{704D613E-FC16-44F7-BE3D-38E429095BE1}" presName="spaceBetweenRectangles" presStyleCnt="0"/>
      <dgm:spPr/>
    </dgm:pt>
    <dgm:pt modelId="{3D4DFCF6-A2AE-4455-8EA6-7F92B134DC1A}" type="pres">
      <dgm:prSet presAssocID="{782B7E6D-275E-44FE-B64E-CF4DCB18CE03}" presName="composite" presStyleCnt="0"/>
      <dgm:spPr/>
    </dgm:pt>
    <dgm:pt modelId="{CC3026BE-E675-4141-8C6B-877C71AFCD1B}" type="pres">
      <dgm:prSet presAssocID="{782B7E6D-275E-44FE-B64E-CF4DCB18CE03}" presName="ConnectorPoint" presStyleLbl="lnNode1" presStyleIdx="2" presStyleCnt="6"/>
      <dgm:spPr>
        <a:solidFill>
          <a:schemeClr val="accent4">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3AF1427C-042E-4DCE-B899-4E00DBD112C1}" type="pres">
      <dgm:prSet presAssocID="{782B7E6D-275E-44FE-B64E-CF4DCB18CE03}" presName="DropPinPlaceHolder" presStyleCnt="0"/>
      <dgm:spPr/>
    </dgm:pt>
    <dgm:pt modelId="{03390ACF-8941-4B21-81FE-E24DE182F400}" type="pres">
      <dgm:prSet presAssocID="{782B7E6D-275E-44FE-B64E-CF4DCB18CE03}" presName="DropPin" presStyleLbl="alignNode1" presStyleIdx="2" presStyleCnt="6"/>
      <dgm:spPr/>
    </dgm:pt>
    <dgm:pt modelId="{43CE6054-7DA9-41CA-A822-B5AEFEF9A36D}" type="pres">
      <dgm:prSet presAssocID="{782B7E6D-275E-44FE-B64E-CF4DCB18CE03}" presName="Ellipse" presStyleLbl="fgAcc1" presStyleIdx="3" presStyleCnt="7"/>
      <dgm:spPr>
        <a:solidFill>
          <a:schemeClr val="lt1">
            <a:alpha val="90000"/>
            <a:hueOff val="0"/>
            <a:satOff val="0"/>
            <a:lumOff val="0"/>
            <a:alphaOff val="0"/>
          </a:schemeClr>
        </a:solidFill>
        <a:ln w="12700" cap="flat" cmpd="sng" algn="ctr">
          <a:noFill/>
          <a:prstDash val="solid"/>
          <a:miter lim="800000"/>
        </a:ln>
        <a:effectLst/>
      </dgm:spPr>
    </dgm:pt>
    <dgm:pt modelId="{BE565CC8-066C-44C8-A00D-95B6F78719F0}" type="pres">
      <dgm:prSet presAssocID="{782B7E6D-275E-44FE-B64E-CF4DCB18CE03}" presName="L2TextContainer" presStyleLbl="revTx" presStyleIdx="4" presStyleCnt="12">
        <dgm:presLayoutVars>
          <dgm:bulletEnabled val="1"/>
        </dgm:presLayoutVars>
      </dgm:prSet>
      <dgm:spPr/>
    </dgm:pt>
    <dgm:pt modelId="{4183CEC0-935A-410C-86C6-DD5A3092D739}" type="pres">
      <dgm:prSet presAssocID="{782B7E6D-275E-44FE-B64E-CF4DCB18CE03}" presName="L1TextContainer" presStyleLbl="revTx" presStyleIdx="5" presStyleCnt="12">
        <dgm:presLayoutVars>
          <dgm:chMax val="1"/>
          <dgm:chPref val="1"/>
          <dgm:bulletEnabled val="1"/>
        </dgm:presLayoutVars>
      </dgm:prSet>
      <dgm:spPr/>
    </dgm:pt>
    <dgm:pt modelId="{8C47003B-F241-4006-92DC-837EB791561B}" type="pres">
      <dgm:prSet presAssocID="{782B7E6D-275E-44FE-B64E-CF4DCB18CE03}" presName="ConnectLine" presStyleLbl="sibTrans1D1" presStyleIdx="2" presStyleCnt="6"/>
      <dgm:spPr>
        <a:noFill/>
        <a:ln w="12700" cap="flat" cmpd="sng" algn="ctr">
          <a:solidFill>
            <a:schemeClr val="accent4">
              <a:hueOff val="0"/>
              <a:satOff val="0"/>
              <a:lumOff val="0"/>
              <a:alphaOff val="0"/>
            </a:schemeClr>
          </a:solidFill>
          <a:prstDash val="dash"/>
          <a:miter lim="800000"/>
        </a:ln>
        <a:effectLst/>
      </dgm:spPr>
    </dgm:pt>
    <dgm:pt modelId="{984F423D-ECA1-4D55-B1B0-2AD397FD43B9}" type="pres">
      <dgm:prSet presAssocID="{782B7E6D-275E-44FE-B64E-CF4DCB18CE03}" presName="EmptyPlaceHolder" presStyleCnt="0"/>
      <dgm:spPr/>
    </dgm:pt>
    <dgm:pt modelId="{C4A8F019-51C6-4150-A9A3-7778464D4D9A}" type="pres">
      <dgm:prSet presAssocID="{7A44FBB3-0697-4CC5-A841-27A346413981}" presName="spaceBetweenRectangles" presStyleCnt="0"/>
      <dgm:spPr/>
    </dgm:pt>
    <dgm:pt modelId="{1627D70B-BA61-4CFB-8CD9-DFD6FD208DB8}" type="pres">
      <dgm:prSet presAssocID="{08572C69-19EE-42C6-BA4D-603CD7F3307B}" presName="composite" presStyleCnt="0"/>
      <dgm:spPr/>
    </dgm:pt>
    <dgm:pt modelId="{C04AE90F-AC95-43B5-B942-8D97C0918650}" type="pres">
      <dgm:prSet presAssocID="{08572C69-19EE-42C6-BA4D-603CD7F3307B}" presName="ConnectorPoint" presStyleLbl="lnNode1" presStyleIdx="3" presStyleCnt="6"/>
      <dgm:spPr>
        <a:solidFill>
          <a:schemeClr val="accent5">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A375F317-579E-4A58-B1AE-3DB841CCE3C7}" type="pres">
      <dgm:prSet presAssocID="{08572C69-19EE-42C6-BA4D-603CD7F3307B}" presName="DropPinPlaceHolder" presStyleCnt="0"/>
      <dgm:spPr/>
    </dgm:pt>
    <dgm:pt modelId="{6667F50D-D88C-4B95-A4A3-18B9756C037C}" type="pres">
      <dgm:prSet presAssocID="{08572C69-19EE-42C6-BA4D-603CD7F3307B}" presName="DropPin" presStyleLbl="alignNode1" presStyleIdx="3" presStyleCnt="6"/>
      <dgm:spPr/>
    </dgm:pt>
    <dgm:pt modelId="{CE1B5BCF-E41F-44D1-B630-6887D15A7398}" type="pres">
      <dgm:prSet presAssocID="{08572C69-19EE-42C6-BA4D-603CD7F3307B}" presName="Ellipse" presStyleLbl="fgAcc1" presStyleIdx="4" presStyleCnt="7"/>
      <dgm:spPr>
        <a:solidFill>
          <a:schemeClr val="lt1">
            <a:alpha val="90000"/>
            <a:hueOff val="0"/>
            <a:satOff val="0"/>
            <a:lumOff val="0"/>
            <a:alphaOff val="0"/>
          </a:schemeClr>
        </a:solidFill>
        <a:ln w="12700" cap="flat" cmpd="sng" algn="ctr">
          <a:noFill/>
          <a:prstDash val="solid"/>
          <a:miter lim="800000"/>
        </a:ln>
        <a:effectLst/>
      </dgm:spPr>
    </dgm:pt>
    <dgm:pt modelId="{B0EAA9EE-7BD3-411E-86E5-2BA99352C26E}" type="pres">
      <dgm:prSet presAssocID="{08572C69-19EE-42C6-BA4D-603CD7F3307B}" presName="L2TextContainer" presStyleLbl="revTx" presStyleIdx="6" presStyleCnt="12">
        <dgm:presLayoutVars>
          <dgm:bulletEnabled val="1"/>
        </dgm:presLayoutVars>
      </dgm:prSet>
      <dgm:spPr/>
    </dgm:pt>
    <dgm:pt modelId="{2FB1246F-9AFE-48AF-BDF2-C0001E8CE969}" type="pres">
      <dgm:prSet presAssocID="{08572C69-19EE-42C6-BA4D-603CD7F3307B}" presName="L1TextContainer" presStyleLbl="revTx" presStyleIdx="7" presStyleCnt="12">
        <dgm:presLayoutVars>
          <dgm:chMax val="1"/>
          <dgm:chPref val="1"/>
          <dgm:bulletEnabled val="1"/>
        </dgm:presLayoutVars>
      </dgm:prSet>
      <dgm:spPr/>
    </dgm:pt>
    <dgm:pt modelId="{60A486CB-3970-483A-B450-0DD424E81EA2}" type="pres">
      <dgm:prSet presAssocID="{08572C69-19EE-42C6-BA4D-603CD7F3307B}" presName="ConnectLine" presStyleLbl="sibTrans1D1" presStyleIdx="3" presStyleCnt="6"/>
      <dgm:spPr>
        <a:noFill/>
        <a:ln w="12700" cap="flat" cmpd="sng" algn="ctr">
          <a:solidFill>
            <a:schemeClr val="accent5">
              <a:hueOff val="0"/>
              <a:satOff val="0"/>
              <a:lumOff val="0"/>
              <a:alphaOff val="0"/>
            </a:schemeClr>
          </a:solidFill>
          <a:prstDash val="dash"/>
          <a:miter lim="800000"/>
        </a:ln>
        <a:effectLst/>
      </dgm:spPr>
    </dgm:pt>
    <dgm:pt modelId="{41F339AF-F68F-4A37-BAD3-4D68C1C35319}" type="pres">
      <dgm:prSet presAssocID="{08572C69-19EE-42C6-BA4D-603CD7F3307B}" presName="EmptyPlaceHolder" presStyleCnt="0"/>
      <dgm:spPr/>
    </dgm:pt>
    <dgm:pt modelId="{679765CD-0C4C-4A20-81BD-17500EDE937C}" type="pres">
      <dgm:prSet presAssocID="{82A263F1-86DA-4665-B566-AA56CDF4A9BB}" presName="spaceBetweenRectangles" presStyleCnt="0"/>
      <dgm:spPr/>
    </dgm:pt>
    <dgm:pt modelId="{10FB814B-C4E0-4046-964B-836A7400F5D5}" type="pres">
      <dgm:prSet presAssocID="{9DACF67C-F2C7-4BB0-891B-22735034EE56}" presName="composite" presStyleCnt="0"/>
      <dgm:spPr/>
    </dgm:pt>
    <dgm:pt modelId="{88C9072A-7971-4C81-9C00-3C768C49DB68}" type="pres">
      <dgm:prSet presAssocID="{9DACF67C-F2C7-4BB0-891B-22735034EE56}" presName="ConnectorPoint" presStyleLbl="lnNode1" presStyleIdx="4" presStyleCnt="6"/>
      <dgm:spPr>
        <a:solidFill>
          <a:schemeClr val="accent6">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27A16FE5-37BD-43C7-A92B-586DC7330561}" type="pres">
      <dgm:prSet presAssocID="{9DACF67C-F2C7-4BB0-891B-22735034EE56}" presName="DropPinPlaceHolder" presStyleCnt="0"/>
      <dgm:spPr/>
    </dgm:pt>
    <dgm:pt modelId="{F5D614B9-A401-4908-A5B6-5C785767B12A}" type="pres">
      <dgm:prSet presAssocID="{9DACF67C-F2C7-4BB0-891B-22735034EE56}" presName="DropPin" presStyleLbl="alignNode1" presStyleIdx="4" presStyleCnt="6"/>
      <dgm:spPr/>
    </dgm:pt>
    <dgm:pt modelId="{A10E4821-9E9D-43D5-AF7E-3658E3CCA6D9}" type="pres">
      <dgm:prSet presAssocID="{9DACF67C-F2C7-4BB0-891B-22735034EE56}" presName="Ellipse" presStyleLbl="fgAcc1" presStyleIdx="5" presStyleCnt="7"/>
      <dgm:spPr>
        <a:solidFill>
          <a:schemeClr val="lt1">
            <a:alpha val="90000"/>
            <a:hueOff val="0"/>
            <a:satOff val="0"/>
            <a:lumOff val="0"/>
            <a:alphaOff val="0"/>
          </a:schemeClr>
        </a:solidFill>
        <a:ln w="12700" cap="flat" cmpd="sng" algn="ctr">
          <a:noFill/>
          <a:prstDash val="solid"/>
          <a:miter lim="800000"/>
        </a:ln>
        <a:effectLst/>
      </dgm:spPr>
    </dgm:pt>
    <dgm:pt modelId="{2A9B991F-842F-4129-B41A-36744D0D1DAF}" type="pres">
      <dgm:prSet presAssocID="{9DACF67C-F2C7-4BB0-891B-22735034EE56}" presName="L2TextContainer" presStyleLbl="revTx" presStyleIdx="8" presStyleCnt="12">
        <dgm:presLayoutVars>
          <dgm:bulletEnabled val="1"/>
        </dgm:presLayoutVars>
      </dgm:prSet>
      <dgm:spPr/>
    </dgm:pt>
    <dgm:pt modelId="{B37425C6-3D26-4CCF-BFF5-FB031B76BCAC}" type="pres">
      <dgm:prSet presAssocID="{9DACF67C-F2C7-4BB0-891B-22735034EE56}" presName="L1TextContainer" presStyleLbl="revTx" presStyleIdx="9" presStyleCnt="12">
        <dgm:presLayoutVars>
          <dgm:chMax val="1"/>
          <dgm:chPref val="1"/>
          <dgm:bulletEnabled val="1"/>
        </dgm:presLayoutVars>
      </dgm:prSet>
      <dgm:spPr/>
    </dgm:pt>
    <dgm:pt modelId="{24B3BAC8-22E0-488C-8C7D-45D0A71DFCF1}" type="pres">
      <dgm:prSet presAssocID="{9DACF67C-F2C7-4BB0-891B-22735034EE56}" presName="ConnectLine" presStyleLbl="sibTrans1D1" presStyleIdx="4" presStyleCnt="6"/>
      <dgm:spPr>
        <a:noFill/>
        <a:ln w="12700" cap="flat" cmpd="sng" algn="ctr">
          <a:solidFill>
            <a:schemeClr val="accent6">
              <a:hueOff val="0"/>
              <a:satOff val="0"/>
              <a:lumOff val="0"/>
              <a:alphaOff val="0"/>
            </a:schemeClr>
          </a:solidFill>
          <a:prstDash val="dash"/>
          <a:miter lim="800000"/>
        </a:ln>
        <a:effectLst/>
      </dgm:spPr>
    </dgm:pt>
    <dgm:pt modelId="{95BF1A3A-B469-4681-8F9B-30A2EC4CF281}" type="pres">
      <dgm:prSet presAssocID="{9DACF67C-F2C7-4BB0-891B-22735034EE56}" presName="EmptyPlaceHolder" presStyleCnt="0"/>
      <dgm:spPr/>
    </dgm:pt>
    <dgm:pt modelId="{EDD7BCFB-0E64-4494-BD88-9777C3C7D089}" type="pres">
      <dgm:prSet presAssocID="{67BA471E-783A-4701-8B8C-A920C9849F32}" presName="spaceBetweenRectangles" presStyleCnt="0"/>
      <dgm:spPr/>
    </dgm:pt>
    <dgm:pt modelId="{92191D19-5F0F-4055-9F4E-7E513F5CFF20}" type="pres">
      <dgm:prSet presAssocID="{A2E3FFE0-9999-4268-8734-DB850753F80D}" presName="composite" presStyleCnt="0"/>
      <dgm:spPr/>
    </dgm:pt>
    <dgm:pt modelId="{D6764629-0256-43E9-9304-2A75162A40BD}" type="pres">
      <dgm:prSet presAssocID="{A2E3FFE0-9999-4268-8734-DB850753F80D}" presName="ConnectorPoint" presStyleLbl="lnNode1" presStyleIdx="5" presStyleCnt="6"/>
      <dgm:spPr>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D489A80B-9845-44E3-A5A9-CAA0CC15D7F5}" type="pres">
      <dgm:prSet presAssocID="{A2E3FFE0-9999-4268-8734-DB850753F80D}" presName="DropPinPlaceHolder" presStyleCnt="0"/>
      <dgm:spPr/>
    </dgm:pt>
    <dgm:pt modelId="{16327667-BB9F-4AE2-9DE4-614AFF9D570E}" type="pres">
      <dgm:prSet presAssocID="{A2E3FFE0-9999-4268-8734-DB850753F80D}" presName="DropPin" presStyleLbl="alignNode1" presStyleIdx="5" presStyleCnt="6"/>
      <dgm:spPr/>
    </dgm:pt>
    <dgm:pt modelId="{CFD18D11-A7C8-47E9-81DA-B44E1399082D}" type="pres">
      <dgm:prSet presAssocID="{A2E3FFE0-9999-4268-8734-DB850753F80D}" presName="Ellipse" presStyleLbl="fgAcc1" presStyleIdx="6" presStyleCnt="7"/>
      <dgm:spPr>
        <a:solidFill>
          <a:schemeClr val="lt1">
            <a:alpha val="90000"/>
            <a:hueOff val="0"/>
            <a:satOff val="0"/>
            <a:lumOff val="0"/>
            <a:alphaOff val="0"/>
          </a:schemeClr>
        </a:solidFill>
        <a:ln w="12700" cap="flat" cmpd="sng" algn="ctr">
          <a:noFill/>
          <a:prstDash val="solid"/>
          <a:miter lim="800000"/>
        </a:ln>
        <a:effectLst/>
      </dgm:spPr>
    </dgm:pt>
    <dgm:pt modelId="{E2E86E62-E1D6-4BA3-9A6E-0EE2F5195A9B}" type="pres">
      <dgm:prSet presAssocID="{A2E3FFE0-9999-4268-8734-DB850753F80D}" presName="L2TextContainer" presStyleLbl="revTx" presStyleIdx="10" presStyleCnt="12">
        <dgm:presLayoutVars>
          <dgm:bulletEnabled val="1"/>
        </dgm:presLayoutVars>
      </dgm:prSet>
      <dgm:spPr/>
    </dgm:pt>
    <dgm:pt modelId="{E0F79C68-0658-4690-ABBE-75BF5D6FB4CE}" type="pres">
      <dgm:prSet presAssocID="{A2E3FFE0-9999-4268-8734-DB850753F80D}" presName="L1TextContainer" presStyleLbl="revTx" presStyleIdx="11" presStyleCnt="12">
        <dgm:presLayoutVars>
          <dgm:chMax val="1"/>
          <dgm:chPref val="1"/>
          <dgm:bulletEnabled val="1"/>
        </dgm:presLayoutVars>
      </dgm:prSet>
      <dgm:spPr/>
    </dgm:pt>
    <dgm:pt modelId="{E26F8033-47B9-4A2F-AFA4-759D63C0F3B1}" type="pres">
      <dgm:prSet presAssocID="{A2E3FFE0-9999-4268-8734-DB850753F80D}" presName="ConnectLine" presStyleLbl="sibTrans1D1" presStyleIdx="5" presStyleCnt="6"/>
      <dgm:spPr>
        <a:noFill/>
        <a:ln w="12700" cap="flat" cmpd="sng" algn="ctr">
          <a:solidFill>
            <a:schemeClr val="accent2">
              <a:hueOff val="0"/>
              <a:satOff val="0"/>
              <a:lumOff val="0"/>
              <a:alphaOff val="0"/>
            </a:schemeClr>
          </a:solidFill>
          <a:prstDash val="dash"/>
          <a:miter lim="800000"/>
        </a:ln>
        <a:effectLst/>
      </dgm:spPr>
    </dgm:pt>
    <dgm:pt modelId="{800EC29A-42C8-4740-A31D-95BA171F815F}" type="pres">
      <dgm:prSet presAssocID="{A2E3FFE0-9999-4268-8734-DB850753F80D}" presName="EmptyPlaceHolder" presStyleCnt="0"/>
      <dgm:spPr/>
    </dgm:pt>
  </dgm:ptLst>
  <dgm:cxnLst>
    <dgm:cxn modelId="{94473607-AF6F-47DA-A9AA-9286961CC0E8}" type="presOf" srcId="{782B7E6D-275E-44FE-B64E-CF4DCB18CE03}" destId="{4183CEC0-935A-410C-86C6-DD5A3092D739}" srcOrd="0" destOrd="0" presId="urn:microsoft.com/office/officeart/2017/3/layout/DropPinTimeline"/>
    <dgm:cxn modelId="{C55CE314-DBFC-4A66-90C4-D00FD0AD26FD}" type="presOf" srcId="{B883083D-8218-49D7-A828-1ECC3C14D9E4}" destId="{2A9B991F-842F-4129-B41A-36744D0D1DAF}" srcOrd="0" destOrd="0" presId="urn:microsoft.com/office/officeart/2017/3/layout/DropPinTimeline"/>
    <dgm:cxn modelId="{9CCC6C1C-B34E-4BF8-A441-D8690429EEE2}" srcId="{A2E3FFE0-9999-4268-8734-DB850753F80D}" destId="{DCC8DE00-82BC-4FE7-898C-EE46322F74A2}" srcOrd="0" destOrd="0" parTransId="{3CB8E035-6D16-4AC8-8498-BC3E5C909FD4}" sibTransId="{15991261-2B68-4B79-B15A-381A2449504C}"/>
    <dgm:cxn modelId="{D1029826-F304-40AB-8A45-E110812DD908}" srcId="{FF36647C-5324-4D08-BDB9-3E9B48F20DD1}" destId="{71889293-8C1F-4AD7-B68C-3FE0C7D16B13}" srcOrd="1" destOrd="0" parTransId="{FDAA98F7-80E5-459E-B1FE-A3F0CB591E6B}" sibTransId="{704D613E-FC16-44F7-BE3D-38E429095BE1}"/>
    <dgm:cxn modelId="{69545631-356E-4F19-BD8D-26C6F2396ED8}" srcId="{FF36647C-5324-4D08-BDB9-3E9B48F20DD1}" destId="{9DACF67C-F2C7-4BB0-891B-22735034EE56}" srcOrd="4" destOrd="0" parTransId="{7F53CC57-155F-4B0C-BC49-1CD3FA3AA2D3}" sibTransId="{67BA471E-783A-4701-8B8C-A920C9849F32}"/>
    <dgm:cxn modelId="{DEFE3E44-B52F-4216-A2F0-DF5907C6D1D3}" type="presOf" srcId="{A2E3FFE0-9999-4268-8734-DB850753F80D}" destId="{E0F79C68-0658-4690-ABBE-75BF5D6FB4CE}" srcOrd="0" destOrd="0" presId="urn:microsoft.com/office/officeart/2017/3/layout/DropPinTimeline"/>
    <dgm:cxn modelId="{8DCA5369-4987-4395-B577-3F77808A3F83}" srcId="{FF36647C-5324-4D08-BDB9-3E9B48F20DD1}" destId="{782B7E6D-275E-44FE-B64E-CF4DCB18CE03}" srcOrd="2" destOrd="0" parTransId="{7E3DD2C2-FCF7-483B-BBFA-964A0E2EAC0C}" sibTransId="{7A44FBB3-0697-4CC5-A841-27A346413981}"/>
    <dgm:cxn modelId="{2F57F54B-CDA7-436D-9D93-937E560F07A7}" type="presOf" srcId="{888DC0D2-4444-40D9-B858-BFDAA4CDF353}" destId="{9645BC26-64C3-4BAD-BB69-975CFA0A023B}" srcOrd="0" destOrd="0" presId="urn:microsoft.com/office/officeart/2017/3/layout/DropPinTimeline"/>
    <dgm:cxn modelId="{62B3BE6D-6C27-458F-9023-D37F72BE72D6}" type="presOf" srcId="{35F31090-FA02-4466-AFB5-87B6DF07BCD7}" destId="{FCFABF29-6938-49B1-A567-2C728891E9CA}" srcOrd="0" destOrd="0" presId="urn:microsoft.com/office/officeart/2017/3/layout/DropPinTimeline"/>
    <dgm:cxn modelId="{BAADE26F-6135-4A42-861F-8734B5021E8C}" srcId="{71889293-8C1F-4AD7-B68C-3FE0C7D16B13}" destId="{CD7881FF-A15F-410F-B09D-1E890C99EC42}" srcOrd="0" destOrd="0" parTransId="{E5D9AAA8-90BA-4237-8261-FCC83548659B}" sibTransId="{6AF0B477-E943-470E-9479-F3363B74625A}"/>
    <dgm:cxn modelId="{C7566451-E4E4-4666-9F97-113B57CFD5DA}" srcId="{FF36647C-5324-4D08-BDB9-3E9B48F20DD1}" destId="{08572C69-19EE-42C6-BA4D-603CD7F3307B}" srcOrd="3" destOrd="0" parTransId="{F36C70AE-C5E9-45FD-B03D-266D24EF552D}" sibTransId="{82A263F1-86DA-4665-B566-AA56CDF4A9BB}"/>
    <dgm:cxn modelId="{023FFB8A-CC41-4880-A25C-A982B2EAE09D}" type="presOf" srcId="{CD7881FF-A15F-410F-B09D-1E890C99EC42}" destId="{F8BF2188-6BF4-47CB-ACB2-C7EBAAA124D8}" srcOrd="0" destOrd="0" presId="urn:microsoft.com/office/officeart/2017/3/layout/DropPinTimeline"/>
    <dgm:cxn modelId="{E960518D-60D6-4F79-BB9F-34549CE5715F}" type="presOf" srcId="{71889293-8C1F-4AD7-B68C-3FE0C7D16B13}" destId="{D0934DA1-1A1E-4382-BFE9-4832C18E047F}" srcOrd="0" destOrd="0" presId="urn:microsoft.com/office/officeart/2017/3/layout/DropPinTimeline"/>
    <dgm:cxn modelId="{65F80EA2-5680-4228-9825-E3CDA1171EEC}" srcId="{FF36647C-5324-4D08-BDB9-3E9B48F20DD1}" destId="{A2E3FFE0-9999-4268-8734-DB850753F80D}" srcOrd="5" destOrd="0" parTransId="{6361E677-9F3D-4A4A-99E9-7CE7A5F01E13}" sibTransId="{25EAF25B-BEF4-4F4D-B2AD-CA7A1C39F772}"/>
    <dgm:cxn modelId="{F5A8ECA5-D200-40EA-B295-2C48EA2573E9}" type="presOf" srcId="{9DACF67C-F2C7-4BB0-891B-22735034EE56}" destId="{B37425C6-3D26-4CCF-BFF5-FB031B76BCAC}" srcOrd="0" destOrd="0" presId="urn:microsoft.com/office/officeart/2017/3/layout/DropPinTimeline"/>
    <dgm:cxn modelId="{F4F8E7B3-B5C3-4ADE-A4BF-BF9089E937FD}" srcId="{782B7E6D-275E-44FE-B64E-CF4DCB18CE03}" destId="{3941DDB8-F743-41AB-B193-8BE13A9EBF36}" srcOrd="0" destOrd="0" parTransId="{58428392-E344-41F5-84FA-76EEA50DA237}" sibTransId="{6DEDE53F-E007-4201-94B1-14C6431F9A09}"/>
    <dgm:cxn modelId="{BE4FB4BB-893E-4D70-9D8D-4A9F27996DAB}" type="presOf" srcId="{DCC8DE00-82BC-4FE7-898C-EE46322F74A2}" destId="{E2E86E62-E1D6-4BA3-9A6E-0EE2F5195A9B}" srcOrd="0" destOrd="0" presId="urn:microsoft.com/office/officeart/2017/3/layout/DropPinTimeline"/>
    <dgm:cxn modelId="{DA332ABC-6DD8-4389-AAF7-C6A73104A100}" type="presOf" srcId="{FF36647C-5324-4D08-BDB9-3E9B48F20DD1}" destId="{1BECC204-0B33-4492-B18F-BFFE0A1C4F24}" srcOrd="0" destOrd="0" presId="urn:microsoft.com/office/officeart/2017/3/layout/DropPinTimeline"/>
    <dgm:cxn modelId="{852115BD-8DBB-476D-AE59-2D18B21343B2}" type="presOf" srcId="{788A36FF-269B-4055-95FF-3C5324B20379}" destId="{B0EAA9EE-7BD3-411E-86E5-2BA99352C26E}" srcOrd="0" destOrd="0" presId="urn:microsoft.com/office/officeart/2017/3/layout/DropPinTimeline"/>
    <dgm:cxn modelId="{C1C5D9CF-DAC4-4058-A2FB-83924AE08BCC}" srcId="{9DACF67C-F2C7-4BB0-891B-22735034EE56}" destId="{B883083D-8218-49D7-A828-1ECC3C14D9E4}" srcOrd="0" destOrd="0" parTransId="{3085840A-FC05-43FB-9035-4E3F090482CE}" sibTransId="{B0152FBA-F1BA-4B09-9920-901A87904351}"/>
    <dgm:cxn modelId="{2F1EA5D0-72A7-4D63-A3B9-C55FD9D5EC85}" type="presOf" srcId="{08572C69-19EE-42C6-BA4D-603CD7F3307B}" destId="{2FB1246F-9AFE-48AF-BDF2-C0001E8CE969}" srcOrd="0" destOrd="0" presId="urn:microsoft.com/office/officeart/2017/3/layout/DropPinTimeline"/>
    <dgm:cxn modelId="{D9D49FD4-C759-4DE9-A729-2F33D8D18D67}" type="presOf" srcId="{3941DDB8-F743-41AB-B193-8BE13A9EBF36}" destId="{BE565CC8-066C-44C8-A00D-95B6F78719F0}" srcOrd="0" destOrd="0" presId="urn:microsoft.com/office/officeart/2017/3/layout/DropPinTimeline"/>
    <dgm:cxn modelId="{EFA22CE1-2C52-470A-9938-CD484B2EA0F6}" srcId="{888DC0D2-4444-40D9-B858-BFDAA4CDF353}" destId="{35F31090-FA02-4466-AFB5-87B6DF07BCD7}" srcOrd="0" destOrd="0" parTransId="{02A6F90A-4E5E-47CC-991A-2BAB3C5B6268}" sibTransId="{F084EB43-00FB-414A-AD2A-3F7880D78FB6}"/>
    <dgm:cxn modelId="{3F45C7ED-0090-4AEE-94EB-07E2C9AD936C}" srcId="{FF36647C-5324-4D08-BDB9-3E9B48F20DD1}" destId="{888DC0D2-4444-40D9-B858-BFDAA4CDF353}" srcOrd="0" destOrd="0" parTransId="{60EC43F8-DA40-49EB-BE0E-26C4F395A32F}" sibTransId="{4EEDA2CB-0EF6-42B3-B5C1-B63D1AE6F3BD}"/>
    <dgm:cxn modelId="{6679F8F8-4DD6-45EF-A5D8-9725BB126DC4}" srcId="{08572C69-19EE-42C6-BA4D-603CD7F3307B}" destId="{788A36FF-269B-4055-95FF-3C5324B20379}" srcOrd="0" destOrd="0" parTransId="{CCA24C21-3B1C-402F-8FDC-C2B89962FAF9}" sibTransId="{C51466E5-D8D4-4B32-8450-8F1E54EA0DC1}"/>
    <dgm:cxn modelId="{6A67045D-1354-440F-9A28-A42F1D9F1265}" type="presParOf" srcId="{1BECC204-0B33-4492-B18F-BFFE0A1C4F24}" destId="{3348F4B1-7F5F-4A53-A952-22DBCA5BB3EC}" srcOrd="0" destOrd="0" presId="urn:microsoft.com/office/officeart/2017/3/layout/DropPinTimeline"/>
    <dgm:cxn modelId="{3400EEBC-C979-402C-8939-06CAC4AC19CA}" type="presParOf" srcId="{1BECC204-0B33-4492-B18F-BFFE0A1C4F24}" destId="{0AA2C8D3-19FD-4BCC-B35D-CCF603F7C82D}" srcOrd="1" destOrd="0" presId="urn:microsoft.com/office/officeart/2017/3/layout/DropPinTimeline"/>
    <dgm:cxn modelId="{2F5330BE-A0DD-4392-8C5E-94750473B115}" type="presParOf" srcId="{0AA2C8D3-19FD-4BCC-B35D-CCF603F7C82D}" destId="{7647DCFA-31EF-4955-B48B-77294C2049C0}" srcOrd="0" destOrd="0" presId="urn:microsoft.com/office/officeart/2017/3/layout/DropPinTimeline"/>
    <dgm:cxn modelId="{C7421BAC-9BC9-4EEA-820A-D2D79CCF2F4E}" type="presParOf" srcId="{7647DCFA-31EF-4955-B48B-77294C2049C0}" destId="{D22A234F-1E9D-4969-A922-A19F09F4C458}" srcOrd="0" destOrd="0" presId="urn:microsoft.com/office/officeart/2017/3/layout/DropPinTimeline"/>
    <dgm:cxn modelId="{B29F44CB-8AE2-4D42-976A-5883521861B4}" type="presParOf" srcId="{7647DCFA-31EF-4955-B48B-77294C2049C0}" destId="{794BEF26-121F-48B4-9A3A-6B5F50F65E99}" srcOrd="1" destOrd="0" presId="urn:microsoft.com/office/officeart/2017/3/layout/DropPinTimeline"/>
    <dgm:cxn modelId="{6A347135-F060-4D46-ADAC-DE749FF56D65}" type="presParOf" srcId="{794BEF26-121F-48B4-9A3A-6B5F50F65E99}" destId="{A9511F33-CA42-4152-A4A1-9DD03A2021F8}" srcOrd="0" destOrd="0" presId="urn:microsoft.com/office/officeart/2017/3/layout/DropPinTimeline"/>
    <dgm:cxn modelId="{549F65AA-2C27-455D-80A9-303672782118}" type="presParOf" srcId="{794BEF26-121F-48B4-9A3A-6B5F50F65E99}" destId="{68D7ED5E-FB27-42A2-AA5A-D2F167CAF615}" srcOrd="1" destOrd="0" presId="urn:microsoft.com/office/officeart/2017/3/layout/DropPinTimeline"/>
    <dgm:cxn modelId="{7CEAF441-7F03-498D-8422-52D9584A6BB5}" type="presParOf" srcId="{7647DCFA-31EF-4955-B48B-77294C2049C0}" destId="{FCFABF29-6938-49B1-A567-2C728891E9CA}" srcOrd="2" destOrd="0" presId="urn:microsoft.com/office/officeart/2017/3/layout/DropPinTimeline"/>
    <dgm:cxn modelId="{320CA93D-6092-4754-8C68-BE338ED5E344}" type="presParOf" srcId="{7647DCFA-31EF-4955-B48B-77294C2049C0}" destId="{9645BC26-64C3-4BAD-BB69-975CFA0A023B}" srcOrd="3" destOrd="0" presId="urn:microsoft.com/office/officeart/2017/3/layout/DropPinTimeline"/>
    <dgm:cxn modelId="{8C3857A8-3D31-46CF-94C8-620479968E7A}" type="presParOf" srcId="{7647DCFA-31EF-4955-B48B-77294C2049C0}" destId="{0878A462-46B3-4B25-9268-DE75AAAA8082}" srcOrd="4" destOrd="0" presId="urn:microsoft.com/office/officeart/2017/3/layout/DropPinTimeline"/>
    <dgm:cxn modelId="{42C17B05-0ABA-4CC4-B943-D9DE73FF7019}" type="presParOf" srcId="{7647DCFA-31EF-4955-B48B-77294C2049C0}" destId="{AA4F517A-B97A-4D6D-A03F-37D75BFB37CD}" srcOrd="5" destOrd="0" presId="urn:microsoft.com/office/officeart/2017/3/layout/DropPinTimeline"/>
    <dgm:cxn modelId="{34446949-6F13-4FB6-B877-234EA599667A}" type="presParOf" srcId="{0AA2C8D3-19FD-4BCC-B35D-CCF603F7C82D}" destId="{839A820A-31DA-4797-8204-7F7EF9F5555F}" srcOrd="1" destOrd="0" presId="urn:microsoft.com/office/officeart/2017/3/layout/DropPinTimeline"/>
    <dgm:cxn modelId="{FF5964BD-0C16-4036-A42F-E0645A29956C}" type="presParOf" srcId="{0AA2C8D3-19FD-4BCC-B35D-CCF603F7C82D}" destId="{8C66825A-5B96-44A4-805E-158B893449C4}" srcOrd="2" destOrd="0" presId="urn:microsoft.com/office/officeart/2017/3/layout/DropPinTimeline"/>
    <dgm:cxn modelId="{8B76A158-1822-4755-9FB9-1A65B71995E4}" type="presParOf" srcId="{8C66825A-5B96-44A4-805E-158B893449C4}" destId="{9D2E5EF5-7EEC-4C17-8531-A7A2D99FD415}" srcOrd="0" destOrd="0" presId="urn:microsoft.com/office/officeart/2017/3/layout/DropPinTimeline"/>
    <dgm:cxn modelId="{CF9CA8AD-F398-47A7-BF48-0A4845CC86F5}" type="presParOf" srcId="{8C66825A-5B96-44A4-805E-158B893449C4}" destId="{073D0FEF-32C2-487B-9F98-8494D9AF969D}" srcOrd="1" destOrd="0" presId="urn:microsoft.com/office/officeart/2017/3/layout/DropPinTimeline"/>
    <dgm:cxn modelId="{21B5DB09-4954-4266-8643-D2E07131F88F}" type="presParOf" srcId="{073D0FEF-32C2-487B-9F98-8494D9AF969D}" destId="{A75CD570-BD88-4B9C-A3F3-94C8F8344772}" srcOrd="0" destOrd="0" presId="urn:microsoft.com/office/officeart/2017/3/layout/DropPinTimeline"/>
    <dgm:cxn modelId="{5502604D-F939-4B2C-B045-53E8A70A58DA}" type="presParOf" srcId="{073D0FEF-32C2-487B-9F98-8494D9AF969D}" destId="{302517CD-6564-4F8E-8536-A67BF33B4069}" srcOrd="1" destOrd="0" presId="urn:microsoft.com/office/officeart/2017/3/layout/DropPinTimeline"/>
    <dgm:cxn modelId="{11819EBB-A86F-473C-A06F-9DD6EC596FB5}" type="presParOf" srcId="{8C66825A-5B96-44A4-805E-158B893449C4}" destId="{F8BF2188-6BF4-47CB-ACB2-C7EBAAA124D8}" srcOrd="2" destOrd="0" presId="urn:microsoft.com/office/officeart/2017/3/layout/DropPinTimeline"/>
    <dgm:cxn modelId="{DD292452-E187-4812-870A-E21111532A7F}" type="presParOf" srcId="{8C66825A-5B96-44A4-805E-158B893449C4}" destId="{D0934DA1-1A1E-4382-BFE9-4832C18E047F}" srcOrd="3" destOrd="0" presId="urn:microsoft.com/office/officeart/2017/3/layout/DropPinTimeline"/>
    <dgm:cxn modelId="{26F036F4-3983-43A5-B5CC-52FD8ED089DA}" type="presParOf" srcId="{8C66825A-5B96-44A4-805E-158B893449C4}" destId="{FC6D5085-BC9A-425C-9655-F4EAAB9422C6}" srcOrd="4" destOrd="0" presId="urn:microsoft.com/office/officeart/2017/3/layout/DropPinTimeline"/>
    <dgm:cxn modelId="{767E848F-F165-4ABD-8F61-587CA5E93B40}" type="presParOf" srcId="{8C66825A-5B96-44A4-805E-158B893449C4}" destId="{7CFA46A4-9BD6-49D6-94DC-1AE13D5F412E}" srcOrd="5" destOrd="0" presId="urn:microsoft.com/office/officeart/2017/3/layout/DropPinTimeline"/>
    <dgm:cxn modelId="{4EA020F6-F55E-4D45-80FA-D6B638AE141E}" type="presParOf" srcId="{0AA2C8D3-19FD-4BCC-B35D-CCF603F7C82D}" destId="{9B67900B-CDC5-49D7-8DC9-8FE2E33D3D7E}" srcOrd="3" destOrd="0" presId="urn:microsoft.com/office/officeart/2017/3/layout/DropPinTimeline"/>
    <dgm:cxn modelId="{415A46C0-2283-44FF-915C-034A03DFB1A9}" type="presParOf" srcId="{0AA2C8D3-19FD-4BCC-B35D-CCF603F7C82D}" destId="{3D4DFCF6-A2AE-4455-8EA6-7F92B134DC1A}" srcOrd="4" destOrd="0" presId="urn:microsoft.com/office/officeart/2017/3/layout/DropPinTimeline"/>
    <dgm:cxn modelId="{6BF9F790-C0F3-483D-97F5-835AA42DCCCA}" type="presParOf" srcId="{3D4DFCF6-A2AE-4455-8EA6-7F92B134DC1A}" destId="{CC3026BE-E675-4141-8C6B-877C71AFCD1B}" srcOrd="0" destOrd="0" presId="urn:microsoft.com/office/officeart/2017/3/layout/DropPinTimeline"/>
    <dgm:cxn modelId="{8F749BEB-EBEA-4701-9BB5-110EC3C0F436}" type="presParOf" srcId="{3D4DFCF6-A2AE-4455-8EA6-7F92B134DC1A}" destId="{3AF1427C-042E-4DCE-B899-4E00DBD112C1}" srcOrd="1" destOrd="0" presId="urn:microsoft.com/office/officeart/2017/3/layout/DropPinTimeline"/>
    <dgm:cxn modelId="{CC99A7F0-0A73-4B2A-88A4-113E711A26CC}" type="presParOf" srcId="{3AF1427C-042E-4DCE-B899-4E00DBD112C1}" destId="{03390ACF-8941-4B21-81FE-E24DE182F400}" srcOrd="0" destOrd="0" presId="urn:microsoft.com/office/officeart/2017/3/layout/DropPinTimeline"/>
    <dgm:cxn modelId="{811285A6-B995-42A7-9DFD-50E8C0FAC27B}" type="presParOf" srcId="{3AF1427C-042E-4DCE-B899-4E00DBD112C1}" destId="{43CE6054-7DA9-41CA-A822-B5AEFEF9A36D}" srcOrd="1" destOrd="0" presId="urn:microsoft.com/office/officeart/2017/3/layout/DropPinTimeline"/>
    <dgm:cxn modelId="{AD96CE97-29BA-4085-8390-F1258EC25ACF}" type="presParOf" srcId="{3D4DFCF6-A2AE-4455-8EA6-7F92B134DC1A}" destId="{BE565CC8-066C-44C8-A00D-95B6F78719F0}" srcOrd="2" destOrd="0" presId="urn:microsoft.com/office/officeart/2017/3/layout/DropPinTimeline"/>
    <dgm:cxn modelId="{708B1D52-6D57-4751-8D51-3F644342C3D8}" type="presParOf" srcId="{3D4DFCF6-A2AE-4455-8EA6-7F92B134DC1A}" destId="{4183CEC0-935A-410C-86C6-DD5A3092D739}" srcOrd="3" destOrd="0" presId="urn:microsoft.com/office/officeart/2017/3/layout/DropPinTimeline"/>
    <dgm:cxn modelId="{1E192408-7A1B-4667-B04A-72AB1A5F39A6}" type="presParOf" srcId="{3D4DFCF6-A2AE-4455-8EA6-7F92B134DC1A}" destId="{8C47003B-F241-4006-92DC-837EB791561B}" srcOrd="4" destOrd="0" presId="urn:microsoft.com/office/officeart/2017/3/layout/DropPinTimeline"/>
    <dgm:cxn modelId="{21786ED5-6784-4CD2-BED0-B0167FCC003D}" type="presParOf" srcId="{3D4DFCF6-A2AE-4455-8EA6-7F92B134DC1A}" destId="{984F423D-ECA1-4D55-B1B0-2AD397FD43B9}" srcOrd="5" destOrd="0" presId="urn:microsoft.com/office/officeart/2017/3/layout/DropPinTimeline"/>
    <dgm:cxn modelId="{5962FF41-4E8D-408D-9421-0D522727A31C}" type="presParOf" srcId="{0AA2C8D3-19FD-4BCC-B35D-CCF603F7C82D}" destId="{C4A8F019-51C6-4150-A9A3-7778464D4D9A}" srcOrd="5" destOrd="0" presId="urn:microsoft.com/office/officeart/2017/3/layout/DropPinTimeline"/>
    <dgm:cxn modelId="{30F3A29A-AF88-4D2A-AD10-6E2218883C49}" type="presParOf" srcId="{0AA2C8D3-19FD-4BCC-B35D-CCF603F7C82D}" destId="{1627D70B-BA61-4CFB-8CD9-DFD6FD208DB8}" srcOrd="6" destOrd="0" presId="urn:microsoft.com/office/officeart/2017/3/layout/DropPinTimeline"/>
    <dgm:cxn modelId="{FB274EBD-6DC7-445F-83F4-B0A005288D97}" type="presParOf" srcId="{1627D70B-BA61-4CFB-8CD9-DFD6FD208DB8}" destId="{C04AE90F-AC95-43B5-B942-8D97C0918650}" srcOrd="0" destOrd="0" presId="urn:microsoft.com/office/officeart/2017/3/layout/DropPinTimeline"/>
    <dgm:cxn modelId="{1FC3FC91-B01A-4DD8-8680-A597376F8EF2}" type="presParOf" srcId="{1627D70B-BA61-4CFB-8CD9-DFD6FD208DB8}" destId="{A375F317-579E-4A58-B1AE-3DB841CCE3C7}" srcOrd="1" destOrd="0" presId="urn:microsoft.com/office/officeart/2017/3/layout/DropPinTimeline"/>
    <dgm:cxn modelId="{7DAE3E81-6628-45C0-A4A6-28776692FD6A}" type="presParOf" srcId="{A375F317-579E-4A58-B1AE-3DB841CCE3C7}" destId="{6667F50D-D88C-4B95-A4A3-18B9756C037C}" srcOrd="0" destOrd="0" presId="urn:microsoft.com/office/officeart/2017/3/layout/DropPinTimeline"/>
    <dgm:cxn modelId="{7C8A3F87-1C6A-4785-B4A2-FA74B422570C}" type="presParOf" srcId="{A375F317-579E-4A58-B1AE-3DB841CCE3C7}" destId="{CE1B5BCF-E41F-44D1-B630-6887D15A7398}" srcOrd="1" destOrd="0" presId="urn:microsoft.com/office/officeart/2017/3/layout/DropPinTimeline"/>
    <dgm:cxn modelId="{42A1AC80-780E-40F1-8D01-5B4452BC2EA2}" type="presParOf" srcId="{1627D70B-BA61-4CFB-8CD9-DFD6FD208DB8}" destId="{B0EAA9EE-7BD3-411E-86E5-2BA99352C26E}" srcOrd="2" destOrd="0" presId="urn:microsoft.com/office/officeart/2017/3/layout/DropPinTimeline"/>
    <dgm:cxn modelId="{A020CE66-6498-407E-8F0C-F70A679512B9}" type="presParOf" srcId="{1627D70B-BA61-4CFB-8CD9-DFD6FD208DB8}" destId="{2FB1246F-9AFE-48AF-BDF2-C0001E8CE969}" srcOrd="3" destOrd="0" presId="urn:microsoft.com/office/officeart/2017/3/layout/DropPinTimeline"/>
    <dgm:cxn modelId="{DE47D8C3-BDC5-421D-A9D7-59A189B3D10B}" type="presParOf" srcId="{1627D70B-BA61-4CFB-8CD9-DFD6FD208DB8}" destId="{60A486CB-3970-483A-B450-0DD424E81EA2}" srcOrd="4" destOrd="0" presId="urn:microsoft.com/office/officeart/2017/3/layout/DropPinTimeline"/>
    <dgm:cxn modelId="{2F4BD41C-253E-4EAA-9D2B-3ADFA4F11CD5}" type="presParOf" srcId="{1627D70B-BA61-4CFB-8CD9-DFD6FD208DB8}" destId="{41F339AF-F68F-4A37-BAD3-4D68C1C35319}" srcOrd="5" destOrd="0" presId="urn:microsoft.com/office/officeart/2017/3/layout/DropPinTimeline"/>
    <dgm:cxn modelId="{00AA0129-1B6C-4281-BA68-BA42E3271CF1}" type="presParOf" srcId="{0AA2C8D3-19FD-4BCC-B35D-CCF603F7C82D}" destId="{679765CD-0C4C-4A20-81BD-17500EDE937C}" srcOrd="7" destOrd="0" presId="urn:microsoft.com/office/officeart/2017/3/layout/DropPinTimeline"/>
    <dgm:cxn modelId="{D977D28C-ED46-48FD-A996-8098CCEFFC41}" type="presParOf" srcId="{0AA2C8D3-19FD-4BCC-B35D-CCF603F7C82D}" destId="{10FB814B-C4E0-4046-964B-836A7400F5D5}" srcOrd="8" destOrd="0" presId="urn:microsoft.com/office/officeart/2017/3/layout/DropPinTimeline"/>
    <dgm:cxn modelId="{E8A22D41-670E-4BF0-9F37-A6F88F2874DF}" type="presParOf" srcId="{10FB814B-C4E0-4046-964B-836A7400F5D5}" destId="{88C9072A-7971-4C81-9C00-3C768C49DB68}" srcOrd="0" destOrd="0" presId="urn:microsoft.com/office/officeart/2017/3/layout/DropPinTimeline"/>
    <dgm:cxn modelId="{E5967F9F-7178-4817-981F-0F51807C5276}" type="presParOf" srcId="{10FB814B-C4E0-4046-964B-836A7400F5D5}" destId="{27A16FE5-37BD-43C7-A92B-586DC7330561}" srcOrd="1" destOrd="0" presId="urn:microsoft.com/office/officeart/2017/3/layout/DropPinTimeline"/>
    <dgm:cxn modelId="{C2BC39FB-E92A-4A16-834D-251939077C79}" type="presParOf" srcId="{27A16FE5-37BD-43C7-A92B-586DC7330561}" destId="{F5D614B9-A401-4908-A5B6-5C785767B12A}" srcOrd="0" destOrd="0" presId="urn:microsoft.com/office/officeart/2017/3/layout/DropPinTimeline"/>
    <dgm:cxn modelId="{C17D6FA1-3707-4001-903B-EC26B4FB537B}" type="presParOf" srcId="{27A16FE5-37BD-43C7-A92B-586DC7330561}" destId="{A10E4821-9E9D-43D5-AF7E-3658E3CCA6D9}" srcOrd="1" destOrd="0" presId="urn:microsoft.com/office/officeart/2017/3/layout/DropPinTimeline"/>
    <dgm:cxn modelId="{7CFF131E-F01C-471B-9E5C-B4AC966BD036}" type="presParOf" srcId="{10FB814B-C4E0-4046-964B-836A7400F5D5}" destId="{2A9B991F-842F-4129-B41A-36744D0D1DAF}" srcOrd="2" destOrd="0" presId="urn:microsoft.com/office/officeart/2017/3/layout/DropPinTimeline"/>
    <dgm:cxn modelId="{FA91CB86-2717-4126-9675-FE77488A118E}" type="presParOf" srcId="{10FB814B-C4E0-4046-964B-836A7400F5D5}" destId="{B37425C6-3D26-4CCF-BFF5-FB031B76BCAC}" srcOrd="3" destOrd="0" presId="urn:microsoft.com/office/officeart/2017/3/layout/DropPinTimeline"/>
    <dgm:cxn modelId="{17B14DDF-F5FE-434E-A5D9-DCBE5EBAB2C9}" type="presParOf" srcId="{10FB814B-C4E0-4046-964B-836A7400F5D5}" destId="{24B3BAC8-22E0-488C-8C7D-45D0A71DFCF1}" srcOrd="4" destOrd="0" presId="urn:microsoft.com/office/officeart/2017/3/layout/DropPinTimeline"/>
    <dgm:cxn modelId="{41CBC4C9-9241-40FE-9382-52818ED01737}" type="presParOf" srcId="{10FB814B-C4E0-4046-964B-836A7400F5D5}" destId="{95BF1A3A-B469-4681-8F9B-30A2EC4CF281}" srcOrd="5" destOrd="0" presId="urn:microsoft.com/office/officeart/2017/3/layout/DropPinTimeline"/>
    <dgm:cxn modelId="{D11AE649-3A53-4AFA-8542-E830A4FD9A12}" type="presParOf" srcId="{0AA2C8D3-19FD-4BCC-B35D-CCF603F7C82D}" destId="{EDD7BCFB-0E64-4494-BD88-9777C3C7D089}" srcOrd="9" destOrd="0" presId="urn:microsoft.com/office/officeart/2017/3/layout/DropPinTimeline"/>
    <dgm:cxn modelId="{F1D90775-9E7D-482F-9A4A-97989273414E}" type="presParOf" srcId="{0AA2C8D3-19FD-4BCC-B35D-CCF603F7C82D}" destId="{92191D19-5F0F-4055-9F4E-7E513F5CFF20}" srcOrd="10" destOrd="0" presId="urn:microsoft.com/office/officeart/2017/3/layout/DropPinTimeline"/>
    <dgm:cxn modelId="{5620E10E-7F4C-41B1-9C32-F791287DD0CF}" type="presParOf" srcId="{92191D19-5F0F-4055-9F4E-7E513F5CFF20}" destId="{D6764629-0256-43E9-9304-2A75162A40BD}" srcOrd="0" destOrd="0" presId="urn:microsoft.com/office/officeart/2017/3/layout/DropPinTimeline"/>
    <dgm:cxn modelId="{EC99C47E-3688-4ECC-9402-80F616B4A61F}" type="presParOf" srcId="{92191D19-5F0F-4055-9F4E-7E513F5CFF20}" destId="{D489A80B-9845-44E3-A5A9-CAA0CC15D7F5}" srcOrd="1" destOrd="0" presId="urn:microsoft.com/office/officeart/2017/3/layout/DropPinTimeline"/>
    <dgm:cxn modelId="{A421B55C-86E7-4D9A-866B-899199CB75A8}" type="presParOf" srcId="{D489A80B-9845-44E3-A5A9-CAA0CC15D7F5}" destId="{16327667-BB9F-4AE2-9DE4-614AFF9D570E}" srcOrd="0" destOrd="0" presId="urn:microsoft.com/office/officeart/2017/3/layout/DropPinTimeline"/>
    <dgm:cxn modelId="{47F85E29-976D-48A1-AA8D-5AB53637279D}" type="presParOf" srcId="{D489A80B-9845-44E3-A5A9-CAA0CC15D7F5}" destId="{CFD18D11-A7C8-47E9-81DA-B44E1399082D}" srcOrd="1" destOrd="0" presId="urn:microsoft.com/office/officeart/2017/3/layout/DropPinTimeline"/>
    <dgm:cxn modelId="{C8F27549-5C96-4BCD-8A58-E0417B6F10C7}" type="presParOf" srcId="{92191D19-5F0F-4055-9F4E-7E513F5CFF20}" destId="{E2E86E62-E1D6-4BA3-9A6E-0EE2F5195A9B}" srcOrd="2" destOrd="0" presId="urn:microsoft.com/office/officeart/2017/3/layout/DropPinTimeline"/>
    <dgm:cxn modelId="{83664170-82C7-4F2E-B368-DC7EF4EF4C6A}" type="presParOf" srcId="{92191D19-5F0F-4055-9F4E-7E513F5CFF20}" destId="{E0F79C68-0658-4690-ABBE-75BF5D6FB4CE}" srcOrd="3" destOrd="0" presId="urn:microsoft.com/office/officeart/2017/3/layout/DropPinTimeline"/>
    <dgm:cxn modelId="{6444DB2D-0C58-40F2-91C2-4D74DED454AE}" type="presParOf" srcId="{92191D19-5F0F-4055-9F4E-7E513F5CFF20}" destId="{E26F8033-47B9-4A2F-AFA4-759D63C0F3B1}" srcOrd="4" destOrd="0" presId="urn:microsoft.com/office/officeart/2017/3/layout/DropPinTimeline"/>
    <dgm:cxn modelId="{9B2BF7D2-B370-486B-A389-950AC455F839}" type="presParOf" srcId="{92191D19-5F0F-4055-9F4E-7E513F5CFF20}" destId="{800EC29A-42C8-4740-A31D-95BA171F815F}" srcOrd="5" destOrd="0" presId="urn:microsoft.com/office/officeart/2017/3/layout/DropPinTimelin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92D7955-ED37-4307-8B43-930E35497224}"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791CF79E-0B46-45D5-8449-713850CA0E01}">
      <dgm:prSet/>
      <dgm:spPr/>
      <dgm:t>
        <a:bodyPr/>
        <a:lstStyle/>
        <a:p>
          <a:r>
            <a:rPr lang="en-US" b="0" i="0" dirty="0"/>
            <a:t>This is a long initiative! We cannot do all of this work at once.</a:t>
          </a:r>
          <a:endParaRPr lang="en-US" dirty="0"/>
        </a:p>
      </dgm:t>
    </dgm:pt>
    <dgm:pt modelId="{9DEB71D8-7D13-4B31-8F85-AC350DEDAD9B}" type="parTrans" cxnId="{1FB40200-3789-4E1C-BD07-90C46FFE26F0}">
      <dgm:prSet/>
      <dgm:spPr/>
      <dgm:t>
        <a:bodyPr/>
        <a:lstStyle/>
        <a:p>
          <a:endParaRPr lang="en-US"/>
        </a:p>
      </dgm:t>
    </dgm:pt>
    <dgm:pt modelId="{E6EA9753-ACF5-479E-B875-BE4EF4612C3D}" type="sibTrans" cxnId="{1FB40200-3789-4E1C-BD07-90C46FFE26F0}">
      <dgm:prSet/>
      <dgm:spPr/>
      <dgm:t>
        <a:bodyPr/>
        <a:lstStyle/>
        <a:p>
          <a:endParaRPr lang="en-US"/>
        </a:p>
      </dgm:t>
    </dgm:pt>
    <dgm:pt modelId="{30B4E765-1277-44DD-85D0-B84EAAE179A7}">
      <dgm:prSet/>
      <dgm:spPr/>
      <dgm:t>
        <a:bodyPr/>
        <a:lstStyle/>
        <a:p>
          <a:pPr rtl="0"/>
          <a:r>
            <a:rPr lang="en-US" b="0" i="0" dirty="0"/>
            <a:t>We will work together </a:t>
          </a:r>
          <a:r>
            <a:rPr lang="en-US" b="0" i="0" dirty="0">
              <a:latin typeface="Calibri" panose="020F0502020204030204"/>
            </a:rPr>
            <a:t>to </a:t>
          </a:r>
          <a:r>
            <a:rPr lang="en-US" b="0" i="0" dirty="0"/>
            <a:t>implement strategies one </a:t>
          </a:r>
          <a:r>
            <a:rPr lang="en-US" b="0" i="0" dirty="0">
              <a:latin typeface="Calibri" panose="020F0502020204030204"/>
            </a:rPr>
            <a:t>driver</a:t>
          </a:r>
          <a:r>
            <a:rPr lang="en-US" b="0" i="0" dirty="0"/>
            <a:t> at a time</a:t>
          </a:r>
          <a:endParaRPr lang="en-US" dirty="0"/>
        </a:p>
      </dgm:t>
    </dgm:pt>
    <dgm:pt modelId="{9135B828-5368-4CAD-9FAE-B80A5DD9E89D}" type="parTrans" cxnId="{BC496F6D-40E9-4D5C-807D-C92DC8F3D788}">
      <dgm:prSet/>
      <dgm:spPr/>
      <dgm:t>
        <a:bodyPr/>
        <a:lstStyle/>
        <a:p>
          <a:endParaRPr lang="en-US"/>
        </a:p>
      </dgm:t>
    </dgm:pt>
    <dgm:pt modelId="{CB06E9C3-8860-4A5C-8406-2F2AD2D887AE}" type="sibTrans" cxnId="{BC496F6D-40E9-4D5C-807D-C92DC8F3D788}">
      <dgm:prSet/>
      <dgm:spPr/>
      <dgm:t>
        <a:bodyPr/>
        <a:lstStyle/>
        <a:p>
          <a:endParaRPr lang="en-US"/>
        </a:p>
      </dgm:t>
    </dgm:pt>
    <dgm:pt modelId="{C3A0B9EB-5179-4F59-A773-C77D69483D33}">
      <dgm:prSet/>
      <dgm:spPr/>
      <dgm:t>
        <a:bodyPr/>
        <a:lstStyle/>
        <a:p>
          <a:r>
            <a:rPr lang="en-US" b="0" i="0" dirty="0"/>
            <a:t>Get started by working on implementing the 10 Steps Getting Started!</a:t>
          </a:r>
          <a:endParaRPr lang="en-US" dirty="0"/>
        </a:p>
      </dgm:t>
    </dgm:pt>
    <dgm:pt modelId="{55221910-2230-4C1C-A80A-2C1FBB3515EF}" type="parTrans" cxnId="{27FA333B-AE8D-4B2E-8A1C-98622BACD314}">
      <dgm:prSet/>
      <dgm:spPr/>
      <dgm:t>
        <a:bodyPr/>
        <a:lstStyle/>
        <a:p>
          <a:endParaRPr lang="en-US"/>
        </a:p>
      </dgm:t>
    </dgm:pt>
    <dgm:pt modelId="{5925FD1D-99A7-4F82-B9A7-11C29E93FB12}" type="sibTrans" cxnId="{27FA333B-AE8D-4B2E-8A1C-98622BACD314}">
      <dgm:prSet/>
      <dgm:spPr/>
      <dgm:t>
        <a:bodyPr/>
        <a:lstStyle/>
        <a:p>
          <a:endParaRPr lang="en-US"/>
        </a:p>
      </dgm:t>
    </dgm:pt>
    <dgm:pt modelId="{DDE1F7BD-6E20-454A-B72F-266F21001763}" type="pres">
      <dgm:prSet presAssocID="{D92D7955-ED37-4307-8B43-930E35497224}" presName="root" presStyleCnt="0">
        <dgm:presLayoutVars>
          <dgm:dir/>
          <dgm:resizeHandles val="exact"/>
        </dgm:presLayoutVars>
      </dgm:prSet>
      <dgm:spPr/>
    </dgm:pt>
    <dgm:pt modelId="{AB93F43D-C8DB-4B16-9DE4-1999ACDAEDEA}" type="pres">
      <dgm:prSet presAssocID="{791CF79E-0B46-45D5-8449-713850CA0E01}" presName="compNode" presStyleCnt="0"/>
      <dgm:spPr/>
    </dgm:pt>
    <dgm:pt modelId="{BDFD5029-1132-4CB6-9206-F38DE2B31927}" type="pres">
      <dgm:prSet presAssocID="{791CF79E-0B46-45D5-8449-713850CA0E01}" presName="bgRect" presStyleLbl="bgShp" presStyleIdx="0" presStyleCnt="3"/>
      <dgm:spPr/>
    </dgm:pt>
    <dgm:pt modelId="{9AC8E2A8-244A-4D57-A672-A6EC0FE1EBF9}" type="pres">
      <dgm:prSet presAssocID="{791CF79E-0B46-45D5-8449-713850CA0E01}"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onthly calendar"/>
        </a:ext>
      </dgm:extLst>
    </dgm:pt>
    <dgm:pt modelId="{AB7BDBAB-439B-4947-A50A-ABEB62F16460}" type="pres">
      <dgm:prSet presAssocID="{791CF79E-0B46-45D5-8449-713850CA0E01}" presName="spaceRect" presStyleCnt="0"/>
      <dgm:spPr/>
    </dgm:pt>
    <dgm:pt modelId="{FB5B16BC-89C5-477A-B28E-3F12309BD611}" type="pres">
      <dgm:prSet presAssocID="{791CF79E-0B46-45D5-8449-713850CA0E01}" presName="parTx" presStyleLbl="revTx" presStyleIdx="0" presStyleCnt="3">
        <dgm:presLayoutVars>
          <dgm:chMax val="0"/>
          <dgm:chPref val="0"/>
        </dgm:presLayoutVars>
      </dgm:prSet>
      <dgm:spPr/>
    </dgm:pt>
    <dgm:pt modelId="{A133680D-E5C7-43D6-8D41-2B3A6436047A}" type="pres">
      <dgm:prSet presAssocID="{E6EA9753-ACF5-479E-B875-BE4EF4612C3D}" presName="sibTrans" presStyleCnt="0"/>
      <dgm:spPr/>
    </dgm:pt>
    <dgm:pt modelId="{E4B40693-F01D-47E8-86C5-3E5AF71C729A}" type="pres">
      <dgm:prSet presAssocID="{30B4E765-1277-44DD-85D0-B84EAAE179A7}" presName="compNode" presStyleCnt="0"/>
      <dgm:spPr/>
    </dgm:pt>
    <dgm:pt modelId="{BEBA2235-AABC-4867-B992-D6D078590A62}" type="pres">
      <dgm:prSet presAssocID="{30B4E765-1277-44DD-85D0-B84EAAE179A7}" presName="bgRect" presStyleLbl="bgShp" presStyleIdx="1" presStyleCnt="3"/>
      <dgm:spPr/>
    </dgm:pt>
    <dgm:pt modelId="{20F7F6B9-14E4-404F-A58D-C59BB37946D5}" type="pres">
      <dgm:prSet presAssocID="{30B4E765-1277-44DD-85D0-B84EAAE179A7}" presName="iconRect" presStyleLbl="nod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ers outline"/>
        </a:ext>
      </dgm:extLst>
    </dgm:pt>
    <dgm:pt modelId="{9A66C286-5820-40DB-9AF5-F5F9F32431BE}" type="pres">
      <dgm:prSet presAssocID="{30B4E765-1277-44DD-85D0-B84EAAE179A7}" presName="spaceRect" presStyleCnt="0"/>
      <dgm:spPr/>
    </dgm:pt>
    <dgm:pt modelId="{BA179529-18A6-4989-8434-F20D2288611B}" type="pres">
      <dgm:prSet presAssocID="{30B4E765-1277-44DD-85D0-B84EAAE179A7}" presName="parTx" presStyleLbl="revTx" presStyleIdx="1" presStyleCnt="3">
        <dgm:presLayoutVars>
          <dgm:chMax val="0"/>
          <dgm:chPref val="0"/>
        </dgm:presLayoutVars>
      </dgm:prSet>
      <dgm:spPr/>
    </dgm:pt>
    <dgm:pt modelId="{03CFC4F6-E014-4C17-8FCD-1DFFE68CDEE4}" type="pres">
      <dgm:prSet presAssocID="{CB06E9C3-8860-4A5C-8406-2F2AD2D887AE}" presName="sibTrans" presStyleCnt="0"/>
      <dgm:spPr/>
    </dgm:pt>
    <dgm:pt modelId="{9D54F3C9-7279-4C36-8DCB-0D4D9B2DEE0F}" type="pres">
      <dgm:prSet presAssocID="{C3A0B9EB-5179-4F59-A773-C77D69483D33}" presName="compNode" presStyleCnt="0"/>
      <dgm:spPr/>
    </dgm:pt>
    <dgm:pt modelId="{5F250659-753E-4077-AA7C-9ED0D6CDE608}" type="pres">
      <dgm:prSet presAssocID="{C3A0B9EB-5179-4F59-A773-C77D69483D33}" presName="bgRect" presStyleLbl="bgShp" presStyleIdx="2" presStyleCnt="3"/>
      <dgm:spPr/>
    </dgm:pt>
    <dgm:pt modelId="{61CB9427-5B5C-46C6-BFA7-2602FD506DA3}" type="pres">
      <dgm:prSet presAssocID="{C3A0B9EB-5179-4F59-A773-C77D69483D33}"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Workflow"/>
        </a:ext>
      </dgm:extLst>
    </dgm:pt>
    <dgm:pt modelId="{CCC7508B-B5FA-4961-A214-167CFFD96237}" type="pres">
      <dgm:prSet presAssocID="{C3A0B9EB-5179-4F59-A773-C77D69483D33}" presName="spaceRect" presStyleCnt="0"/>
      <dgm:spPr/>
    </dgm:pt>
    <dgm:pt modelId="{4C5993AF-0D3C-423B-AC04-58DD1DCA88ED}" type="pres">
      <dgm:prSet presAssocID="{C3A0B9EB-5179-4F59-A773-C77D69483D33}" presName="parTx" presStyleLbl="revTx" presStyleIdx="2" presStyleCnt="3">
        <dgm:presLayoutVars>
          <dgm:chMax val="0"/>
          <dgm:chPref val="0"/>
        </dgm:presLayoutVars>
      </dgm:prSet>
      <dgm:spPr/>
    </dgm:pt>
  </dgm:ptLst>
  <dgm:cxnLst>
    <dgm:cxn modelId="{1FB40200-3789-4E1C-BD07-90C46FFE26F0}" srcId="{D92D7955-ED37-4307-8B43-930E35497224}" destId="{791CF79E-0B46-45D5-8449-713850CA0E01}" srcOrd="0" destOrd="0" parTransId="{9DEB71D8-7D13-4B31-8F85-AC350DEDAD9B}" sibTransId="{E6EA9753-ACF5-479E-B875-BE4EF4612C3D}"/>
    <dgm:cxn modelId="{27FA333B-AE8D-4B2E-8A1C-98622BACD314}" srcId="{D92D7955-ED37-4307-8B43-930E35497224}" destId="{C3A0B9EB-5179-4F59-A773-C77D69483D33}" srcOrd="2" destOrd="0" parTransId="{55221910-2230-4C1C-A80A-2C1FBB3515EF}" sibTransId="{5925FD1D-99A7-4F82-B9A7-11C29E93FB12}"/>
    <dgm:cxn modelId="{BC496F6D-40E9-4D5C-807D-C92DC8F3D788}" srcId="{D92D7955-ED37-4307-8B43-930E35497224}" destId="{30B4E765-1277-44DD-85D0-B84EAAE179A7}" srcOrd="1" destOrd="0" parTransId="{9135B828-5368-4CAD-9FAE-B80A5DD9E89D}" sibTransId="{CB06E9C3-8860-4A5C-8406-2F2AD2D887AE}"/>
    <dgm:cxn modelId="{EF311F54-536A-454C-93FB-ABF612AB9585}" type="presOf" srcId="{C3A0B9EB-5179-4F59-A773-C77D69483D33}" destId="{4C5993AF-0D3C-423B-AC04-58DD1DCA88ED}" srcOrd="0" destOrd="0" presId="urn:microsoft.com/office/officeart/2018/2/layout/IconVerticalSolidList"/>
    <dgm:cxn modelId="{0B789957-559F-4824-A32C-E333D0543FAC}" type="presOf" srcId="{D92D7955-ED37-4307-8B43-930E35497224}" destId="{DDE1F7BD-6E20-454A-B72F-266F21001763}" srcOrd="0" destOrd="0" presId="urn:microsoft.com/office/officeart/2018/2/layout/IconVerticalSolidList"/>
    <dgm:cxn modelId="{2BE2AB57-27FC-4A27-980A-2594573B0E68}" type="presOf" srcId="{30B4E765-1277-44DD-85D0-B84EAAE179A7}" destId="{BA179529-18A6-4989-8434-F20D2288611B}" srcOrd="0" destOrd="0" presId="urn:microsoft.com/office/officeart/2018/2/layout/IconVerticalSolidList"/>
    <dgm:cxn modelId="{3BAE3B93-C6E8-4B7A-B38E-AF14888DF0AD}" type="presOf" srcId="{791CF79E-0B46-45D5-8449-713850CA0E01}" destId="{FB5B16BC-89C5-477A-B28E-3F12309BD611}" srcOrd="0" destOrd="0" presId="urn:microsoft.com/office/officeart/2018/2/layout/IconVerticalSolidList"/>
    <dgm:cxn modelId="{E633BD1A-C58F-4011-AC27-FC8491EDDE4A}" type="presParOf" srcId="{DDE1F7BD-6E20-454A-B72F-266F21001763}" destId="{AB93F43D-C8DB-4B16-9DE4-1999ACDAEDEA}" srcOrd="0" destOrd="0" presId="urn:microsoft.com/office/officeart/2018/2/layout/IconVerticalSolidList"/>
    <dgm:cxn modelId="{560453B4-9F79-483D-B54B-AAA029581430}" type="presParOf" srcId="{AB93F43D-C8DB-4B16-9DE4-1999ACDAEDEA}" destId="{BDFD5029-1132-4CB6-9206-F38DE2B31927}" srcOrd="0" destOrd="0" presId="urn:microsoft.com/office/officeart/2018/2/layout/IconVerticalSolidList"/>
    <dgm:cxn modelId="{2794E4BA-07D0-49FD-B751-751938A3112E}" type="presParOf" srcId="{AB93F43D-C8DB-4B16-9DE4-1999ACDAEDEA}" destId="{9AC8E2A8-244A-4D57-A672-A6EC0FE1EBF9}" srcOrd="1" destOrd="0" presId="urn:microsoft.com/office/officeart/2018/2/layout/IconVerticalSolidList"/>
    <dgm:cxn modelId="{578D78BA-B092-4D45-8515-0565985CEDBD}" type="presParOf" srcId="{AB93F43D-C8DB-4B16-9DE4-1999ACDAEDEA}" destId="{AB7BDBAB-439B-4947-A50A-ABEB62F16460}" srcOrd="2" destOrd="0" presId="urn:microsoft.com/office/officeart/2018/2/layout/IconVerticalSolidList"/>
    <dgm:cxn modelId="{9689AA03-F115-44B1-A34D-0DBEB58AC992}" type="presParOf" srcId="{AB93F43D-C8DB-4B16-9DE4-1999ACDAEDEA}" destId="{FB5B16BC-89C5-477A-B28E-3F12309BD611}" srcOrd="3" destOrd="0" presId="urn:microsoft.com/office/officeart/2018/2/layout/IconVerticalSolidList"/>
    <dgm:cxn modelId="{9D28BBA4-A533-4294-814F-E491B8B33DE4}" type="presParOf" srcId="{DDE1F7BD-6E20-454A-B72F-266F21001763}" destId="{A133680D-E5C7-43D6-8D41-2B3A6436047A}" srcOrd="1" destOrd="0" presId="urn:microsoft.com/office/officeart/2018/2/layout/IconVerticalSolidList"/>
    <dgm:cxn modelId="{E8AE1148-5AE6-4B88-8502-8F922D08AA5A}" type="presParOf" srcId="{DDE1F7BD-6E20-454A-B72F-266F21001763}" destId="{E4B40693-F01D-47E8-86C5-3E5AF71C729A}" srcOrd="2" destOrd="0" presId="urn:microsoft.com/office/officeart/2018/2/layout/IconVerticalSolidList"/>
    <dgm:cxn modelId="{F490DD61-4101-47F2-B52D-092AD1FA418D}" type="presParOf" srcId="{E4B40693-F01D-47E8-86C5-3E5AF71C729A}" destId="{BEBA2235-AABC-4867-B992-D6D078590A62}" srcOrd="0" destOrd="0" presId="urn:microsoft.com/office/officeart/2018/2/layout/IconVerticalSolidList"/>
    <dgm:cxn modelId="{5F7317D8-CB2A-4019-872A-BA594EBE3742}" type="presParOf" srcId="{E4B40693-F01D-47E8-86C5-3E5AF71C729A}" destId="{20F7F6B9-14E4-404F-A58D-C59BB37946D5}" srcOrd="1" destOrd="0" presId="urn:microsoft.com/office/officeart/2018/2/layout/IconVerticalSolidList"/>
    <dgm:cxn modelId="{872EE5F3-413B-4B88-B718-FC8F4381A250}" type="presParOf" srcId="{E4B40693-F01D-47E8-86C5-3E5AF71C729A}" destId="{9A66C286-5820-40DB-9AF5-F5F9F32431BE}" srcOrd="2" destOrd="0" presId="urn:microsoft.com/office/officeart/2018/2/layout/IconVerticalSolidList"/>
    <dgm:cxn modelId="{BBF68C3B-9D60-4627-82EF-41E6A034CF45}" type="presParOf" srcId="{E4B40693-F01D-47E8-86C5-3E5AF71C729A}" destId="{BA179529-18A6-4989-8434-F20D2288611B}" srcOrd="3" destOrd="0" presId="urn:microsoft.com/office/officeart/2018/2/layout/IconVerticalSolidList"/>
    <dgm:cxn modelId="{858E7AAE-C6F2-4AD8-AA99-142DBBBFC54C}" type="presParOf" srcId="{DDE1F7BD-6E20-454A-B72F-266F21001763}" destId="{03CFC4F6-E014-4C17-8FCD-1DFFE68CDEE4}" srcOrd="3" destOrd="0" presId="urn:microsoft.com/office/officeart/2018/2/layout/IconVerticalSolidList"/>
    <dgm:cxn modelId="{E072B3D6-DF6A-4C5D-8E40-B883294917B3}" type="presParOf" srcId="{DDE1F7BD-6E20-454A-B72F-266F21001763}" destId="{9D54F3C9-7279-4C36-8DCB-0D4D9B2DEE0F}" srcOrd="4" destOrd="0" presId="urn:microsoft.com/office/officeart/2018/2/layout/IconVerticalSolidList"/>
    <dgm:cxn modelId="{44935690-D1D4-4640-A276-1DA752E3992F}" type="presParOf" srcId="{9D54F3C9-7279-4C36-8DCB-0D4D9B2DEE0F}" destId="{5F250659-753E-4077-AA7C-9ED0D6CDE608}" srcOrd="0" destOrd="0" presId="urn:microsoft.com/office/officeart/2018/2/layout/IconVerticalSolidList"/>
    <dgm:cxn modelId="{8BBBD4FE-4C30-481B-B3F0-CC63EFCB92EC}" type="presParOf" srcId="{9D54F3C9-7279-4C36-8DCB-0D4D9B2DEE0F}" destId="{61CB9427-5B5C-46C6-BFA7-2602FD506DA3}" srcOrd="1" destOrd="0" presId="urn:microsoft.com/office/officeart/2018/2/layout/IconVerticalSolidList"/>
    <dgm:cxn modelId="{02BC2207-A2D2-4372-8854-32A8AC859837}" type="presParOf" srcId="{9D54F3C9-7279-4C36-8DCB-0D4D9B2DEE0F}" destId="{CCC7508B-B5FA-4961-A214-167CFFD96237}" srcOrd="2" destOrd="0" presId="urn:microsoft.com/office/officeart/2018/2/layout/IconVerticalSolidList"/>
    <dgm:cxn modelId="{6B7027C3-8625-4363-923D-671DF701280A}" type="presParOf" srcId="{9D54F3C9-7279-4C36-8DCB-0D4D9B2DEE0F}" destId="{4C5993AF-0D3C-423B-AC04-58DD1DCA88ED}"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B7F7FF-D825-4E5D-9D5B-AB2877DE1C42}">
      <dsp:nvSpPr>
        <dsp:cNvPr id="0" name=""/>
        <dsp:cNvSpPr/>
      </dsp:nvSpPr>
      <dsp:spPr>
        <a:xfrm>
          <a:off x="1061437" y="740292"/>
          <a:ext cx="1141382" cy="114138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462BD9C-A33E-434C-BDD3-AE9F5CCDA835}">
      <dsp:nvSpPr>
        <dsp:cNvPr id="0" name=""/>
        <dsp:cNvSpPr/>
      </dsp:nvSpPr>
      <dsp:spPr>
        <a:xfrm>
          <a:off x="1582" y="1998300"/>
          <a:ext cx="3261093" cy="4891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200150">
            <a:lnSpc>
              <a:spcPct val="90000"/>
            </a:lnSpc>
            <a:spcBef>
              <a:spcPct val="0"/>
            </a:spcBef>
            <a:spcAft>
              <a:spcPct val="35000"/>
            </a:spcAft>
            <a:buNone/>
            <a:defRPr b="1"/>
          </a:pPr>
          <a:r>
            <a:rPr lang="en-US" sz="2700" kern="1200"/>
            <a:t>Collaborative Learning</a:t>
          </a:r>
        </a:p>
      </dsp:txBody>
      <dsp:txXfrm>
        <a:off x="1582" y="1998300"/>
        <a:ext cx="3261093" cy="489164"/>
      </dsp:txXfrm>
    </dsp:sp>
    <dsp:sp modelId="{3101DFFC-2148-4129-B07B-84D5C052CF49}">
      <dsp:nvSpPr>
        <dsp:cNvPr id="0" name=""/>
        <dsp:cNvSpPr/>
      </dsp:nvSpPr>
      <dsp:spPr>
        <a:xfrm>
          <a:off x="1582" y="2541708"/>
          <a:ext cx="3261093" cy="9108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90000"/>
            </a:lnSpc>
            <a:spcBef>
              <a:spcPct val="0"/>
            </a:spcBef>
            <a:spcAft>
              <a:spcPct val="35000"/>
            </a:spcAft>
            <a:buNone/>
          </a:pPr>
          <a:r>
            <a:rPr lang="en-US" sz="1700" kern="1200"/>
            <a:t>Monthly webinars</a:t>
          </a:r>
        </a:p>
        <a:p>
          <a:pPr marL="0" lvl="0" indent="0" algn="ctr" defTabSz="755650">
            <a:lnSpc>
              <a:spcPct val="90000"/>
            </a:lnSpc>
            <a:spcBef>
              <a:spcPct val="0"/>
            </a:spcBef>
            <a:spcAft>
              <a:spcPct val="35000"/>
            </a:spcAft>
            <a:buNone/>
          </a:pPr>
          <a:r>
            <a:rPr lang="en-US" sz="1700" kern="1200"/>
            <a:t>Expert Speakers</a:t>
          </a:r>
        </a:p>
        <a:p>
          <a:pPr marL="0" lvl="0" indent="0" algn="ctr" defTabSz="755650">
            <a:lnSpc>
              <a:spcPct val="90000"/>
            </a:lnSpc>
            <a:spcBef>
              <a:spcPct val="0"/>
            </a:spcBef>
            <a:spcAft>
              <a:spcPct val="35000"/>
            </a:spcAft>
            <a:buNone/>
          </a:pPr>
          <a:r>
            <a:rPr lang="en-US" sz="1700" kern="1200"/>
            <a:t>Team Sharing</a:t>
          </a:r>
        </a:p>
      </dsp:txBody>
      <dsp:txXfrm>
        <a:off x="1582" y="2541708"/>
        <a:ext cx="3261093" cy="910803"/>
      </dsp:txXfrm>
    </dsp:sp>
    <dsp:sp modelId="{74B852B9-9EFE-4F4F-8DA8-5A6AA2619D5B}">
      <dsp:nvSpPr>
        <dsp:cNvPr id="0" name=""/>
        <dsp:cNvSpPr/>
      </dsp:nvSpPr>
      <dsp:spPr>
        <a:xfrm>
          <a:off x="4893223" y="740292"/>
          <a:ext cx="1141382" cy="114138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FF94DEC-38DE-4948-85C8-9110C557CCCB}">
      <dsp:nvSpPr>
        <dsp:cNvPr id="0" name=""/>
        <dsp:cNvSpPr/>
      </dsp:nvSpPr>
      <dsp:spPr>
        <a:xfrm>
          <a:off x="3833367" y="1998300"/>
          <a:ext cx="3261093" cy="4891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200150">
            <a:lnSpc>
              <a:spcPct val="90000"/>
            </a:lnSpc>
            <a:spcBef>
              <a:spcPct val="0"/>
            </a:spcBef>
            <a:spcAft>
              <a:spcPct val="35000"/>
            </a:spcAft>
            <a:buNone/>
            <a:defRPr b="1"/>
          </a:pPr>
          <a:r>
            <a:rPr lang="en-US" sz="2700" kern="1200"/>
            <a:t>Rapid Response Data</a:t>
          </a:r>
        </a:p>
      </dsp:txBody>
      <dsp:txXfrm>
        <a:off x="3833367" y="1998300"/>
        <a:ext cx="3261093" cy="489164"/>
      </dsp:txXfrm>
    </dsp:sp>
    <dsp:sp modelId="{FC8A97E8-39A9-46D2-91B0-8AAE8886CDA5}">
      <dsp:nvSpPr>
        <dsp:cNvPr id="0" name=""/>
        <dsp:cNvSpPr/>
      </dsp:nvSpPr>
      <dsp:spPr>
        <a:xfrm>
          <a:off x="3833367" y="2541708"/>
          <a:ext cx="3261093" cy="9108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90000"/>
            </a:lnSpc>
            <a:spcBef>
              <a:spcPct val="0"/>
            </a:spcBef>
            <a:spcAft>
              <a:spcPct val="35000"/>
            </a:spcAft>
            <a:buNone/>
          </a:pPr>
          <a:r>
            <a:rPr lang="en-US" sz="1700" kern="1200"/>
            <a:t>Monthly Data Entry</a:t>
          </a:r>
        </a:p>
        <a:p>
          <a:pPr marL="0" lvl="0" indent="0" algn="ctr" defTabSz="755650">
            <a:lnSpc>
              <a:spcPct val="90000"/>
            </a:lnSpc>
            <a:spcBef>
              <a:spcPct val="0"/>
            </a:spcBef>
            <a:spcAft>
              <a:spcPct val="35000"/>
            </a:spcAft>
            <a:buNone/>
          </a:pPr>
          <a:r>
            <a:rPr lang="en-US" sz="1700" kern="1200"/>
            <a:t>Access to Data Reports </a:t>
          </a:r>
        </a:p>
      </dsp:txBody>
      <dsp:txXfrm>
        <a:off x="3833367" y="2541708"/>
        <a:ext cx="3261093" cy="910803"/>
      </dsp:txXfrm>
    </dsp:sp>
    <dsp:sp modelId="{5BF6BBB7-32AF-4CBF-AB04-30FCA14B0B79}">
      <dsp:nvSpPr>
        <dsp:cNvPr id="0" name=""/>
        <dsp:cNvSpPr/>
      </dsp:nvSpPr>
      <dsp:spPr>
        <a:xfrm>
          <a:off x="8725008" y="740292"/>
          <a:ext cx="1141382" cy="114138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94CC0D0-8D84-4D09-83FE-C3EC7A75C37F}">
      <dsp:nvSpPr>
        <dsp:cNvPr id="0" name=""/>
        <dsp:cNvSpPr/>
      </dsp:nvSpPr>
      <dsp:spPr>
        <a:xfrm>
          <a:off x="7665152" y="1998300"/>
          <a:ext cx="3261093" cy="4891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200150">
            <a:lnSpc>
              <a:spcPct val="90000"/>
            </a:lnSpc>
            <a:spcBef>
              <a:spcPct val="0"/>
            </a:spcBef>
            <a:spcAft>
              <a:spcPct val="35000"/>
            </a:spcAft>
            <a:buNone/>
            <a:defRPr b="1"/>
          </a:pPr>
          <a:r>
            <a:rPr lang="en-US" sz="2700" kern="1200"/>
            <a:t>QI Support</a:t>
          </a:r>
        </a:p>
      </dsp:txBody>
      <dsp:txXfrm>
        <a:off x="7665152" y="1998300"/>
        <a:ext cx="3261093" cy="489164"/>
      </dsp:txXfrm>
    </dsp:sp>
    <dsp:sp modelId="{7C3F0027-033F-4438-954B-4F73346E60F5}">
      <dsp:nvSpPr>
        <dsp:cNvPr id="0" name=""/>
        <dsp:cNvSpPr/>
      </dsp:nvSpPr>
      <dsp:spPr>
        <a:xfrm>
          <a:off x="7665152" y="2541708"/>
          <a:ext cx="3261093" cy="9108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90000"/>
            </a:lnSpc>
            <a:spcBef>
              <a:spcPct val="0"/>
            </a:spcBef>
            <a:spcAft>
              <a:spcPct val="35000"/>
            </a:spcAft>
            <a:buNone/>
          </a:pPr>
          <a:r>
            <a:rPr lang="en-US" sz="1700" kern="1200"/>
            <a:t>Qaurterly outreach from ILPQC</a:t>
          </a:r>
        </a:p>
        <a:p>
          <a:pPr marL="0" lvl="0" indent="0" algn="ctr" defTabSz="755650">
            <a:lnSpc>
              <a:spcPct val="90000"/>
            </a:lnSpc>
            <a:spcBef>
              <a:spcPct val="0"/>
            </a:spcBef>
            <a:spcAft>
              <a:spcPct val="35000"/>
            </a:spcAft>
            <a:buNone/>
          </a:pPr>
          <a:r>
            <a:rPr lang="en-US" sz="1700" kern="1200"/>
            <a:t>1-1 QI Support Meetings</a:t>
          </a:r>
        </a:p>
      </dsp:txBody>
      <dsp:txXfrm>
        <a:off x="7665152" y="2541708"/>
        <a:ext cx="3261093" cy="91080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368261-AEE3-40EB-959D-B071339ABA87}">
      <dsp:nvSpPr>
        <dsp:cNvPr id="0" name=""/>
        <dsp:cNvSpPr/>
      </dsp:nvSpPr>
      <dsp:spPr>
        <a:xfrm>
          <a:off x="0" y="81701"/>
          <a:ext cx="6589260" cy="74353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b="0" i="0" kern="1200" dirty="0"/>
            <a:t>At your first meeting discuss</a:t>
          </a:r>
          <a:r>
            <a:rPr lang="en-US" sz="3100" b="0" i="0" kern="1200" dirty="0">
              <a:latin typeface="Calibri" panose="020F0502020204030204"/>
            </a:rPr>
            <a:t>:</a:t>
          </a:r>
          <a:endParaRPr lang="en-US" sz="3100" kern="1200" dirty="0"/>
        </a:p>
      </dsp:txBody>
      <dsp:txXfrm>
        <a:off x="36296" y="117997"/>
        <a:ext cx="6516668" cy="670943"/>
      </dsp:txXfrm>
    </dsp:sp>
    <dsp:sp modelId="{EEAA2F8B-9C2C-4C65-B6FA-D7485E5103E0}">
      <dsp:nvSpPr>
        <dsp:cNvPr id="0" name=""/>
        <dsp:cNvSpPr/>
      </dsp:nvSpPr>
      <dsp:spPr>
        <a:xfrm>
          <a:off x="0" y="825236"/>
          <a:ext cx="6589260" cy="8342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209" tIns="39370" rIns="220472" bIns="39370" numCol="1" spcCol="1270" anchor="t" anchorCtr="0">
          <a:noAutofit/>
        </a:bodyPr>
        <a:lstStyle/>
        <a:p>
          <a:pPr marL="228600" lvl="1" indent="-228600" algn="l" defTabSz="1066800" rtl="0">
            <a:lnSpc>
              <a:spcPct val="90000"/>
            </a:lnSpc>
            <a:spcBef>
              <a:spcPct val="0"/>
            </a:spcBef>
            <a:spcAft>
              <a:spcPct val="20000"/>
            </a:spcAft>
            <a:buChar char="•"/>
          </a:pPr>
          <a:r>
            <a:rPr lang="en-US" sz="2400" b="0" i="0" kern="1200" dirty="0"/>
            <a:t>How often?</a:t>
          </a:r>
          <a:r>
            <a:rPr lang="en-US" sz="2400" b="0" i="0" kern="1200" dirty="0">
              <a:latin typeface="Calibri" panose="020F0502020204030204"/>
            </a:rPr>
            <a:t> </a:t>
          </a:r>
          <a:endParaRPr lang="en-US" sz="2400" kern="1200" dirty="0"/>
        </a:p>
        <a:p>
          <a:pPr marL="228600" lvl="1" indent="-228600" algn="l" defTabSz="1066800">
            <a:lnSpc>
              <a:spcPct val="90000"/>
            </a:lnSpc>
            <a:spcBef>
              <a:spcPct val="0"/>
            </a:spcBef>
            <a:spcAft>
              <a:spcPct val="20000"/>
            </a:spcAft>
            <a:buChar char="•"/>
          </a:pPr>
          <a:r>
            <a:rPr lang="en-US" sz="2400" b="0" i="0" kern="1200" dirty="0"/>
            <a:t>Who should join?</a:t>
          </a:r>
          <a:endParaRPr lang="en-US" sz="2400" kern="1200" dirty="0"/>
        </a:p>
      </dsp:txBody>
      <dsp:txXfrm>
        <a:off x="0" y="825236"/>
        <a:ext cx="6589260" cy="834210"/>
      </dsp:txXfrm>
    </dsp:sp>
    <dsp:sp modelId="{5A7E119B-54DB-432A-88F7-7896131A6EC0}">
      <dsp:nvSpPr>
        <dsp:cNvPr id="0" name=""/>
        <dsp:cNvSpPr/>
      </dsp:nvSpPr>
      <dsp:spPr>
        <a:xfrm>
          <a:off x="0" y="1659446"/>
          <a:ext cx="6589260" cy="743535"/>
        </a:xfrm>
        <a:prstGeom prst="roundRect">
          <a:avLst/>
        </a:prstGeom>
        <a:solidFill>
          <a:schemeClr val="accent2">
            <a:hueOff val="-19837744"/>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b="1" i="0" u="sng" kern="1200" dirty="0"/>
            <a:t>Tips from Teams at AC:</a:t>
          </a:r>
          <a:endParaRPr lang="en-US" sz="3100" kern="1200" dirty="0"/>
        </a:p>
      </dsp:txBody>
      <dsp:txXfrm>
        <a:off x="36296" y="1695742"/>
        <a:ext cx="6516668" cy="670943"/>
      </dsp:txXfrm>
    </dsp:sp>
    <dsp:sp modelId="{2E60D2F4-3711-4957-913D-3B8FDA1058CA}">
      <dsp:nvSpPr>
        <dsp:cNvPr id="0" name=""/>
        <dsp:cNvSpPr/>
      </dsp:nvSpPr>
      <dsp:spPr>
        <a:xfrm>
          <a:off x="0" y="2402981"/>
          <a:ext cx="6589260" cy="27593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209"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US" sz="2400" b="0" i="0" kern="1200" dirty="0"/>
            <a:t>Schedule meetings on the same day and time</a:t>
          </a:r>
          <a:endParaRPr lang="en-US" sz="2400" kern="1200" dirty="0"/>
        </a:p>
        <a:p>
          <a:pPr marL="228600" lvl="1" indent="-228600" algn="l" defTabSz="1066800" rtl="0">
            <a:lnSpc>
              <a:spcPct val="90000"/>
            </a:lnSpc>
            <a:spcBef>
              <a:spcPct val="0"/>
            </a:spcBef>
            <a:spcAft>
              <a:spcPct val="20000"/>
            </a:spcAft>
            <a:buChar char="•"/>
          </a:pPr>
          <a:r>
            <a:rPr lang="en-US" sz="2400" b="0" i="0" kern="1200" dirty="0"/>
            <a:t>Set a time limit</a:t>
          </a:r>
          <a:r>
            <a:rPr lang="en-US" sz="2400" b="0" i="0" kern="1200" dirty="0">
              <a:latin typeface="Calibri" panose="020F0502020204030204"/>
            </a:rPr>
            <a:t> </a:t>
          </a:r>
          <a:endParaRPr lang="en-US" sz="2400" kern="1200" dirty="0"/>
        </a:p>
        <a:p>
          <a:pPr marL="228600" lvl="1" indent="-228600" algn="l" defTabSz="1066800" rtl="0">
            <a:lnSpc>
              <a:spcPct val="90000"/>
            </a:lnSpc>
            <a:spcBef>
              <a:spcPct val="0"/>
            </a:spcBef>
            <a:spcAft>
              <a:spcPct val="20000"/>
            </a:spcAft>
            <a:buChar char="•"/>
          </a:pPr>
          <a:r>
            <a:rPr lang="en-US" sz="2400" b="0" i="0" kern="1200" dirty="0"/>
            <a:t>Have an agenda and state meeting objectives</a:t>
          </a:r>
          <a:r>
            <a:rPr lang="en-US" sz="2400" b="0" i="0" kern="1200" dirty="0">
              <a:latin typeface="Calibri" panose="020F0502020204030204"/>
            </a:rPr>
            <a:t> </a:t>
          </a:r>
          <a:endParaRPr lang="en-US" sz="2400" kern="1200" dirty="0"/>
        </a:p>
        <a:p>
          <a:pPr marL="228600" lvl="1" indent="-228600" algn="l" defTabSz="1066800" rtl="0">
            <a:lnSpc>
              <a:spcPct val="90000"/>
            </a:lnSpc>
            <a:spcBef>
              <a:spcPct val="0"/>
            </a:spcBef>
            <a:spcAft>
              <a:spcPct val="20000"/>
            </a:spcAft>
            <a:buChar char="•"/>
          </a:pPr>
          <a:r>
            <a:rPr lang="en-US" sz="2400" b="0" i="0" kern="1200" dirty="0"/>
            <a:t>Review old news and achievements in the beginning</a:t>
          </a:r>
          <a:r>
            <a:rPr lang="en-US" sz="2400" b="0" i="0" kern="1200" dirty="0">
              <a:latin typeface="Calibri" panose="020F0502020204030204"/>
            </a:rPr>
            <a:t> </a:t>
          </a:r>
          <a:endParaRPr lang="en-US" sz="2400" kern="1200" dirty="0"/>
        </a:p>
        <a:p>
          <a:pPr marL="228600" lvl="1" indent="-228600" algn="l" defTabSz="1066800">
            <a:lnSpc>
              <a:spcPct val="90000"/>
            </a:lnSpc>
            <a:spcBef>
              <a:spcPct val="0"/>
            </a:spcBef>
            <a:spcAft>
              <a:spcPct val="20000"/>
            </a:spcAft>
            <a:buChar char="•"/>
          </a:pPr>
          <a:r>
            <a:rPr lang="en-US" sz="2400" b="0" i="0" kern="1200" dirty="0"/>
            <a:t>Ensure there are different ways to attend meetings- live, virtual, recording</a:t>
          </a:r>
          <a:endParaRPr lang="en-US" sz="2400" kern="1200" dirty="0"/>
        </a:p>
      </dsp:txBody>
      <dsp:txXfrm>
        <a:off x="0" y="2402981"/>
        <a:ext cx="6589260" cy="27593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6E60D1-F877-47D4-8B41-F856165E7A80}">
      <dsp:nvSpPr>
        <dsp:cNvPr id="0" name=""/>
        <dsp:cNvSpPr/>
      </dsp:nvSpPr>
      <dsp:spPr>
        <a:xfrm>
          <a:off x="53" y="72692"/>
          <a:ext cx="5127426" cy="8352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n-US" sz="2900" kern="1200"/>
            <a:t>Hospital Level Data form</a:t>
          </a:r>
        </a:p>
      </dsp:txBody>
      <dsp:txXfrm>
        <a:off x="53" y="72692"/>
        <a:ext cx="5127426" cy="835200"/>
      </dsp:txXfrm>
    </dsp:sp>
    <dsp:sp modelId="{9CDF1165-2B21-4627-8D70-B6E057345958}">
      <dsp:nvSpPr>
        <dsp:cNvPr id="0" name=""/>
        <dsp:cNvSpPr/>
      </dsp:nvSpPr>
      <dsp:spPr>
        <a:xfrm>
          <a:off x="53" y="907892"/>
          <a:ext cx="5127426" cy="383099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a:lnSpc>
              <a:spcPct val="90000"/>
            </a:lnSpc>
            <a:spcBef>
              <a:spcPct val="0"/>
            </a:spcBef>
            <a:spcAft>
              <a:spcPct val="15000"/>
            </a:spcAft>
            <a:buChar char="•"/>
          </a:pPr>
          <a:r>
            <a:rPr lang="en-US" sz="2900" kern="1200"/>
            <a:t>Structure Measures </a:t>
          </a:r>
        </a:p>
        <a:p>
          <a:pPr marL="285750" lvl="1" indent="-285750" algn="l" defTabSz="1289050">
            <a:lnSpc>
              <a:spcPct val="90000"/>
            </a:lnSpc>
            <a:spcBef>
              <a:spcPct val="0"/>
            </a:spcBef>
            <a:spcAft>
              <a:spcPct val="15000"/>
            </a:spcAft>
            <a:buChar char="•"/>
          </a:pPr>
          <a:r>
            <a:rPr lang="en-US" sz="2900" kern="1200"/>
            <a:t>Education Measures</a:t>
          </a:r>
        </a:p>
        <a:p>
          <a:pPr marL="285750" lvl="1" indent="-285750" algn="l" defTabSz="1289050">
            <a:lnSpc>
              <a:spcPct val="90000"/>
            </a:lnSpc>
            <a:spcBef>
              <a:spcPct val="0"/>
            </a:spcBef>
            <a:spcAft>
              <a:spcPct val="15000"/>
            </a:spcAft>
            <a:buChar char="•"/>
          </a:pPr>
          <a:r>
            <a:rPr lang="en-US" sz="2900" kern="1200"/>
            <a:t>Crib Audits</a:t>
          </a:r>
        </a:p>
      </dsp:txBody>
      <dsp:txXfrm>
        <a:off x="53" y="907892"/>
        <a:ext cx="5127426" cy="3830990"/>
      </dsp:txXfrm>
    </dsp:sp>
    <dsp:sp modelId="{72E90577-3D0A-44A9-802D-7402B1482B47}">
      <dsp:nvSpPr>
        <dsp:cNvPr id="0" name=""/>
        <dsp:cNvSpPr/>
      </dsp:nvSpPr>
      <dsp:spPr>
        <a:xfrm>
          <a:off x="5845319" y="72692"/>
          <a:ext cx="5127426" cy="8352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n-US" sz="2900" kern="1200"/>
            <a:t>Patient Level Data form</a:t>
          </a:r>
        </a:p>
      </dsp:txBody>
      <dsp:txXfrm>
        <a:off x="5845319" y="72692"/>
        <a:ext cx="5127426" cy="835200"/>
      </dsp:txXfrm>
    </dsp:sp>
    <dsp:sp modelId="{CF05495E-421B-40F8-91AB-BC717C052FA2}">
      <dsp:nvSpPr>
        <dsp:cNvPr id="0" name=""/>
        <dsp:cNvSpPr/>
      </dsp:nvSpPr>
      <dsp:spPr>
        <a:xfrm>
          <a:off x="5845319" y="907892"/>
          <a:ext cx="5127426" cy="3830990"/>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a:lnSpc>
              <a:spcPct val="90000"/>
            </a:lnSpc>
            <a:spcBef>
              <a:spcPct val="0"/>
            </a:spcBef>
            <a:spcAft>
              <a:spcPct val="15000"/>
            </a:spcAft>
            <a:buChar char="•"/>
          </a:pPr>
          <a:r>
            <a:rPr lang="en-US" sz="2900" kern="1200"/>
            <a:t>Random sample of 20 newborns discharged each month​</a:t>
          </a:r>
        </a:p>
        <a:p>
          <a:pPr marL="285750" lvl="1" indent="-285750" algn="l" defTabSz="1289050">
            <a:lnSpc>
              <a:spcPct val="90000"/>
            </a:lnSpc>
            <a:spcBef>
              <a:spcPct val="0"/>
            </a:spcBef>
            <a:spcAft>
              <a:spcPct val="15000"/>
            </a:spcAft>
            <a:buChar char="•"/>
          </a:pPr>
          <a:r>
            <a:rPr lang="en-US" sz="2900" kern="1200"/>
            <a:t>Newborn and birthing person demographic data​</a:t>
          </a:r>
        </a:p>
        <a:p>
          <a:pPr marL="285750" lvl="1" indent="-285750" algn="l" defTabSz="1289050">
            <a:lnSpc>
              <a:spcPct val="90000"/>
            </a:lnSpc>
            <a:spcBef>
              <a:spcPct val="0"/>
            </a:spcBef>
            <a:spcAft>
              <a:spcPct val="15000"/>
            </a:spcAft>
            <a:buChar char="•"/>
          </a:pPr>
          <a:r>
            <a:rPr lang="en-US" sz="2900" kern="1200"/>
            <a:t>Safe sleep education​</a:t>
          </a:r>
        </a:p>
        <a:p>
          <a:pPr marL="285750" lvl="1" indent="-285750" algn="l" defTabSz="1289050">
            <a:lnSpc>
              <a:spcPct val="90000"/>
            </a:lnSpc>
            <a:spcBef>
              <a:spcPct val="0"/>
            </a:spcBef>
            <a:spcAft>
              <a:spcPct val="15000"/>
            </a:spcAft>
            <a:buChar char="•"/>
          </a:pPr>
          <a:r>
            <a:rPr lang="en-US" sz="2900" kern="1200"/>
            <a:t>Transfer of care documentation​</a:t>
          </a:r>
        </a:p>
      </dsp:txBody>
      <dsp:txXfrm>
        <a:off x="5845319" y="907892"/>
        <a:ext cx="5127426" cy="383099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209206-939B-4D9F-9469-A4489B6BFEEE}">
      <dsp:nvSpPr>
        <dsp:cNvPr id="0" name=""/>
        <dsp:cNvSpPr/>
      </dsp:nvSpPr>
      <dsp:spPr>
        <a:xfrm>
          <a:off x="0" y="2288"/>
          <a:ext cx="6364224" cy="11598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7CB6EB2-ADA0-4D68-9D60-F7B7318090E9}">
      <dsp:nvSpPr>
        <dsp:cNvPr id="0" name=""/>
        <dsp:cNvSpPr/>
      </dsp:nvSpPr>
      <dsp:spPr>
        <a:xfrm>
          <a:off x="350852" y="263253"/>
          <a:ext cx="637913" cy="637913"/>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5CFE20D-FE69-4720-B81A-979737D2AC10}">
      <dsp:nvSpPr>
        <dsp:cNvPr id="0" name=""/>
        <dsp:cNvSpPr/>
      </dsp:nvSpPr>
      <dsp:spPr>
        <a:xfrm>
          <a:off x="1339618" y="2288"/>
          <a:ext cx="5024605" cy="11598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750" tIns="122750" rIns="122750" bIns="122750" numCol="1" spcCol="1270" anchor="ctr" anchorCtr="0">
          <a:noAutofit/>
        </a:bodyPr>
        <a:lstStyle/>
        <a:p>
          <a:pPr marL="0" lvl="0" indent="0" algn="l" defTabSz="977900">
            <a:lnSpc>
              <a:spcPct val="90000"/>
            </a:lnSpc>
            <a:spcBef>
              <a:spcPct val="0"/>
            </a:spcBef>
            <a:spcAft>
              <a:spcPct val="35000"/>
            </a:spcAft>
            <a:buNone/>
          </a:pPr>
          <a:r>
            <a:rPr lang="en-US" sz="2200" b="0" i="0" kern="1200"/>
            <a:t>Who is educated? </a:t>
          </a:r>
          <a:endParaRPr lang="en-US" sz="2200" kern="1200"/>
        </a:p>
      </dsp:txBody>
      <dsp:txXfrm>
        <a:off x="1339618" y="2288"/>
        <a:ext cx="5024605" cy="1159843"/>
      </dsp:txXfrm>
    </dsp:sp>
    <dsp:sp modelId="{20FF99E0-E872-4C87-AB89-86E9578C8DDF}">
      <dsp:nvSpPr>
        <dsp:cNvPr id="0" name=""/>
        <dsp:cNvSpPr/>
      </dsp:nvSpPr>
      <dsp:spPr>
        <a:xfrm>
          <a:off x="0" y="1452092"/>
          <a:ext cx="6364224" cy="11598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E328E90-B613-4A5A-895B-B7300879B71B}">
      <dsp:nvSpPr>
        <dsp:cNvPr id="0" name=""/>
        <dsp:cNvSpPr/>
      </dsp:nvSpPr>
      <dsp:spPr>
        <a:xfrm>
          <a:off x="350852" y="1713057"/>
          <a:ext cx="637913" cy="637913"/>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A018F78-18F2-4046-8232-2DF71BD5D9D9}">
      <dsp:nvSpPr>
        <dsp:cNvPr id="0" name=""/>
        <dsp:cNvSpPr/>
      </dsp:nvSpPr>
      <dsp:spPr>
        <a:xfrm>
          <a:off x="1339618" y="1452092"/>
          <a:ext cx="5024605" cy="11598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750" tIns="122750" rIns="122750" bIns="122750" numCol="1" spcCol="1270" anchor="ctr" anchorCtr="0">
          <a:noAutofit/>
        </a:bodyPr>
        <a:lstStyle/>
        <a:p>
          <a:pPr marL="0" lvl="0" indent="0" algn="l" defTabSz="977900">
            <a:lnSpc>
              <a:spcPct val="90000"/>
            </a:lnSpc>
            <a:spcBef>
              <a:spcPct val="0"/>
            </a:spcBef>
            <a:spcAft>
              <a:spcPct val="35000"/>
            </a:spcAft>
            <a:buNone/>
          </a:pPr>
          <a:r>
            <a:rPr lang="en-US" sz="2200" b="0" i="0" kern="1200"/>
            <a:t>What is the format? </a:t>
          </a:r>
          <a:endParaRPr lang="en-US" sz="2200" kern="1200"/>
        </a:p>
      </dsp:txBody>
      <dsp:txXfrm>
        <a:off x="1339618" y="1452092"/>
        <a:ext cx="5024605" cy="1159843"/>
      </dsp:txXfrm>
    </dsp:sp>
    <dsp:sp modelId="{9C73F8EA-A8FC-4F63-86A9-E4A9E76DCAC4}">
      <dsp:nvSpPr>
        <dsp:cNvPr id="0" name=""/>
        <dsp:cNvSpPr/>
      </dsp:nvSpPr>
      <dsp:spPr>
        <a:xfrm>
          <a:off x="0" y="2901896"/>
          <a:ext cx="6364224" cy="11598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9C0EDBC-4130-49F0-BD1C-7715E15128FE}">
      <dsp:nvSpPr>
        <dsp:cNvPr id="0" name=""/>
        <dsp:cNvSpPr/>
      </dsp:nvSpPr>
      <dsp:spPr>
        <a:xfrm>
          <a:off x="350852" y="3162861"/>
          <a:ext cx="637913" cy="63791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7E3F42C-2B9F-4364-8C4A-77E20F78A27E}">
      <dsp:nvSpPr>
        <dsp:cNvPr id="0" name=""/>
        <dsp:cNvSpPr/>
      </dsp:nvSpPr>
      <dsp:spPr>
        <a:xfrm>
          <a:off x="1339618" y="2901896"/>
          <a:ext cx="5024605" cy="11598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750" tIns="122750" rIns="122750" bIns="122750" numCol="1" spcCol="1270" anchor="ctr" anchorCtr="0">
          <a:noAutofit/>
        </a:bodyPr>
        <a:lstStyle/>
        <a:p>
          <a:pPr marL="0" lvl="0" indent="0" algn="l" defTabSz="977900">
            <a:lnSpc>
              <a:spcPct val="90000"/>
            </a:lnSpc>
            <a:spcBef>
              <a:spcPct val="0"/>
            </a:spcBef>
            <a:spcAft>
              <a:spcPct val="35000"/>
            </a:spcAft>
            <a:buNone/>
          </a:pPr>
          <a:r>
            <a:rPr lang="en-US" sz="2200" b="0" i="0" kern="1200"/>
            <a:t>How effective is it? </a:t>
          </a:r>
          <a:endParaRPr lang="en-US" sz="2200" kern="1200"/>
        </a:p>
      </dsp:txBody>
      <dsp:txXfrm>
        <a:off x="1339618" y="2901896"/>
        <a:ext cx="5024605" cy="1159843"/>
      </dsp:txXfrm>
    </dsp:sp>
    <dsp:sp modelId="{7E206A1E-ED79-40B1-845D-015A7CCFB18F}">
      <dsp:nvSpPr>
        <dsp:cNvPr id="0" name=""/>
        <dsp:cNvSpPr/>
      </dsp:nvSpPr>
      <dsp:spPr>
        <a:xfrm>
          <a:off x="0" y="4351700"/>
          <a:ext cx="6364224" cy="11598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7D2A605-B3F5-4D19-BB4A-25D4F28B3FBF}">
      <dsp:nvSpPr>
        <dsp:cNvPr id="0" name=""/>
        <dsp:cNvSpPr/>
      </dsp:nvSpPr>
      <dsp:spPr>
        <a:xfrm>
          <a:off x="350852" y="4612665"/>
          <a:ext cx="637913" cy="637913"/>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7576307-21A1-4AAF-A60F-F743A7342BC4}">
      <dsp:nvSpPr>
        <dsp:cNvPr id="0" name=""/>
        <dsp:cNvSpPr/>
      </dsp:nvSpPr>
      <dsp:spPr>
        <a:xfrm>
          <a:off x="1339618" y="4351700"/>
          <a:ext cx="5024605" cy="11598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750" tIns="122750" rIns="122750" bIns="122750" numCol="1" spcCol="1270" anchor="ctr" anchorCtr="0">
          <a:noAutofit/>
        </a:bodyPr>
        <a:lstStyle/>
        <a:p>
          <a:pPr marL="0" lvl="0" indent="0" algn="l" defTabSz="977900">
            <a:lnSpc>
              <a:spcPct val="90000"/>
            </a:lnSpc>
            <a:spcBef>
              <a:spcPct val="0"/>
            </a:spcBef>
            <a:spcAft>
              <a:spcPct val="35000"/>
            </a:spcAft>
            <a:buNone/>
          </a:pPr>
          <a:r>
            <a:rPr lang="en-US" sz="2200" b="0" i="0" kern="1200"/>
            <a:t>How can it be improved?</a:t>
          </a:r>
          <a:endParaRPr lang="en-US" sz="2200" kern="1200"/>
        </a:p>
      </dsp:txBody>
      <dsp:txXfrm>
        <a:off x="1339618" y="4351700"/>
        <a:ext cx="5024605" cy="115984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6DA4E-BFB9-43D6-AF7A-AEDE000EE248}">
      <dsp:nvSpPr>
        <dsp:cNvPr id="0" name=""/>
        <dsp:cNvSpPr/>
      </dsp:nvSpPr>
      <dsp:spPr>
        <a:xfrm>
          <a:off x="4614" y="447655"/>
          <a:ext cx="3529987" cy="141199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20320" rIns="0" bIns="20320" numCol="1" spcCol="1270" anchor="ctr" anchorCtr="0">
          <a:noAutofit/>
        </a:bodyPr>
        <a:lstStyle/>
        <a:p>
          <a:pPr marL="0" lvl="0" indent="0" algn="ctr" defTabSz="1422400" rtl="0">
            <a:lnSpc>
              <a:spcPct val="90000"/>
            </a:lnSpc>
            <a:spcBef>
              <a:spcPct val="0"/>
            </a:spcBef>
            <a:spcAft>
              <a:spcPct val="35000"/>
            </a:spcAft>
            <a:buNone/>
          </a:pPr>
          <a:r>
            <a:rPr lang="en-US" sz="3200" kern="1200" dirty="0">
              <a:latin typeface="Calibri" panose="020F0502020204030204"/>
            </a:rPr>
            <a:t>QI Team Lead Support Call</a:t>
          </a:r>
        </a:p>
      </dsp:txBody>
      <dsp:txXfrm>
        <a:off x="710612" y="447655"/>
        <a:ext cx="2117992" cy="1411995"/>
      </dsp:txXfrm>
    </dsp:sp>
    <dsp:sp modelId="{69A3F573-828B-4DB7-9CCF-884EA63CCE92}">
      <dsp:nvSpPr>
        <dsp:cNvPr id="0" name=""/>
        <dsp:cNvSpPr/>
      </dsp:nvSpPr>
      <dsp:spPr>
        <a:xfrm>
          <a:off x="3075704" y="567675"/>
          <a:ext cx="2929889"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latin typeface="Calibri" panose="020F0502020204030204"/>
            </a:rPr>
            <a:t>December 7th, 2023</a:t>
          </a:r>
        </a:p>
      </dsp:txBody>
      <dsp:txXfrm>
        <a:off x="3661682" y="567675"/>
        <a:ext cx="1757934" cy="1171955"/>
      </dsp:txXfrm>
    </dsp:sp>
    <dsp:sp modelId="{A66BEFC1-E304-4612-B5D9-747AB98866B1}">
      <dsp:nvSpPr>
        <dsp:cNvPr id="0" name=""/>
        <dsp:cNvSpPr/>
      </dsp:nvSpPr>
      <dsp:spPr>
        <a:xfrm>
          <a:off x="5595409" y="567675"/>
          <a:ext cx="5247081"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latin typeface="Calibri" panose="020F0502020204030204"/>
            </a:rPr>
            <a:t>Important information for ESSI team leads on how to get started</a:t>
          </a:r>
        </a:p>
      </dsp:txBody>
      <dsp:txXfrm>
        <a:off x="6181387" y="567675"/>
        <a:ext cx="4075126" cy="1171955"/>
      </dsp:txXfrm>
    </dsp:sp>
    <dsp:sp modelId="{60962599-610D-41A6-A308-3C61676FA10F}">
      <dsp:nvSpPr>
        <dsp:cNvPr id="0" name=""/>
        <dsp:cNvSpPr/>
      </dsp:nvSpPr>
      <dsp:spPr>
        <a:xfrm>
          <a:off x="4614" y="2057330"/>
          <a:ext cx="3529987" cy="141199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20320" rIns="0" bIns="20320" numCol="1" spcCol="1270" anchor="ctr" anchorCtr="0">
          <a:noAutofit/>
        </a:bodyPr>
        <a:lstStyle/>
        <a:p>
          <a:pPr marL="0" lvl="0" indent="0" algn="ctr" defTabSz="1422400" rtl="0">
            <a:lnSpc>
              <a:spcPct val="90000"/>
            </a:lnSpc>
            <a:spcBef>
              <a:spcPct val="0"/>
            </a:spcBef>
            <a:spcAft>
              <a:spcPct val="35000"/>
            </a:spcAft>
            <a:buNone/>
          </a:pPr>
          <a:r>
            <a:rPr lang="en-US" sz="3200" kern="1200">
              <a:solidFill>
                <a:schemeClr val="bg1"/>
              </a:solidFill>
              <a:latin typeface="Calibri" panose="020F0502020204030204"/>
            </a:rPr>
            <a:t>First ESSI Monthly Webinar</a:t>
          </a:r>
        </a:p>
      </dsp:txBody>
      <dsp:txXfrm>
        <a:off x="710612" y="2057330"/>
        <a:ext cx="2117992" cy="1411995"/>
      </dsp:txXfrm>
    </dsp:sp>
    <dsp:sp modelId="{40C493D5-84C5-414A-B25E-F0516F30F1DB}">
      <dsp:nvSpPr>
        <dsp:cNvPr id="0" name=""/>
        <dsp:cNvSpPr/>
      </dsp:nvSpPr>
      <dsp:spPr>
        <a:xfrm>
          <a:off x="3075704" y="2177350"/>
          <a:ext cx="2929889"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solidFill>
                <a:srgbClr val="444444"/>
              </a:solidFill>
              <a:latin typeface="Calibri" panose="020F0502020204030204"/>
            </a:rPr>
            <a:t>January </a:t>
          </a:r>
          <a:r>
            <a:rPr lang="en-US" sz="2200" kern="1200" dirty="0">
              <a:latin typeface="Calibri" panose="020F0502020204030204"/>
            </a:rPr>
            <a:t>2023</a:t>
          </a:r>
        </a:p>
      </dsp:txBody>
      <dsp:txXfrm>
        <a:off x="3661682" y="2177350"/>
        <a:ext cx="1757934" cy="1171955"/>
      </dsp:txXfrm>
    </dsp:sp>
    <dsp:sp modelId="{E4E686C1-FC9F-4B2F-8F63-DDC471B0DEB4}">
      <dsp:nvSpPr>
        <dsp:cNvPr id="0" name=""/>
        <dsp:cNvSpPr/>
      </dsp:nvSpPr>
      <dsp:spPr>
        <a:xfrm>
          <a:off x="5595409" y="2177350"/>
          <a:ext cx="5366503"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latin typeface="Calibri" panose="020F0502020204030204"/>
            </a:rPr>
            <a:t>Getting started with healthcare provider and nurse education</a:t>
          </a:r>
        </a:p>
      </dsp:txBody>
      <dsp:txXfrm>
        <a:off x="6181387" y="2177350"/>
        <a:ext cx="4194548" cy="1171955"/>
      </dsp:txXfrm>
    </dsp:sp>
    <dsp:sp modelId="{5D5075C0-CF76-44AB-9B25-E029186A86C7}">
      <dsp:nvSpPr>
        <dsp:cNvPr id="0" name=""/>
        <dsp:cNvSpPr/>
      </dsp:nvSpPr>
      <dsp:spPr>
        <a:xfrm>
          <a:off x="4614" y="3667004"/>
          <a:ext cx="3529987" cy="141199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20320" rIns="0" bIns="20320" numCol="1" spcCol="1270" anchor="ctr" anchorCtr="0">
          <a:noAutofit/>
        </a:bodyPr>
        <a:lstStyle/>
        <a:p>
          <a:pPr marL="0" lvl="0" indent="0" algn="ctr" defTabSz="1422400">
            <a:lnSpc>
              <a:spcPct val="90000"/>
            </a:lnSpc>
            <a:spcBef>
              <a:spcPct val="0"/>
            </a:spcBef>
            <a:spcAft>
              <a:spcPct val="35000"/>
            </a:spcAft>
            <a:buNone/>
          </a:pPr>
          <a:r>
            <a:rPr lang="en-US" sz="3200" kern="1200">
              <a:latin typeface="Calibri" panose="020F0502020204030204"/>
            </a:rPr>
            <a:t>ESSI Data Training Webinars</a:t>
          </a:r>
          <a:endParaRPr lang="en-US" sz="3200" kern="1200"/>
        </a:p>
      </dsp:txBody>
      <dsp:txXfrm>
        <a:off x="710612" y="3667004"/>
        <a:ext cx="2117992" cy="1411995"/>
      </dsp:txXfrm>
    </dsp:sp>
    <dsp:sp modelId="{DBA3233D-396D-4828-ABB1-05C8FA826E94}">
      <dsp:nvSpPr>
        <dsp:cNvPr id="0" name=""/>
        <dsp:cNvSpPr/>
      </dsp:nvSpPr>
      <dsp:spPr>
        <a:xfrm>
          <a:off x="3075704" y="3787024"/>
          <a:ext cx="2548564"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latin typeface="Calibri" panose="020F0502020204030204"/>
            </a:rPr>
            <a:t>January 11th, 2023</a:t>
          </a:r>
        </a:p>
      </dsp:txBody>
      <dsp:txXfrm>
        <a:off x="3661682" y="3787024"/>
        <a:ext cx="1376609" cy="1171955"/>
      </dsp:txXfrm>
    </dsp:sp>
    <dsp:sp modelId="{4507A95F-1518-44E3-95D0-73A0EC79E6E5}">
      <dsp:nvSpPr>
        <dsp:cNvPr id="0" name=""/>
        <dsp:cNvSpPr/>
      </dsp:nvSpPr>
      <dsp:spPr>
        <a:xfrm>
          <a:off x="5214084" y="3787024"/>
          <a:ext cx="2440070"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latin typeface="Calibri" panose="020F0502020204030204"/>
            </a:rPr>
            <a:t>January 18th, 2023</a:t>
          </a:r>
          <a:endParaRPr lang="en-US" sz="2200" kern="1200" dirty="0"/>
        </a:p>
      </dsp:txBody>
      <dsp:txXfrm>
        <a:off x="5800062" y="3787024"/>
        <a:ext cx="1268115" cy="1171955"/>
      </dsp:txXfrm>
    </dsp:sp>
    <dsp:sp modelId="{D8BA990C-EEA2-4E44-B076-9170393433C7}">
      <dsp:nvSpPr>
        <dsp:cNvPr id="0" name=""/>
        <dsp:cNvSpPr/>
      </dsp:nvSpPr>
      <dsp:spPr>
        <a:xfrm>
          <a:off x="7243970" y="3787024"/>
          <a:ext cx="3942459"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t>How to collect data, access redcap, enter data and review reports</a:t>
          </a:r>
        </a:p>
      </dsp:txBody>
      <dsp:txXfrm>
        <a:off x="7829948" y="3787024"/>
        <a:ext cx="2770504" cy="117195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48F4B1-7F5F-4A53-A952-22DBCA5BB3EC}">
      <dsp:nvSpPr>
        <dsp:cNvPr id="0" name=""/>
        <dsp:cNvSpPr/>
      </dsp:nvSpPr>
      <dsp:spPr>
        <a:xfrm>
          <a:off x="0" y="2756916"/>
          <a:ext cx="7351603" cy="0"/>
        </a:xfrm>
        <a:prstGeom prst="line">
          <a:avLst/>
        </a:prstGeom>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miter lim="800000"/>
          <a:tailEnd type="triangle" w="lg" len="lg"/>
        </a:ln>
        <a:effectLst/>
      </dsp:spPr>
      <dsp:style>
        <a:lnRef idx="2">
          <a:scrgbClr r="0" g="0" b="0"/>
        </a:lnRef>
        <a:fillRef idx="1">
          <a:scrgbClr r="0" g="0" b="0"/>
        </a:fillRef>
        <a:effectRef idx="0">
          <a:scrgbClr r="0" g="0" b="0"/>
        </a:effectRef>
        <a:fontRef idx="minor"/>
      </dsp:style>
    </dsp:sp>
    <dsp:sp modelId="{A9511F33-CA42-4152-A4A1-9DD03A2021F8}">
      <dsp:nvSpPr>
        <dsp:cNvPr id="0" name=""/>
        <dsp:cNvSpPr/>
      </dsp:nvSpPr>
      <dsp:spPr>
        <a:xfrm rot="8100000">
          <a:off x="77590" y="654083"/>
          <a:ext cx="368038" cy="368038"/>
        </a:xfrm>
        <a:prstGeom prst="teardrop">
          <a:avLst>
            <a:gd name="adj" fmla="val 115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8D7ED5E-FB27-42A2-AA5A-D2F167CAF615}">
      <dsp:nvSpPr>
        <dsp:cNvPr id="0" name=""/>
        <dsp:cNvSpPr/>
      </dsp:nvSpPr>
      <dsp:spPr>
        <a:xfrm>
          <a:off x="118476" y="694969"/>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FCFABF29-6938-49B1-A567-2C728891E9CA}">
      <dsp:nvSpPr>
        <dsp:cNvPr id="0" name=""/>
        <dsp:cNvSpPr/>
      </dsp:nvSpPr>
      <dsp:spPr>
        <a:xfrm>
          <a:off x="521852" y="1124821"/>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a:lnSpc>
              <a:spcPct val="90000"/>
            </a:lnSpc>
            <a:spcBef>
              <a:spcPct val="0"/>
            </a:spcBef>
            <a:spcAft>
              <a:spcPct val="35000"/>
            </a:spcAft>
            <a:buNone/>
          </a:pPr>
          <a:r>
            <a:rPr lang="en-US" sz="1500" kern="1200"/>
            <a:t>Equitable and Respectful Care Education and Implementation</a:t>
          </a:r>
        </a:p>
      </dsp:txBody>
      <dsp:txXfrm>
        <a:off x="521852" y="1124821"/>
        <a:ext cx="1589773" cy="1632094"/>
      </dsp:txXfrm>
    </dsp:sp>
    <dsp:sp modelId="{9645BC26-64C3-4BAD-BB69-975CFA0A023B}">
      <dsp:nvSpPr>
        <dsp:cNvPr id="0" name=""/>
        <dsp:cNvSpPr/>
      </dsp:nvSpPr>
      <dsp:spPr>
        <a:xfrm>
          <a:off x="521852" y="551383"/>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January</a:t>
          </a:r>
        </a:p>
      </dsp:txBody>
      <dsp:txXfrm>
        <a:off x="521852" y="551383"/>
        <a:ext cx="1589773" cy="573438"/>
      </dsp:txXfrm>
    </dsp:sp>
    <dsp:sp modelId="{0878A462-46B3-4B25-9268-DE75AAAA8082}">
      <dsp:nvSpPr>
        <dsp:cNvPr id="0" name=""/>
        <dsp:cNvSpPr/>
      </dsp:nvSpPr>
      <dsp:spPr>
        <a:xfrm>
          <a:off x="261609" y="1124821"/>
          <a:ext cx="0" cy="1632094"/>
        </a:xfrm>
        <a:prstGeom prst="line">
          <a:avLst/>
        </a:prstGeom>
        <a:noFill/>
        <a:ln w="12700" cap="flat" cmpd="sng" algn="ctr">
          <a:solidFill>
            <a:schemeClr val="accent2">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D22A234F-1E9D-4969-A922-A19F09F4C458}">
      <dsp:nvSpPr>
        <dsp:cNvPr id="0" name=""/>
        <dsp:cNvSpPr/>
      </dsp:nvSpPr>
      <dsp:spPr>
        <a:xfrm>
          <a:off x="241242" y="2705306"/>
          <a:ext cx="93687" cy="10321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75CD570-BD88-4B9C-A3F3-94C8F8344772}">
      <dsp:nvSpPr>
        <dsp:cNvPr id="0" name=""/>
        <dsp:cNvSpPr/>
      </dsp:nvSpPr>
      <dsp:spPr>
        <a:xfrm rot="18900000">
          <a:off x="1125312" y="4491710"/>
          <a:ext cx="368038" cy="368038"/>
        </a:xfrm>
        <a:prstGeom prst="teardrop">
          <a:avLst>
            <a:gd name="adj" fmla="val 11500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02517CD-6564-4F8E-8536-A67BF33B4069}">
      <dsp:nvSpPr>
        <dsp:cNvPr id="0" name=""/>
        <dsp:cNvSpPr/>
      </dsp:nvSpPr>
      <dsp:spPr>
        <a:xfrm>
          <a:off x="1166198" y="4532596"/>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F8BF2188-6BF4-47CB-ACB2-C7EBAAA124D8}">
      <dsp:nvSpPr>
        <dsp:cNvPr id="0" name=""/>
        <dsp:cNvSpPr/>
      </dsp:nvSpPr>
      <dsp:spPr>
        <a:xfrm>
          <a:off x="1569574" y="2756916"/>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875" rIns="0" bIns="95250" numCol="1" spcCol="1270" anchor="b" anchorCtr="0">
          <a:noAutofit/>
        </a:bodyPr>
        <a:lstStyle/>
        <a:p>
          <a:pPr marL="0" lvl="0" indent="0" algn="l" defTabSz="666750">
            <a:lnSpc>
              <a:spcPct val="90000"/>
            </a:lnSpc>
            <a:spcBef>
              <a:spcPct val="0"/>
            </a:spcBef>
            <a:spcAft>
              <a:spcPct val="35000"/>
            </a:spcAft>
            <a:buNone/>
          </a:pPr>
          <a:r>
            <a:rPr lang="en-US" sz="1500" kern="1200"/>
            <a:t>Equitable and Respectful Care Education and Implementation Part 2</a:t>
          </a:r>
        </a:p>
      </dsp:txBody>
      <dsp:txXfrm>
        <a:off x="1569574" y="2756916"/>
        <a:ext cx="1589773" cy="1632094"/>
      </dsp:txXfrm>
    </dsp:sp>
    <dsp:sp modelId="{D0934DA1-1A1E-4382-BFE9-4832C18E047F}">
      <dsp:nvSpPr>
        <dsp:cNvPr id="0" name=""/>
        <dsp:cNvSpPr/>
      </dsp:nvSpPr>
      <dsp:spPr>
        <a:xfrm>
          <a:off x="1569574" y="4389010"/>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February</a:t>
          </a:r>
        </a:p>
      </dsp:txBody>
      <dsp:txXfrm>
        <a:off x="1569574" y="4389010"/>
        <a:ext cx="1589773" cy="573438"/>
      </dsp:txXfrm>
    </dsp:sp>
    <dsp:sp modelId="{FC6D5085-BC9A-425C-9655-F4EAAB9422C6}">
      <dsp:nvSpPr>
        <dsp:cNvPr id="0" name=""/>
        <dsp:cNvSpPr/>
      </dsp:nvSpPr>
      <dsp:spPr>
        <a:xfrm>
          <a:off x="1309331" y="2756916"/>
          <a:ext cx="0" cy="1632094"/>
        </a:xfrm>
        <a:prstGeom prst="line">
          <a:avLst/>
        </a:prstGeom>
        <a:noFill/>
        <a:ln w="12700" cap="flat" cmpd="sng" algn="ctr">
          <a:solidFill>
            <a:schemeClr val="accent3">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9D2E5EF5-7EEC-4C17-8531-A7A2D99FD415}">
      <dsp:nvSpPr>
        <dsp:cNvPr id="0" name=""/>
        <dsp:cNvSpPr/>
      </dsp:nvSpPr>
      <dsp:spPr>
        <a:xfrm>
          <a:off x="1288964" y="2705306"/>
          <a:ext cx="93687" cy="103218"/>
        </a:xfrm>
        <a:prstGeom prst="ellipse">
          <a:avLst/>
        </a:prstGeom>
        <a:solidFill>
          <a:schemeClr val="accent3">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3390ACF-8941-4B21-81FE-E24DE182F400}">
      <dsp:nvSpPr>
        <dsp:cNvPr id="0" name=""/>
        <dsp:cNvSpPr/>
      </dsp:nvSpPr>
      <dsp:spPr>
        <a:xfrm rot="8100000">
          <a:off x="2173034" y="654083"/>
          <a:ext cx="368038" cy="368038"/>
        </a:xfrm>
        <a:prstGeom prst="teardrop">
          <a:avLst>
            <a:gd name="adj" fmla="val 115000"/>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3CE6054-7DA9-41CA-A822-B5AEFEF9A36D}">
      <dsp:nvSpPr>
        <dsp:cNvPr id="0" name=""/>
        <dsp:cNvSpPr/>
      </dsp:nvSpPr>
      <dsp:spPr>
        <a:xfrm>
          <a:off x="2213920" y="694969"/>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BE565CC8-066C-44C8-A00D-95B6F78719F0}">
      <dsp:nvSpPr>
        <dsp:cNvPr id="0" name=""/>
        <dsp:cNvSpPr/>
      </dsp:nvSpPr>
      <dsp:spPr>
        <a:xfrm>
          <a:off x="2617296" y="1124821"/>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a:lnSpc>
              <a:spcPct val="90000"/>
            </a:lnSpc>
            <a:spcBef>
              <a:spcPct val="0"/>
            </a:spcBef>
            <a:spcAft>
              <a:spcPct val="35000"/>
            </a:spcAft>
            <a:buNone/>
          </a:pPr>
          <a:r>
            <a:rPr lang="en-US" sz="1500" kern="1200"/>
            <a:t>Safe Sleep Environment Education and Implementation</a:t>
          </a:r>
        </a:p>
      </dsp:txBody>
      <dsp:txXfrm>
        <a:off x="2617296" y="1124821"/>
        <a:ext cx="1589773" cy="1632094"/>
      </dsp:txXfrm>
    </dsp:sp>
    <dsp:sp modelId="{4183CEC0-935A-410C-86C6-DD5A3092D739}">
      <dsp:nvSpPr>
        <dsp:cNvPr id="0" name=""/>
        <dsp:cNvSpPr/>
      </dsp:nvSpPr>
      <dsp:spPr>
        <a:xfrm>
          <a:off x="2617296" y="551383"/>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March</a:t>
          </a:r>
        </a:p>
      </dsp:txBody>
      <dsp:txXfrm>
        <a:off x="2617296" y="551383"/>
        <a:ext cx="1589773" cy="573438"/>
      </dsp:txXfrm>
    </dsp:sp>
    <dsp:sp modelId="{8C47003B-F241-4006-92DC-837EB791561B}">
      <dsp:nvSpPr>
        <dsp:cNvPr id="0" name=""/>
        <dsp:cNvSpPr/>
      </dsp:nvSpPr>
      <dsp:spPr>
        <a:xfrm>
          <a:off x="2357053" y="1124821"/>
          <a:ext cx="0" cy="1632094"/>
        </a:xfrm>
        <a:prstGeom prst="line">
          <a:avLst/>
        </a:prstGeom>
        <a:noFill/>
        <a:ln w="12700" cap="flat" cmpd="sng" algn="ctr">
          <a:solidFill>
            <a:schemeClr val="accent4">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CC3026BE-E675-4141-8C6B-877C71AFCD1B}">
      <dsp:nvSpPr>
        <dsp:cNvPr id="0" name=""/>
        <dsp:cNvSpPr/>
      </dsp:nvSpPr>
      <dsp:spPr>
        <a:xfrm>
          <a:off x="2336686" y="2705306"/>
          <a:ext cx="93687" cy="103218"/>
        </a:xfrm>
        <a:prstGeom prst="ellipse">
          <a:avLst/>
        </a:prstGeom>
        <a:solidFill>
          <a:schemeClr val="accent4">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67F50D-D88C-4B95-A4A3-18B9756C037C}">
      <dsp:nvSpPr>
        <dsp:cNvPr id="0" name=""/>
        <dsp:cNvSpPr/>
      </dsp:nvSpPr>
      <dsp:spPr>
        <a:xfrm rot="18900000">
          <a:off x="3220756" y="4491710"/>
          <a:ext cx="368038" cy="368038"/>
        </a:xfrm>
        <a:prstGeom prst="teardrop">
          <a:avLst>
            <a:gd name="adj" fmla="val 115000"/>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E1B5BCF-E41F-44D1-B630-6887D15A7398}">
      <dsp:nvSpPr>
        <dsp:cNvPr id="0" name=""/>
        <dsp:cNvSpPr/>
      </dsp:nvSpPr>
      <dsp:spPr>
        <a:xfrm>
          <a:off x="3261642" y="4532596"/>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B0EAA9EE-7BD3-411E-86E5-2BA99352C26E}">
      <dsp:nvSpPr>
        <dsp:cNvPr id="0" name=""/>
        <dsp:cNvSpPr/>
      </dsp:nvSpPr>
      <dsp:spPr>
        <a:xfrm>
          <a:off x="3665018" y="2756916"/>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875" rIns="0" bIns="95250" numCol="1" spcCol="1270" anchor="b" anchorCtr="0">
          <a:noAutofit/>
        </a:bodyPr>
        <a:lstStyle/>
        <a:p>
          <a:pPr marL="0" lvl="0" indent="0" algn="l" defTabSz="666750">
            <a:lnSpc>
              <a:spcPct val="90000"/>
            </a:lnSpc>
            <a:spcBef>
              <a:spcPct val="0"/>
            </a:spcBef>
            <a:spcAft>
              <a:spcPct val="35000"/>
            </a:spcAft>
            <a:buNone/>
          </a:pPr>
          <a:r>
            <a:rPr lang="en-US" sz="1500" kern="1200"/>
            <a:t>Policy Review (AAP Safe Sleep Guidelines and reviewing polices with an equity lens) </a:t>
          </a:r>
        </a:p>
      </dsp:txBody>
      <dsp:txXfrm>
        <a:off x="3665018" y="2756916"/>
        <a:ext cx="1589773" cy="1632094"/>
      </dsp:txXfrm>
    </dsp:sp>
    <dsp:sp modelId="{2FB1246F-9AFE-48AF-BDF2-C0001E8CE969}">
      <dsp:nvSpPr>
        <dsp:cNvPr id="0" name=""/>
        <dsp:cNvSpPr/>
      </dsp:nvSpPr>
      <dsp:spPr>
        <a:xfrm>
          <a:off x="3665018" y="4389010"/>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April</a:t>
          </a:r>
        </a:p>
      </dsp:txBody>
      <dsp:txXfrm>
        <a:off x="3665018" y="4389010"/>
        <a:ext cx="1589773" cy="573438"/>
      </dsp:txXfrm>
    </dsp:sp>
    <dsp:sp modelId="{60A486CB-3970-483A-B450-0DD424E81EA2}">
      <dsp:nvSpPr>
        <dsp:cNvPr id="0" name=""/>
        <dsp:cNvSpPr/>
      </dsp:nvSpPr>
      <dsp:spPr>
        <a:xfrm>
          <a:off x="3404775" y="2756916"/>
          <a:ext cx="0" cy="1632094"/>
        </a:xfrm>
        <a:prstGeom prst="line">
          <a:avLst/>
        </a:prstGeom>
        <a:noFill/>
        <a:ln w="12700" cap="flat" cmpd="sng" algn="ctr">
          <a:solidFill>
            <a:schemeClr val="accent5">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C04AE90F-AC95-43B5-B942-8D97C0918650}">
      <dsp:nvSpPr>
        <dsp:cNvPr id="0" name=""/>
        <dsp:cNvSpPr/>
      </dsp:nvSpPr>
      <dsp:spPr>
        <a:xfrm>
          <a:off x="3384408" y="2705306"/>
          <a:ext cx="93687" cy="103218"/>
        </a:xfrm>
        <a:prstGeom prst="ellipse">
          <a:avLst/>
        </a:prstGeom>
        <a:solidFill>
          <a:schemeClr val="accent5">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D614B9-A401-4908-A5B6-5C785767B12A}">
      <dsp:nvSpPr>
        <dsp:cNvPr id="0" name=""/>
        <dsp:cNvSpPr/>
      </dsp:nvSpPr>
      <dsp:spPr>
        <a:xfrm rot="8100000">
          <a:off x="4268478" y="654083"/>
          <a:ext cx="368038" cy="368038"/>
        </a:xfrm>
        <a:prstGeom prst="teardrop">
          <a:avLst>
            <a:gd name="adj" fmla="val 115000"/>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10E4821-9E9D-43D5-AF7E-3658E3CCA6D9}">
      <dsp:nvSpPr>
        <dsp:cNvPr id="0" name=""/>
        <dsp:cNvSpPr/>
      </dsp:nvSpPr>
      <dsp:spPr>
        <a:xfrm>
          <a:off x="4309364" y="694969"/>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2A9B991F-842F-4129-B41A-36744D0D1DAF}">
      <dsp:nvSpPr>
        <dsp:cNvPr id="0" name=""/>
        <dsp:cNvSpPr/>
      </dsp:nvSpPr>
      <dsp:spPr>
        <a:xfrm>
          <a:off x="4712740" y="1124821"/>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a:lnSpc>
              <a:spcPct val="90000"/>
            </a:lnSpc>
            <a:spcBef>
              <a:spcPct val="0"/>
            </a:spcBef>
            <a:spcAft>
              <a:spcPct val="35000"/>
            </a:spcAft>
            <a:buNone/>
          </a:pPr>
          <a:r>
            <a:rPr lang="en-US" sz="1500" kern="1200"/>
            <a:t>2024 Face-to-Face Meeting in Springfield IL</a:t>
          </a:r>
        </a:p>
      </dsp:txBody>
      <dsp:txXfrm>
        <a:off x="4712740" y="1124821"/>
        <a:ext cx="1589773" cy="1632094"/>
      </dsp:txXfrm>
    </dsp:sp>
    <dsp:sp modelId="{B37425C6-3D26-4CCF-BFF5-FB031B76BCAC}">
      <dsp:nvSpPr>
        <dsp:cNvPr id="0" name=""/>
        <dsp:cNvSpPr/>
      </dsp:nvSpPr>
      <dsp:spPr>
        <a:xfrm>
          <a:off x="4712740" y="551383"/>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May</a:t>
          </a:r>
        </a:p>
      </dsp:txBody>
      <dsp:txXfrm>
        <a:off x="4712740" y="551383"/>
        <a:ext cx="1589773" cy="573438"/>
      </dsp:txXfrm>
    </dsp:sp>
    <dsp:sp modelId="{24B3BAC8-22E0-488C-8C7D-45D0A71DFCF1}">
      <dsp:nvSpPr>
        <dsp:cNvPr id="0" name=""/>
        <dsp:cNvSpPr/>
      </dsp:nvSpPr>
      <dsp:spPr>
        <a:xfrm>
          <a:off x="4452497" y="1124821"/>
          <a:ext cx="0" cy="1632094"/>
        </a:xfrm>
        <a:prstGeom prst="line">
          <a:avLst/>
        </a:prstGeom>
        <a:noFill/>
        <a:ln w="12700" cap="flat" cmpd="sng" algn="ctr">
          <a:solidFill>
            <a:schemeClr val="accent6">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88C9072A-7971-4C81-9C00-3C768C49DB68}">
      <dsp:nvSpPr>
        <dsp:cNvPr id="0" name=""/>
        <dsp:cNvSpPr/>
      </dsp:nvSpPr>
      <dsp:spPr>
        <a:xfrm>
          <a:off x="4432130" y="2705306"/>
          <a:ext cx="93687" cy="103218"/>
        </a:xfrm>
        <a:prstGeom prst="ellipse">
          <a:avLst/>
        </a:prstGeom>
        <a:solidFill>
          <a:schemeClr val="accent6">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6327667-BB9F-4AE2-9DE4-614AFF9D570E}">
      <dsp:nvSpPr>
        <dsp:cNvPr id="0" name=""/>
        <dsp:cNvSpPr/>
      </dsp:nvSpPr>
      <dsp:spPr>
        <a:xfrm rot="18900000">
          <a:off x="5316200" y="4491710"/>
          <a:ext cx="368038" cy="368038"/>
        </a:xfrm>
        <a:prstGeom prst="teardrop">
          <a:avLst>
            <a:gd name="adj" fmla="val 115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D18D11-A7C8-47E9-81DA-B44E1399082D}">
      <dsp:nvSpPr>
        <dsp:cNvPr id="0" name=""/>
        <dsp:cNvSpPr/>
      </dsp:nvSpPr>
      <dsp:spPr>
        <a:xfrm>
          <a:off x="5357086" y="4532596"/>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E2E86E62-E1D6-4BA3-9A6E-0EE2F5195A9B}">
      <dsp:nvSpPr>
        <dsp:cNvPr id="0" name=""/>
        <dsp:cNvSpPr/>
      </dsp:nvSpPr>
      <dsp:spPr>
        <a:xfrm>
          <a:off x="5760462" y="2756916"/>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875" rIns="0" bIns="95250" numCol="1" spcCol="1270" anchor="b" anchorCtr="0">
          <a:noAutofit/>
        </a:bodyPr>
        <a:lstStyle/>
        <a:p>
          <a:pPr marL="0" lvl="0" indent="0" algn="l" defTabSz="666750">
            <a:lnSpc>
              <a:spcPct val="90000"/>
            </a:lnSpc>
            <a:spcBef>
              <a:spcPct val="0"/>
            </a:spcBef>
            <a:spcAft>
              <a:spcPct val="35000"/>
            </a:spcAft>
            <a:buNone/>
          </a:pPr>
          <a:r>
            <a:rPr lang="en-US" sz="1500" kern="1200"/>
            <a:t>Use qualified interpreters and provide information in multiple languages </a:t>
          </a:r>
        </a:p>
      </dsp:txBody>
      <dsp:txXfrm>
        <a:off x="5760462" y="2756916"/>
        <a:ext cx="1589773" cy="1632094"/>
      </dsp:txXfrm>
    </dsp:sp>
    <dsp:sp modelId="{E0F79C68-0658-4690-ABBE-75BF5D6FB4CE}">
      <dsp:nvSpPr>
        <dsp:cNvPr id="0" name=""/>
        <dsp:cNvSpPr/>
      </dsp:nvSpPr>
      <dsp:spPr>
        <a:xfrm>
          <a:off x="5760462" y="4389010"/>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June</a:t>
          </a:r>
        </a:p>
      </dsp:txBody>
      <dsp:txXfrm>
        <a:off x="5760462" y="4389010"/>
        <a:ext cx="1589773" cy="573438"/>
      </dsp:txXfrm>
    </dsp:sp>
    <dsp:sp modelId="{E26F8033-47B9-4A2F-AFA4-759D63C0F3B1}">
      <dsp:nvSpPr>
        <dsp:cNvPr id="0" name=""/>
        <dsp:cNvSpPr/>
      </dsp:nvSpPr>
      <dsp:spPr>
        <a:xfrm>
          <a:off x="5500219" y="2756916"/>
          <a:ext cx="0" cy="1632094"/>
        </a:xfrm>
        <a:prstGeom prst="line">
          <a:avLst/>
        </a:prstGeom>
        <a:noFill/>
        <a:ln w="12700" cap="flat" cmpd="sng" algn="ctr">
          <a:solidFill>
            <a:schemeClr val="accent2">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D6764629-0256-43E9-9304-2A75162A40BD}">
      <dsp:nvSpPr>
        <dsp:cNvPr id="0" name=""/>
        <dsp:cNvSpPr/>
      </dsp:nvSpPr>
      <dsp:spPr>
        <a:xfrm>
          <a:off x="5479852" y="2705306"/>
          <a:ext cx="93687" cy="10321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FD5029-1132-4CB6-9206-F38DE2B31927}">
      <dsp:nvSpPr>
        <dsp:cNvPr id="0" name=""/>
        <dsp:cNvSpPr/>
      </dsp:nvSpPr>
      <dsp:spPr>
        <a:xfrm>
          <a:off x="0" y="640"/>
          <a:ext cx="6589260" cy="149791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AC8E2A8-244A-4D57-A672-A6EC0FE1EBF9}">
      <dsp:nvSpPr>
        <dsp:cNvPr id="0" name=""/>
        <dsp:cNvSpPr/>
      </dsp:nvSpPr>
      <dsp:spPr>
        <a:xfrm>
          <a:off x="453120" y="337671"/>
          <a:ext cx="823854" cy="82385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B5B16BC-89C5-477A-B28E-3F12309BD611}">
      <dsp:nvSpPr>
        <dsp:cNvPr id="0" name=""/>
        <dsp:cNvSpPr/>
      </dsp:nvSpPr>
      <dsp:spPr>
        <a:xfrm>
          <a:off x="1730095" y="640"/>
          <a:ext cx="4859164" cy="1497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8530" tIns="158530" rIns="158530" bIns="158530" numCol="1" spcCol="1270" anchor="ctr" anchorCtr="0">
          <a:noAutofit/>
        </a:bodyPr>
        <a:lstStyle/>
        <a:p>
          <a:pPr marL="0" lvl="0" indent="0" algn="l" defTabSz="1111250">
            <a:lnSpc>
              <a:spcPct val="90000"/>
            </a:lnSpc>
            <a:spcBef>
              <a:spcPct val="0"/>
            </a:spcBef>
            <a:spcAft>
              <a:spcPct val="35000"/>
            </a:spcAft>
            <a:buNone/>
          </a:pPr>
          <a:r>
            <a:rPr lang="en-US" sz="2500" b="0" i="0" kern="1200" dirty="0"/>
            <a:t>This is a long initiative! We cannot do all of this work at once.</a:t>
          </a:r>
          <a:endParaRPr lang="en-US" sz="2500" kern="1200" dirty="0"/>
        </a:p>
      </dsp:txBody>
      <dsp:txXfrm>
        <a:off x="1730095" y="640"/>
        <a:ext cx="4859164" cy="1497917"/>
      </dsp:txXfrm>
    </dsp:sp>
    <dsp:sp modelId="{BEBA2235-AABC-4867-B992-D6D078590A62}">
      <dsp:nvSpPr>
        <dsp:cNvPr id="0" name=""/>
        <dsp:cNvSpPr/>
      </dsp:nvSpPr>
      <dsp:spPr>
        <a:xfrm>
          <a:off x="0" y="1873037"/>
          <a:ext cx="6589260" cy="149791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0F7F6B9-14E4-404F-A58D-C59BB37946D5}">
      <dsp:nvSpPr>
        <dsp:cNvPr id="0" name=""/>
        <dsp:cNvSpPr/>
      </dsp:nvSpPr>
      <dsp:spPr>
        <a:xfrm>
          <a:off x="453120" y="2210069"/>
          <a:ext cx="823854" cy="823854"/>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A179529-18A6-4989-8434-F20D2288611B}">
      <dsp:nvSpPr>
        <dsp:cNvPr id="0" name=""/>
        <dsp:cNvSpPr/>
      </dsp:nvSpPr>
      <dsp:spPr>
        <a:xfrm>
          <a:off x="1730095" y="1873037"/>
          <a:ext cx="4859164" cy="1497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8530" tIns="158530" rIns="158530" bIns="158530" numCol="1" spcCol="1270" anchor="ctr" anchorCtr="0">
          <a:noAutofit/>
        </a:bodyPr>
        <a:lstStyle/>
        <a:p>
          <a:pPr marL="0" lvl="0" indent="0" algn="l" defTabSz="1111250" rtl="0">
            <a:lnSpc>
              <a:spcPct val="90000"/>
            </a:lnSpc>
            <a:spcBef>
              <a:spcPct val="0"/>
            </a:spcBef>
            <a:spcAft>
              <a:spcPct val="35000"/>
            </a:spcAft>
            <a:buNone/>
          </a:pPr>
          <a:r>
            <a:rPr lang="en-US" sz="2500" b="0" i="0" kern="1200" dirty="0"/>
            <a:t>We will work together </a:t>
          </a:r>
          <a:r>
            <a:rPr lang="en-US" sz="2500" b="0" i="0" kern="1200" dirty="0">
              <a:latin typeface="Calibri" panose="020F0502020204030204"/>
            </a:rPr>
            <a:t>to </a:t>
          </a:r>
          <a:r>
            <a:rPr lang="en-US" sz="2500" b="0" i="0" kern="1200" dirty="0"/>
            <a:t>implement strategies one </a:t>
          </a:r>
          <a:r>
            <a:rPr lang="en-US" sz="2500" b="0" i="0" kern="1200" dirty="0">
              <a:latin typeface="Calibri" panose="020F0502020204030204"/>
            </a:rPr>
            <a:t>driver</a:t>
          </a:r>
          <a:r>
            <a:rPr lang="en-US" sz="2500" b="0" i="0" kern="1200" dirty="0"/>
            <a:t> at a time</a:t>
          </a:r>
          <a:endParaRPr lang="en-US" sz="2500" kern="1200" dirty="0"/>
        </a:p>
      </dsp:txBody>
      <dsp:txXfrm>
        <a:off x="1730095" y="1873037"/>
        <a:ext cx="4859164" cy="1497917"/>
      </dsp:txXfrm>
    </dsp:sp>
    <dsp:sp modelId="{5F250659-753E-4077-AA7C-9ED0D6CDE608}">
      <dsp:nvSpPr>
        <dsp:cNvPr id="0" name=""/>
        <dsp:cNvSpPr/>
      </dsp:nvSpPr>
      <dsp:spPr>
        <a:xfrm>
          <a:off x="0" y="3745434"/>
          <a:ext cx="6589260" cy="149791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1CB9427-5B5C-46C6-BFA7-2602FD506DA3}">
      <dsp:nvSpPr>
        <dsp:cNvPr id="0" name=""/>
        <dsp:cNvSpPr/>
      </dsp:nvSpPr>
      <dsp:spPr>
        <a:xfrm>
          <a:off x="453120" y="4082466"/>
          <a:ext cx="823854" cy="82385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C5993AF-0D3C-423B-AC04-58DD1DCA88ED}">
      <dsp:nvSpPr>
        <dsp:cNvPr id="0" name=""/>
        <dsp:cNvSpPr/>
      </dsp:nvSpPr>
      <dsp:spPr>
        <a:xfrm>
          <a:off x="1730095" y="3745434"/>
          <a:ext cx="4859164" cy="1497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8530" tIns="158530" rIns="158530" bIns="158530" numCol="1" spcCol="1270" anchor="ctr" anchorCtr="0">
          <a:noAutofit/>
        </a:bodyPr>
        <a:lstStyle/>
        <a:p>
          <a:pPr marL="0" lvl="0" indent="0" algn="l" defTabSz="1111250">
            <a:lnSpc>
              <a:spcPct val="90000"/>
            </a:lnSpc>
            <a:spcBef>
              <a:spcPct val="0"/>
            </a:spcBef>
            <a:spcAft>
              <a:spcPct val="35000"/>
            </a:spcAft>
            <a:buNone/>
          </a:pPr>
          <a:r>
            <a:rPr lang="en-US" sz="2500" b="0" i="0" kern="1200" dirty="0"/>
            <a:t>Get started by working on implementing the 10 Steps Getting Started!</a:t>
          </a:r>
          <a:endParaRPr lang="en-US" sz="2500" kern="1200" dirty="0"/>
        </a:p>
      </dsp:txBody>
      <dsp:txXfrm>
        <a:off x="1730095" y="3745434"/>
        <a:ext cx="4859164" cy="1497917"/>
      </dsp:txXfrm>
    </dsp:sp>
  </dsp:spTree>
</dsp:drawing>
</file>

<file path=ppt/diagrams/layout1.xml><?xml version="1.0" encoding="utf-8"?>
<dgm:layoutDef xmlns:dgm="http://schemas.openxmlformats.org/drawingml/2006/diagram" xmlns:a="http://schemas.openxmlformats.org/drawingml/2006/main" uniqueId="urn:microsoft.com/office/officeart/2018/5/layout/CenteredIconLabelDescriptionList">
  <dgm:title val="Centered 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ctrX" for="ch" forName="iconRect" refType="w" fact="0.5"/>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6.xml><?xml version="1.0" encoding="utf-8"?>
<dgm:layoutDef xmlns:dgm="http://schemas.openxmlformats.org/drawingml/2006/diagram" xmlns:a="http://schemas.openxmlformats.org/drawingml/2006/main" uniqueId="urn:microsoft.com/office/officeart/2017/3/layout/DropPinTimeline">
  <dgm:title val="Drop Pin Timeline"/>
  <dgm:desc val="Use to show a list of events in chronological order. An invisible box next to the pin contains the date and the description is immediately below. It can display a medium amount of text and medium length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dgm:constr type="ctrY" for="ch" forName="divider" refType="h" fact="0.5"/>
      <dgm:constr type="l" for="ch" forName="divider"/>
      <dgm:constr type="w" for="ch" forName="nodes" refType="w"/>
      <dgm:constr type="h" for="ch" forName="nodes" refType="h" fact="0.8"/>
      <dgm:constr type="ctrY" for="ch" forName="nodes" refType="h" fact="0.5"/>
    </dgm:constrLst>
    <dgm:layoutNode name="divider" styleLbl="fgAcc1">
      <dgm:alg type="sp"/>
      <dgm:choose name="ArrowShape">
        <dgm:if name="ArrowShapeLTR" func="var" arg="dir" op="equ" val="norm">
          <dgm:shape xmlns:r="http://schemas.openxmlformats.org/officeDocument/2006/relationships" type="line" r:blip="" zOrderOff="-1">
            <dgm:adjLst/>
            <dgm:extLst>
              <a:ext uri="{B698B0E9-8C71-41B9-8309-B3DCBF30829C}">
                <dgm1612:spPr xmlns:dgm1612="http://schemas.microsoft.com/office/drawing/2016/12/diagram">
                  <a:ln w="19050">
                    <a:solidFill>
                      <a:srgbClr val="000000"/>
                    </a:solidFill>
                    <a:tailEnd type="triangle" w="lg" len="lg"/>
                  </a:ln>
                </dgm1612:spPr>
              </a:ext>
            </dgm:extLst>
          </dgm:shape>
        </dgm:if>
        <dgm:else name="ArrowShapeRTL">
          <dgm:shape xmlns:r="http://schemas.openxmlformats.org/officeDocument/2006/relationships" type="line" r:blip="" zOrderOff="-1">
            <dgm:adjLst/>
            <dgm:extLst>
              <a:ext uri="{B698B0E9-8C71-41B9-8309-B3DCBF30829C}">
                <dgm1612:spPr xmlns:dgm1612="http://schemas.microsoft.com/office/drawing/2016/12/diagram">
                  <a:ln>
                    <a:solidFill>
                      <a:srgbClr val="000000"/>
                    </a:solidFill>
                    <a:headEnd type="triangle" w="lg" len="lg"/>
                  </a:ln>
                </dgm1612:spPr>
              </a:ext>
            </dgm:extLst>
          </dgm:shape>
        </dgm:else>
      </dgm:choos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 type="primFontSz" for="des" forName="L1TextContainer1" val="20"/>
        <dgm:constr type="primFontSz" for="des" forName="L2TextContainer1" refType="primFontSz" refFor="des" refForName="L1TextContainer1" op="equ" fact="0.75"/>
        <dgm:constr type="w" for="ch" forName="composite1" refType="w"/>
        <dgm:constr type="h" for="ch" forName="composite1" refType="h"/>
        <dgm:constr type="w" for="ch" forName="spaceBetweenRectangles1" refType="w" refFor="ch" refForName="composite1" fact="0.28"/>
        <dgm:constr type="primFontSz" for="des" forName="L1TextContainer1" op="equ"/>
        <dgm:constr type="primFontSz" for="des" forName="L2TextContainer1" op="equ"/>
      </dgm:constrLst>
      <dgm:choose name="LayoutBasedOnCountOfNodes">
        <dgm:if name="LessThanOrEqualToTwoNodes" axis="ch" ptType="node" func="cnt" op="lte" val="2">
          <dgm:forEach name="nodesForEach1" axis="ch" ptType="node">
            <dgm:layoutNode name="composite1">
              <dgm:alg type="composite"/>
              <dgm:shape xmlns:r="http://schemas.openxmlformats.org/officeDocument/2006/relationships" r:blip="">
                <dgm:adjLst/>
              </dgm:shape>
              <dgm:choose name="CaseForLayoutDirection1">
                <dgm:if name="CaseForLayoutDirectionLTR1" func="var" arg="dir" op="equ" val="norm">
                  <dgm:choose name="CaseForPlacingNodesAboveAndBelowDividerLTR1">
                    <dgm:if name="CaseForPlacingNodeAboveDividerLTR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LTR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if>
                <dgm:else name="CaseForLayoutDirectionRTL1">
                  <dgm:choose name="CaseForPlacingNodesAboveAndBelowDividerRTL1">
                    <dgm:if name="CaseForPlacingNodeAboveDividerRTL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RT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else>
              </dgm:choose>
              <dgm:layoutNode name="ConnectorPoint1" styleLbl="lnNode1" moveWith="ConnectLine1">
                <dgm:alg type="sp"/>
                <dgm:shape xmlns:r="http://schemas.openxmlformats.org/officeDocument/2006/relationships" type="ellipse" r:blip="" zOrderOff="10">
                  <dgm:adjLst/>
                </dgm:shape>
                <dgm:presOf/>
                <dgm:constrLst>
                  <dgm:constr type="w" refType="h" op="equ"/>
                </dgm:constrLst>
              </dgm:layoutNode>
              <dgm:layoutNode name="DropPinPlaceHolder1">
                <dgm:alg type="composite"/>
                <dgm:shape xmlns:r="http://schemas.openxmlformats.org/officeDocument/2006/relationships" r:blip="">
                  <dgm:adjLst/>
                </dgm:shape>
                <dgm:constrLst>
                  <dgm:constr type="w" for="ch" forName="DropPin1" refType="w"/>
                  <dgm:constr type="h" for="ch" forName="DropPin1" refType="h"/>
                  <dgm:constr type="ctrX" for="ch" forName="DropPin1" refType="w" fact="0.5"/>
                  <dgm:constr type="ctrY" for="ch" forName="DropPin1" refType="h" fact="0.5"/>
                  <dgm:constr type="w" for="ch" forName="Ellipse1" refType="w" refFor="ch" refForName="DropPin1" fact="0.55"/>
                  <dgm:constr type="h" for="ch" forName="Ellipse1" refType="w" refFor="ch" refForName="DropPin1" fact="0.55"/>
                  <dgm:constr type="ctrX" for="ch" forName="Ellipse1" refType="ctrX" refFor="ch" refForName="DropPin1"/>
                  <dgm:constr type="ctrY" for="ch" forName="Ellipse1" refType="ctrY" refFor="ch" refForName="DropPin1"/>
                </dgm:constrLst>
                <dgm:layoutNode name="DropPin1" styleLbl="alignNode1">
                  <dgm:alg type="sp"/>
                  <dgm:choose name="CaseForPlacingTearDropAboveAndBelowDivider1">
                    <dgm:if name="CaseForPlacingTearDropAboveDivider1" axis="self" ptType="node" func="posOdd" op="equ" val="1">
                      <dgm:shape xmlns:r="http://schemas.openxmlformats.org/officeDocument/2006/relationships" rot="135" type="teardrop" r:blip="">
                        <dgm:adjLst>
                          <dgm:adj idx="1" val="1.15"/>
                        </dgm:adjLst>
                      </dgm:shape>
                    </dgm:if>
                    <dgm:else name="CaseForPlacingTearDropBelowDivider1">
                      <dgm:shape xmlns:r="http://schemas.openxmlformats.org/officeDocument/2006/relationships" rot="-45" type="teardrop" r:blip="">
                        <dgm:adjLst>
                          <dgm:adj idx="1" val="1.15"/>
                        </dgm:adjLst>
                      </dgm:shape>
                    </dgm:else>
                  </dgm:choose>
                  <dgm:presOf/>
                  <dgm:constrLst/>
                </dgm:layoutNode>
                <dgm:layoutNode name="Ellipse1" styleLbl="fgAcc1" moveWith="DropPin1">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1" styleLbl="revTx" moveWith="L1TextContainer">
                <dgm:varLst>
                  <dgm:bulletEnabled val="1"/>
                </dgm:varLst>
                <dgm:choose name="casesForTxtDirLogic1">
                  <dgm:if name="Name771"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dgm:constr type="tMarg" refType="primFontSz" fact="0.5"/>
                      <dgm:constr type="bMarg" refType="primFontSz" fact="0.75"/>
                    </dgm:constrLst>
                  </dgm:if>
                  <dgm:else name="Name881">
                    <dgm:alg type="tx">
                      <dgm:param type="txAnchorVert" val="b"/>
                      <dgm:param type="parTxLTRAlign" val="l"/>
                      <dgm:param type="parTxRTLAlign" val="l"/>
                      <dgm:param type="txAnchorVertCh" val="b"/>
                      <dgm:param type="shpTxRTLAlignCh" val="l"/>
                      <dgm:param type="shpTxLTRAlignCh" val="l"/>
                    </dgm:alg>
                    <dgm:constrLst>
                      <dgm:constr type="lMarg"/>
                      <dgm:constr type="rMarg" refType="primFontSz" fact="0.5"/>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1"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if>
        <dgm:else name="MoreThanTwoNodes">
          <dgm:forEach name="nodesForEach" axis="ch" ptType="node">
            <dgm:layoutNode name="composite">
              <dgm:alg type="composite"/>
              <dgm:shape xmlns:r="http://schemas.openxmlformats.org/officeDocument/2006/relationships" r:blip="">
                <dgm:adjLst/>
              </dgm:shape>
              <dgm:choose name="CaseForLayoutDirection">
                <dgm:if name="CaseForLayoutDirectionLTR" func="var" arg="dir" op="equ" val="norm">
                  <dgm:choose name="CaseForPlacingNodesAboveAndBelowDividerLTR">
                    <dgm:if name="CaseForPlacingNodeAboveDividerLTR"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LTR">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if>
                <dgm:else name="CaseForLayoutDirectionRTL">
                  <dgm:choose name="CaseForPlacingNodesAboveAndBelowDividerRTL">
                    <dgm:if name="CaseForPlacingNodeAboveDividerRTL"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RTL">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else>
              </dgm:choose>
              <dgm:layoutNode name="ConnectorPoint" styleLbl="lnNode1" moveWith="ConnectLine">
                <dgm:alg type="sp"/>
                <dgm:shape xmlns:r="http://schemas.openxmlformats.org/officeDocument/2006/relationships" type="ellipse" r:blip="" zOrderOff="10">
                  <dgm:adjLst/>
                  <dgm:extLst>
                    <a:ext uri="{B698B0E9-8C71-41B9-8309-B3DCBF30829C}">
                      <dgm1612:spPr xmlns:dgm1612="http://schemas.microsoft.com/office/drawing/2016/12/diagram">
                        <a:ln w="6350"/>
                      </dgm1612:spPr>
                    </a:ext>
                  </dgm:extLst>
                </dgm:shape>
                <dgm:presOf/>
                <dgm:constrLst>
                  <dgm:constr type="w" refType="h" op="equ"/>
                </dgm:constrLst>
              </dgm:layoutNode>
              <dgm:layoutNode name="DropPinPlaceHolder">
                <dgm:alg type="composite"/>
                <dgm:shape xmlns:r="http://schemas.openxmlformats.org/officeDocument/2006/relationships" r:blip="">
                  <dgm:adjLst/>
                </dgm:shape>
                <dgm:constrLst>
                  <dgm:constr type="w" for="ch" forName="DropPin" refType="w"/>
                  <dgm:constr type="h" for="ch" forName="DropPin" refType="h"/>
                  <dgm:constr type="ctrX" for="ch" forName="DropPin" refType="w" fact="0.5"/>
                  <dgm:constr type="ctrY" for="ch" forName="DropPin" refType="h" fact="0.5"/>
                  <dgm:constr type="w" for="ch" forName="Ellipse" refType="w" refFor="ch" refForName="DropPin" fact="0.55"/>
                  <dgm:constr type="h" for="ch" forName="Ellipse" refType="w" refFor="ch" refForName="DropPin" fact="0.55"/>
                  <dgm:constr type="ctrX" for="ch" forName="Ellipse" refType="ctrX" refFor="ch" refForName="DropPin"/>
                  <dgm:constr type="ctrY" for="ch" forName="Ellipse" refType="ctrY" refFor="ch" refForName="DropPin"/>
                </dgm:constrLst>
                <dgm:layoutNode name="DropPin" styleLbl="alignNode1">
                  <dgm:alg type="sp"/>
                  <dgm:choose name="CaseForPlacingTearDropAboveAndBelowDivider">
                    <dgm:if name="CaseForPlacingTearDropAboveDivider" axis="self" ptType="node" func="posOdd" op="equ" val="1">
                      <dgm:shape xmlns:r="http://schemas.openxmlformats.org/officeDocument/2006/relationships" rot="135" type="teardrop" r:blip="">
                        <dgm:adjLst>
                          <dgm:adj idx="1" val="1.15"/>
                        </dgm:adjLst>
                      </dgm:shape>
                    </dgm:if>
                    <dgm:else name="CaseForPlacingTearDropBelowDivider">
                      <dgm:shape xmlns:r="http://schemas.openxmlformats.org/officeDocument/2006/relationships" rot="-45" type="teardrop" r:blip="">
                        <dgm:adjLst>
                          <dgm:adj idx="1" val="1.15"/>
                        </dgm:adjLst>
                      </dgm:shape>
                    </dgm:else>
                  </dgm:choose>
                  <dgm:presOf/>
                  <dgm:constrLst/>
                </dgm:layoutNode>
                <dgm:layoutNode name="Ellipse" styleLbl="fgAcc1" moveWith="DropPin">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 styleLbl="revTx" moveWith="L1TextContainer">
                <dgm:varLst>
                  <dgm:bulletEnabled val="1"/>
                </dgm:varLst>
                <dgm:choose name="casesForTxtDirLogic">
                  <dgm:if name="Name77"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refType="primFontSz" fact="0.5"/>
                      <dgm:constr type="tMarg" refType="primFontSz" fact="0.5"/>
                      <dgm:constr type="bMarg" refType="primFontSz" fact="0.75"/>
                    </dgm:constrLst>
                  </dgm:if>
                  <dgm:else name="Name88">
                    <dgm:alg type="tx">
                      <dgm:param type="txAnchorVert" val="b"/>
                      <dgm:param type="parTxLTRAlign" val="l"/>
                      <dgm:param type="parTxRTLAlign" val="l"/>
                      <dgm:param type="txAnchorVertCh" val="b"/>
                      <dgm:param type="shpTxRTLAlignCh" val="l"/>
                      <dgm:param type="shpTxLTRAlignCh" val="l"/>
                    </dgm:alg>
                    <dgm:constrLst>
                      <dgm:constr type="lMarg"/>
                      <dgm:constr type="rMarg"/>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else>
      </dgm:choose>
    </dgm:layoutNode>
  </dgm:layoutNode>
  <dgm:extLst>
    <a:ext uri="{68A01E43-0DF5-4B5B-8FA6-DAF915123BFB}">
      <dgm1612:lstStyle xmlns:dgm1612="http://schemas.microsoft.com/office/drawing/2016/12/diagram">
        <a:lvl1pPr>
          <a:defRPr b="1"/>
        </a:lvl1pPr>
      </dgm1612:lstStyle>
    </a:ext>
  </dgm:extLst>
</dgm:layoutDef>
</file>

<file path=ppt/diagrams/layout7.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35AE3D-BBF5-462F-BA10-AB04ECE4348E}" type="datetimeFigureOut">
              <a:t>11/2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BD1989-80A6-4526-B6CA-3DFDBBCC42D0}" type="slidenum">
              <a:t>‹#›</a:t>
            </a:fld>
            <a:endParaRPr lang="en-US"/>
          </a:p>
        </p:txBody>
      </p:sp>
    </p:spTree>
    <p:extLst>
      <p:ext uri="{BB962C8B-B14F-4D97-AF65-F5344CB8AC3E}">
        <p14:creationId xmlns:p14="http://schemas.microsoft.com/office/powerpoint/2010/main" val="12137236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cs typeface="Calibri"/>
            </a:endParaRP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2</a:t>
            </a:fld>
            <a:endParaRPr lang="en-US" altLang="en-US">
              <a:latin typeface="Calibri" pitchFamily="34" charset="0"/>
            </a:endParaRPr>
          </a:p>
        </p:txBody>
      </p:sp>
    </p:spTree>
    <p:extLst>
      <p:ext uri="{BB962C8B-B14F-4D97-AF65-F5344CB8AC3E}">
        <p14:creationId xmlns:p14="http://schemas.microsoft.com/office/powerpoint/2010/main" val="19562733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ELLIE</a:t>
            </a:r>
          </a:p>
          <a:p>
            <a:endParaRPr lang="en-US">
              <a:cs typeface="Calibri"/>
            </a:endParaRPr>
          </a:p>
          <a:p>
            <a:r>
              <a:rPr lang="en-US">
                <a:cs typeface="Calibri"/>
              </a:rPr>
              <a:t>Disparities are highest for SUID</a:t>
            </a:r>
          </a:p>
        </p:txBody>
      </p:sp>
      <p:sp>
        <p:nvSpPr>
          <p:cNvPr id="4" name="Slide Number Placeholder 3"/>
          <p:cNvSpPr>
            <a:spLocks noGrp="1"/>
          </p:cNvSpPr>
          <p:nvPr>
            <p:ph type="sldNum" sz="quarter" idx="5"/>
          </p:nvPr>
        </p:nvSpPr>
        <p:spPr/>
        <p:txBody>
          <a:bodyPr/>
          <a:lstStyle/>
          <a:p>
            <a:fld id="{1EBD1989-80A6-4526-B6CA-3DFDBBCC42D0}" type="slidenum">
              <a:rPr lang="en-US"/>
              <a:t>18</a:t>
            </a:fld>
            <a:endParaRPr lang="en-US"/>
          </a:p>
        </p:txBody>
      </p:sp>
    </p:spTree>
    <p:extLst>
      <p:ext uri="{BB962C8B-B14F-4D97-AF65-F5344CB8AC3E}">
        <p14:creationId xmlns:p14="http://schemas.microsoft.com/office/powerpoint/2010/main" val="32894560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ELLIE</a:t>
            </a:r>
          </a:p>
          <a:p>
            <a:endParaRPr lang="en-US">
              <a:cs typeface="Calibri"/>
            </a:endParaRPr>
          </a:p>
          <a:p>
            <a:r>
              <a:rPr lang="en-US">
                <a:cs typeface="Calibri"/>
              </a:rPr>
              <a:t>Buidling upon foundations </a:t>
            </a:r>
          </a:p>
          <a:p>
            <a:r>
              <a:rPr lang="en-US"/>
              <a:t>ILPQC Obstetric Teams are working on improving equity and we are looking ahead to continuing this work.</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19</a:t>
            </a:fld>
            <a:endParaRPr lang="en-US"/>
          </a:p>
        </p:txBody>
      </p:sp>
    </p:spTree>
    <p:extLst>
      <p:ext uri="{BB962C8B-B14F-4D97-AF65-F5344CB8AC3E}">
        <p14:creationId xmlns:p14="http://schemas.microsoft.com/office/powerpoint/2010/main" val="38217619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We know that there are many things we can do to prevent these death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1C258-122C-4775-B207-3DE2D949F4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34064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70"/>
        <p:cNvGrpSpPr/>
        <p:nvPr/>
      </p:nvGrpSpPr>
      <p:grpSpPr>
        <a:xfrm>
          <a:off x="0" y="0"/>
          <a:ext cx="0" cy="0"/>
          <a:chOff x="0" y="0"/>
          <a:chExt cx="0" cy="0"/>
        </a:xfrm>
      </p:grpSpPr>
      <p:sp>
        <p:nvSpPr>
          <p:cNvPr id="2171" name="Google Shape;2171;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72" name="Google Shape;2172;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173" name="Google Shape;2173;p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2</a:t>
            </a:fld>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23</a:t>
            </a:fld>
            <a:endParaRPr lang="en-US"/>
          </a:p>
        </p:txBody>
      </p:sp>
    </p:spTree>
    <p:extLst>
      <p:ext uri="{BB962C8B-B14F-4D97-AF65-F5344CB8AC3E}">
        <p14:creationId xmlns:p14="http://schemas.microsoft.com/office/powerpoint/2010/main" val="14863395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24</a:t>
            </a:fld>
            <a:endParaRPr lang="en-US"/>
          </a:p>
        </p:txBody>
      </p:sp>
    </p:spTree>
    <p:extLst>
      <p:ext uri="{BB962C8B-B14F-4D97-AF65-F5344CB8AC3E}">
        <p14:creationId xmlns:p14="http://schemas.microsoft.com/office/powerpoint/2010/main" val="38633248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 takes a lot of teamwork to plan and launch an initiative and we are so grateful for our partners across the state for their collaboration</a:t>
            </a:r>
          </a:p>
        </p:txBody>
      </p:sp>
      <p:sp>
        <p:nvSpPr>
          <p:cNvPr id="4" name="Slide Number Placeholder 3"/>
          <p:cNvSpPr>
            <a:spLocks noGrp="1"/>
          </p:cNvSpPr>
          <p:nvPr>
            <p:ph type="sldNum" sz="quarter" idx="5"/>
          </p:nvPr>
        </p:nvSpPr>
        <p:spPr/>
        <p:txBody>
          <a:bodyPr/>
          <a:lstStyle/>
          <a:p>
            <a:fld id="{D0B1C258-122C-4775-B207-3DE2D949F414}" type="slidenum">
              <a:rPr lang="en-US" smtClean="0"/>
              <a:t>25</a:t>
            </a:fld>
            <a:endParaRPr lang="en-US"/>
          </a:p>
        </p:txBody>
      </p:sp>
    </p:spTree>
    <p:extLst>
      <p:ext uri="{BB962C8B-B14F-4D97-AF65-F5344CB8AC3E}">
        <p14:creationId xmlns:p14="http://schemas.microsoft.com/office/powerpoint/2010/main" val="2207115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 takes a lot of teamwork to plan and launch an initiative and we are so grateful for our partners across the state for their collaboration</a:t>
            </a:r>
          </a:p>
        </p:txBody>
      </p:sp>
      <p:sp>
        <p:nvSpPr>
          <p:cNvPr id="4" name="Slide Number Placeholder 3"/>
          <p:cNvSpPr>
            <a:spLocks noGrp="1"/>
          </p:cNvSpPr>
          <p:nvPr>
            <p:ph type="sldNum" sz="quarter" idx="5"/>
          </p:nvPr>
        </p:nvSpPr>
        <p:spPr/>
        <p:txBody>
          <a:bodyPr/>
          <a:lstStyle/>
          <a:p>
            <a:fld id="{D0B1C258-122C-4775-B207-3DE2D949F414}" type="slidenum">
              <a:rPr lang="en-US" smtClean="0"/>
              <a:t>26</a:t>
            </a:fld>
            <a:endParaRPr lang="en-US"/>
          </a:p>
        </p:txBody>
      </p:sp>
    </p:spTree>
    <p:extLst>
      <p:ext uri="{BB962C8B-B14F-4D97-AF65-F5344CB8AC3E}">
        <p14:creationId xmlns:p14="http://schemas.microsoft.com/office/powerpoint/2010/main" val="10014018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28</a:t>
            </a:fld>
            <a:endParaRPr lang="en-US"/>
          </a:p>
        </p:txBody>
      </p:sp>
    </p:spTree>
    <p:extLst>
      <p:ext uri="{BB962C8B-B14F-4D97-AF65-F5344CB8AC3E}">
        <p14:creationId xmlns:p14="http://schemas.microsoft.com/office/powerpoint/2010/main" val="14812765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is the ESSI key driver diagram. </a:t>
            </a:r>
          </a:p>
          <a:p>
            <a:r>
              <a:rPr lang="en-US"/>
              <a:t>It allows us to distill our vision into manageable tasks.</a:t>
            </a:r>
            <a:endParaRPr lang="en-US">
              <a:cs typeface="Calibri"/>
            </a:endParaRPr>
          </a:p>
          <a:p>
            <a:r>
              <a:rPr lang="en-US"/>
              <a:t>It organizes our improvement aim and the key drivers  into a learning and communication framework. </a:t>
            </a:r>
            <a:endParaRPr lang="en-US">
              <a:cs typeface="Calibri"/>
            </a:endParaRPr>
          </a:p>
          <a:p>
            <a:endParaRPr lang="en-US"/>
          </a:p>
          <a:p>
            <a:endParaRPr lang="en-US"/>
          </a:p>
        </p:txBody>
      </p:sp>
      <p:sp>
        <p:nvSpPr>
          <p:cNvPr id="4" name="Slide Number Placeholder 3"/>
          <p:cNvSpPr>
            <a:spLocks noGrp="1"/>
          </p:cNvSpPr>
          <p:nvPr>
            <p:ph type="sldNum" sz="quarter" idx="5"/>
          </p:nvPr>
        </p:nvSpPr>
        <p:spPr/>
        <p:txBody>
          <a:bodyPr/>
          <a:lstStyle/>
          <a:p>
            <a:fld id="{1EBD1989-80A6-4526-B6CA-3DFDBBCC42D0}" type="slidenum">
              <a:rPr lang="en-US"/>
              <a:t>29</a:t>
            </a:fld>
            <a:endParaRPr lang="en-US"/>
          </a:p>
        </p:txBody>
      </p:sp>
    </p:spTree>
    <p:extLst>
      <p:ext uri="{BB962C8B-B14F-4D97-AF65-F5344CB8AC3E}">
        <p14:creationId xmlns:p14="http://schemas.microsoft.com/office/powerpoint/2010/main" val="15501793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LANA</a:t>
            </a:r>
          </a:p>
        </p:txBody>
      </p:sp>
      <p:sp>
        <p:nvSpPr>
          <p:cNvPr id="4" name="Slide Number Placeholder 3"/>
          <p:cNvSpPr>
            <a:spLocks noGrp="1"/>
          </p:cNvSpPr>
          <p:nvPr>
            <p:ph type="sldNum" sz="quarter" idx="5"/>
          </p:nvPr>
        </p:nvSpPr>
        <p:spPr/>
        <p:txBody>
          <a:bodyPr/>
          <a:lstStyle/>
          <a:p>
            <a:fld id="{1EBD1989-80A6-4526-B6CA-3DFDBBCC42D0}" type="slidenum">
              <a:rPr lang="en-US"/>
              <a:t>3</a:t>
            </a:fld>
            <a:endParaRPr lang="en-US"/>
          </a:p>
        </p:txBody>
      </p:sp>
    </p:spTree>
    <p:extLst>
      <p:ext uri="{BB962C8B-B14F-4D97-AF65-F5344CB8AC3E}">
        <p14:creationId xmlns:p14="http://schemas.microsoft.com/office/powerpoint/2010/main" val="20056780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MAKE INTO FOUR BY DIVIDING LIGHT BLUE INTO TWO</a:t>
            </a:r>
          </a:p>
        </p:txBody>
      </p:sp>
      <p:sp>
        <p:nvSpPr>
          <p:cNvPr id="4" name="Slide Number Placeholder 3"/>
          <p:cNvSpPr>
            <a:spLocks noGrp="1"/>
          </p:cNvSpPr>
          <p:nvPr>
            <p:ph type="sldNum" sz="quarter" idx="5"/>
          </p:nvPr>
        </p:nvSpPr>
        <p:spPr/>
        <p:txBody>
          <a:bodyPr/>
          <a:lstStyle/>
          <a:p>
            <a:fld id="{1EBD1989-80A6-4526-B6CA-3DFDBBCC42D0}" type="slidenum">
              <a:rPr lang="en-US"/>
              <a:t>33</a:t>
            </a:fld>
            <a:endParaRPr lang="en-US"/>
          </a:p>
        </p:txBody>
      </p:sp>
    </p:spTree>
    <p:extLst>
      <p:ext uri="{BB962C8B-B14F-4D97-AF65-F5344CB8AC3E}">
        <p14:creationId xmlns:p14="http://schemas.microsoft.com/office/powerpoint/2010/main" val="24186079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LANA</a:t>
            </a:r>
          </a:p>
        </p:txBody>
      </p:sp>
      <p:sp>
        <p:nvSpPr>
          <p:cNvPr id="4" name="Slide Number Placeholder 3"/>
          <p:cNvSpPr>
            <a:spLocks noGrp="1"/>
          </p:cNvSpPr>
          <p:nvPr>
            <p:ph type="sldNum" sz="quarter" idx="5"/>
          </p:nvPr>
        </p:nvSpPr>
        <p:spPr/>
        <p:txBody>
          <a:bodyPr/>
          <a:lstStyle/>
          <a:p>
            <a:fld id="{1EBD1989-80A6-4526-B6CA-3DFDBBCC42D0}" type="slidenum">
              <a:rPr lang="en-US"/>
              <a:t>35</a:t>
            </a:fld>
            <a:endParaRPr lang="en-US"/>
          </a:p>
        </p:txBody>
      </p:sp>
    </p:spTree>
    <p:extLst>
      <p:ext uri="{BB962C8B-B14F-4D97-AF65-F5344CB8AC3E}">
        <p14:creationId xmlns:p14="http://schemas.microsoft.com/office/powerpoint/2010/main" val="22123559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Move to after drivers</a:t>
            </a:r>
          </a:p>
          <a:p>
            <a:endParaRPr lang="en-US" dirty="0">
              <a:cs typeface="Calibri"/>
            </a:endParaRPr>
          </a:p>
          <a:p>
            <a:r>
              <a:rPr lang="en-US">
                <a:cs typeface="Calibri"/>
              </a:rPr>
              <a:t>Add # of hospitals </a:t>
            </a:r>
            <a:endParaRPr lang="en-US" dirty="0">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36</a:t>
            </a:fld>
            <a:endParaRPr lang="en-US"/>
          </a:p>
        </p:txBody>
      </p:sp>
    </p:spTree>
    <p:extLst>
      <p:ext uri="{BB962C8B-B14F-4D97-AF65-F5344CB8AC3E}">
        <p14:creationId xmlns:p14="http://schemas.microsoft.com/office/powerpoint/2010/main" val="1662513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ea typeface="Calibri"/>
              <a:cs typeface="Calibri"/>
            </a:endParaRP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38</a:t>
            </a:fld>
            <a:endParaRPr lang="en-US" altLang="en-US">
              <a:latin typeface="Calibri" pitchFamily="34" charset="0"/>
            </a:endParaRPr>
          </a:p>
        </p:txBody>
      </p:sp>
    </p:spTree>
    <p:extLst>
      <p:ext uri="{BB962C8B-B14F-4D97-AF65-F5344CB8AC3E}">
        <p14:creationId xmlns:p14="http://schemas.microsoft.com/office/powerpoint/2010/main" val="6409266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ea typeface="Calibri"/>
              <a:cs typeface="Calibri"/>
            </a:endParaRP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39</a:t>
            </a:fld>
            <a:endParaRPr lang="en-US" altLang="en-US">
              <a:latin typeface="Calibri" pitchFamily="34" charset="0"/>
            </a:endParaRPr>
          </a:p>
        </p:txBody>
      </p:sp>
    </p:spTree>
    <p:extLst>
      <p:ext uri="{BB962C8B-B14F-4D97-AF65-F5344CB8AC3E}">
        <p14:creationId xmlns:p14="http://schemas.microsoft.com/office/powerpoint/2010/main" val="2140120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a:cs typeface="Calibri"/>
              </a:rPr>
              <a:t>Make a 2</a:t>
            </a:r>
            <a:r>
              <a:rPr lang="en-US" altLang="en-US" baseline="30000">
                <a:cs typeface="Calibri"/>
              </a:rPr>
              <a:t>nd</a:t>
            </a:r>
            <a:r>
              <a:rPr lang="en-US" altLang="en-US">
                <a:cs typeface="Calibri"/>
              </a:rPr>
              <a:t> slide with circles around “none” and “unknown” and put after this slide.</a:t>
            </a:r>
            <a:endParaRPr lang="en-US"/>
          </a:p>
          <a:p>
            <a:pPr eaLnBrk="1" hangingPunct="1"/>
            <a:endParaRPr lang="en-US" altLang="en-US">
              <a:cs typeface="Calibri"/>
            </a:endParaRPr>
          </a:p>
          <a:p>
            <a:pPr eaLnBrk="1" hangingPunct="1"/>
            <a:r>
              <a:rPr lang="en-US" altLang="en-US">
                <a:cs typeface="Calibri"/>
              </a:rPr>
              <a:t>What does available for additional staff mean? If it means that they don’t provide education for other staff, did we ask that question or did we deduce from the free text. Can you also put this on a separate slide?</a:t>
            </a:r>
            <a:endParaRPr lang="en-US" altLang="en-US">
              <a:ea typeface="Calibri"/>
              <a:cs typeface="Calibri"/>
            </a:endParaRP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40</a:t>
            </a:fld>
            <a:endParaRPr lang="en-US" altLang="en-US">
              <a:latin typeface="Calibri" pitchFamily="34" charset="0"/>
            </a:endParaRPr>
          </a:p>
        </p:txBody>
      </p:sp>
    </p:spTree>
    <p:extLst>
      <p:ext uri="{BB962C8B-B14F-4D97-AF65-F5344CB8AC3E}">
        <p14:creationId xmlns:p14="http://schemas.microsoft.com/office/powerpoint/2010/main" val="25679952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a:cs typeface="Calibri"/>
              </a:rPr>
              <a:t>We will fix this when we finish the rest of the slides</a:t>
            </a:r>
          </a:p>
          <a:p>
            <a:pPr eaLnBrk="1" hangingPunct="1"/>
            <a:endParaRPr lang="en-US" altLang="en-US">
              <a:cs typeface="Calibri"/>
            </a:endParaRPr>
          </a:p>
          <a:p>
            <a:pPr eaLnBrk="1" hangingPunct="1"/>
            <a:r>
              <a:rPr lang="en-US" altLang="en-US">
                <a:cs typeface="Calibri"/>
              </a:rPr>
              <a:t>Make a 2</a:t>
            </a:r>
            <a:r>
              <a:rPr lang="en-US" altLang="en-US" baseline="30000">
                <a:cs typeface="Calibri"/>
              </a:rPr>
              <a:t>nd</a:t>
            </a:r>
            <a:r>
              <a:rPr lang="en-US" altLang="en-US">
                <a:cs typeface="Calibri"/>
              </a:rPr>
              <a:t> slide with circles around “none” and “unknown” and put after this slide.</a:t>
            </a:r>
          </a:p>
          <a:p>
            <a:pPr eaLnBrk="1" hangingPunct="1"/>
            <a:endParaRPr lang="en-US" altLang="en-US">
              <a:cs typeface="Calibri"/>
            </a:endParaRPr>
          </a:p>
          <a:p>
            <a:pPr eaLnBrk="1" hangingPunct="1"/>
            <a:r>
              <a:rPr lang="en-US" altLang="en-US">
                <a:cs typeface="Calibri"/>
              </a:rPr>
              <a:t>What does available for additional staff mean? If it means that they don’t provide education for other staff, did we ask that question or did we deduce from the free text. Can you also put this on a separate slide?</a:t>
            </a: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41</a:t>
            </a:fld>
            <a:endParaRPr lang="en-US" altLang="en-US">
              <a:latin typeface="Calibri" pitchFamily="34" charset="0"/>
            </a:endParaRPr>
          </a:p>
        </p:txBody>
      </p:sp>
    </p:spTree>
    <p:extLst>
      <p:ext uri="{BB962C8B-B14F-4D97-AF65-F5344CB8AC3E}">
        <p14:creationId xmlns:p14="http://schemas.microsoft.com/office/powerpoint/2010/main" val="7266983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ea typeface="Calibri"/>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42</a:t>
            </a:fld>
            <a:endParaRPr lang="en-US"/>
          </a:p>
        </p:txBody>
      </p:sp>
    </p:spTree>
    <p:extLst>
      <p:ext uri="{BB962C8B-B14F-4D97-AF65-F5344CB8AC3E}">
        <p14:creationId xmlns:p14="http://schemas.microsoft.com/office/powerpoint/2010/main" val="15111628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an’t find this question in the data</a:t>
            </a:r>
          </a:p>
        </p:txBody>
      </p:sp>
      <p:sp>
        <p:nvSpPr>
          <p:cNvPr id="4" name="Slide Number Placeholder 3"/>
          <p:cNvSpPr>
            <a:spLocks noGrp="1"/>
          </p:cNvSpPr>
          <p:nvPr>
            <p:ph type="sldNum" sz="quarter" idx="5"/>
          </p:nvPr>
        </p:nvSpPr>
        <p:spPr/>
        <p:txBody>
          <a:bodyPr/>
          <a:lstStyle/>
          <a:p>
            <a:fld id="{1EBD1989-80A6-4526-B6CA-3DFDBBCC42D0}" type="slidenum">
              <a:rPr lang="en-US" smtClean="0"/>
              <a:t>43</a:t>
            </a:fld>
            <a:endParaRPr lang="en-US"/>
          </a:p>
        </p:txBody>
      </p:sp>
    </p:spTree>
    <p:extLst>
      <p:ext uri="{BB962C8B-B14F-4D97-AF65-F5344CB8AC3E}">
        <p14:creationId xmlns:p14="http://schemas.microsoft.com/office/powerpoint/2010/main" val="4415706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a:cs typeface="Calibri"/>
              </a:rPr>
              <a:t>Before this slide. Get data on “</a:t>
            </a:r>
            <a:r>
              <a:rPr lang="en-US" b="0" i="0">
                <a:solidFill>
                  <a:srgbClr val="000000"/>
                </a:solidFill>
                <a:effectLst/>
                <a:latin typeface="Times New Roman" panose="02020603050405020304" pitchFamily="18" charset="0"/>
              </a:rPr>
              <a:t>Who primarily delivers safe sleep educational content to parents / caregivers on your unit?”</a:t>
            </a:r>
            <a:endParaRPr lang="en-US" altLang="en-US">
              <a:cs typeface="Calibri"/>
            </a:endParaRPr>
          </a:p>
          <a:p>
            <a:pPr eaLnBrk="1" hangingPunct="1"/>
            <a:endParaRPr lang="en-US" altLang="en-US">
              <a:cs typeface="Calibri"/>
            </a:endParaRPr>
          </a:p>
          <a:p>
            <a:pPr eaLnBrk="1" hangingPunct="1"/>
            <a:r>
              <a:rPr lang="en-US" altLang="en-US">
                <a:cs typeface="Calibri"/>
              </a:rPr>
              <a:t>Make more than 1 slide.</a:t>
            </a:r>
          </a:p>
          <a:p>
            <a:pPr eaLnBrk="1" hangingPunct="1"/>
            <a:endParaRPr lang="en-US" altLang="en-US">
              <a:cs typeface="Calibri"/>
            </a:endParaRPr>
          </a:p>
          <a:p>
            <a:pPr eaLnBrk="1" hangingPunct="1"/>
            <a:r>
              <a:rPr lang="en-US" altLang="en-US">
                <a:cs typeface="Calibri"/>
              </a:rPr>
              <a:t>Slide 1: How is content delivered with images. On left put Postpartum unit. On the right put NICU. Title is How is Safe Sleep Education Delivered to Parents/Caregivers</a:t>
            </a:r>
          </a:p>
          <a:p>
            <a:pPr eaLnBrk="1" hangingPunct="1"/>
            <a:r>
              <a:rPr lang="en-US" altLang="en-US">
                <a:cs typeface="Calibri"/>
              </a:rPr>
              <a:t>Slide 2: Pu the list and bar graph with &gt;=40 hospitals. Combine from Postpartum. ON left postpartum, on right NICU</a:t>
            </a:r>
          </a:p>
          <a:p>
            <a:pPr eaLnBrk="1" hangingPunct="1"/>
            <a:r>
              <a:rPr lang="en-US" altLang="en-US">
                <a:cs typeface="Calibri"/>
              </a:rPr>
              <a:t>Slide 3: Put the list and bar graph with &lt;40.</a:t>
            </a:r>
          </a:p>
          <a:p>
            <a:endParaRPr lang="en-US"/>
          </a:p>
        </p:txBody>
      </p:sp>
      <p:sp>
        <p:nvSpPr>
          <p:cNvPr id="4" name="Slide Number Placeholder 3"/>
          <p:cNvSpPr>
            <a:spLocks noGrp="1"/>
          </p:cNvSpPr>
          <p:nvPr>
            <p:ph type="sldNum" sz="quarter" idx="5"/>
          </p:nvPr>
        </p:nvSpPr>
        <p:spPr/>
        <p:txBody>
          <a:bodyPr/>
          <a:lstStyle/>
          <a:p>
            <a:fld id="{1EBD1989-80A6-4526-B6CA-3DFDBBCC42D0}" type="slidenum">
              <a:rPr lang="en-US" smtClean="0"/>
              <a:t>44</a:t>
            </a:fld>
            <a:endParaRPr lang="en-US"/>
          </a:p>
        </p:txBody>
      </p:sp>
    </p:spTree>
    <p:extLst>
      <p:ext uri="{BB962C8B-B14F-4D97-AF65-F5344CB8AC3E}">
        <p14:creationId xmlns:p14="http://schemas.microsoft.com/office/powerpoint/2010/main" val="31494559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74"/>
        <p:cNvGrpSpPr/>
        <p:nvPr/>
      </p:nvGrpSpPr>
      <p:grpSpPr>
        <a:xfrm>
          <a:off x="0" y="0"/>
          <a:ext cx="0" cy="0"/>
          <a:chOff x="0" y="0"/>
          <a:chExt cx="0" cy="0"/>
        </a:xfrm>
      </p:grpSpPr>
      <p:sp>
        <p:nvSpPr>
          <p:cNvPr id="3775" name="Google Shape;3775;p12: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3776" name="Google Shape;3776;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171450" indent="-171450">
              <a:spcBef>
                <a:spcPts val="1000"/>
              </a:spcBef>
              <a:spcAft>
                <a:spcPts val="1000"/>
              </a:spcAft>
              <a:buFont typeface="Arial"/>
              <a:buChar char="•"/>
            </a:pPr>
            <a:r>
              <a:rPr lang="en-US" dirty="0"/>
              <a:t>Implement data-driven, evidence-based practices to improve maternal and infant outcomes using quality improvement science  </a:t>
            </a:r>
          </a:p>
          <a:p>
            <a:pPr marL="171450" indent="-171450">
              <a:spcBef>
                <a:spcPts val="1000"/>
              </a:spcBef>
              <a:spcAft>
                <a:spcPts val="1000"/>
              </a:spcAft>
              <a:buFont typeface="Arial"/>
              <a:buChar char="•"/>
            </a:pPr>
            <a:r>
              <a:rPr lang="en-US" dirty="0"/>
              <a:t>Over 95% of birthing hospitals and neonatal intensive care units participate in ILPQC </a:t>
            </a:r>
            <a:endParaRPr lang="en-US">
              <a:cs typeface="Calibri"/>
            </a:endParaRPr>
          </a:p>
          <a:p>
            <a:pPr marL="171450" indent="-171450">
              <a:spcBef>
                <a:spcPts val="1000"/>
              </a:spcBef>
              <a:spcAft>
                <a:spcPts val="1000"/>
              </a:spcAft>
              <a:buFont typeface="Arial"/>
              <a:buChar char="•"/>
            </a:pPr>
            <a:r>
              <a:rPr lang="en-US" dirty="0"/>
              <a:t>Collaborations with OB and Neonatal Community Advisory Boards, and OB and Neonatal Advisory Workgroups participation across the state</a:t>
            </a:r>
            <a:endParaRPr lang="en-US" dirty="0">
              <a:cs typeface="Calibri"/>
            </a:endParaRPr>
          </a:p>
          <a:p>
            <a:pPr marL="0" lvl="0" indent="0" algn="l" rtl="0">
              <a:spcBef>
                <a:spcPts val="0"/>
              </a:spcBef>
              <a:spcAft>
                <a:spcPts val="0"/>
              </a:spcAft>
              <a:buNone/>
            </a:pPr>
            <a:endParaRPr/>
          </a:p>
        </p:txBody>
      </p:sp>
      <p:sp>
        <p:nvSpPr>
          <p:cNvPr id="3777" name="Google Shape;3777;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8</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a:cs typeface="Calibri"/>
              </a:rPr>
              <a:t>We will fix this when we finish the rest of the slides</a:t>
            </a:r>
          </a:p>
          <a:p>
            <a:pPr eaLnBrk="1" hangingPunct="1"/>
            <a:endParaRPr lang="en-US" altLang="en-US">
              <a:cs typeface="Calibri"/>
            </a:endParaRP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45</a:t>
            </a:fld>
            <a:endParaRPr lang="en-US" altLang="en-US">
              <a:latin typeface="Calibri" pitchFamily="34" charset="0"/>
            </a:endParaRPr>
          </a:p>
        </p:txBody>
      </p:sp>
    </p:spTree>
    <p:extLst>
      <p:ext uri="{BB962C8B-B14F-4D97-AF65-F5344CB8AC3E}">
        <p14:creationId xmlns:p14="http://schemas.microsoft.com/office/powerpoint/2010/main" val="41495238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a:cs typeface="Calibri"/>
              </a:rPr>
              <a:t>We will fix this when we finish the rest of the slides</a:t>
            </a:r>
          </a:p>
          <a:p>
            <a:pPr eaLnBrk="1" hangingPunct="1"/>
            <a:r>
              <a:rPr lang="en-US" altLang="en-US">
                <a:cs typeface="Calibri"/>
              </a:rPr>
              <a:t>Before this slide. Get data on “</a:t>
            </a:r>
            <a:r>
              <a:rPr lang="en-US" b="0" i="0">
                <a:solidFill>
                  <a:srgbClr val="000000"/>
                </a:solidFill>
                <a:effectLst/>
                <a:latin typeface="Times New Roman" panose="02020603050405020304" pitchFamily="18" charset="0"/>
              </a:rPr>
              <a:t>Who primarily delivers safe sleep educational content to parents / caregivers on your unit?”</a:t>
            </a:r>
            <a:endParaRPr lang="en-US" altLang="en-US">
              <a:cs typeface="Calibri"/>
            </a:endParaRPr>
          </a:p>
          <a:p>
            <a:pPr eaLnBrk="1" hangingPunct="1"/>
            <a:endParaRPr lang="en-US" altLang="en-US">
              <a:cs typeface="Calibri"/>
            </a:endParaRPr>
          </a:p>
          <a:p>
            <a:pPr eaLnBrk="1" hangingPunct="1"/>
            <a:r>
              <a:rPr lang="en-US" altLang="en-US">
                <a:cs typeface="Calibri"/>
              </a:rPr>
              <a:t>Make more than 1 slide.</a:t>
            </a:r>
          </a:p>
          <a:p>
            <a:pPr eaLnBrk="1" hangingPunct="1"/>
            <a:endParaRPr lang="en-US" altLang="en-US">
              <a:cs typeface="Calibri"/>
            </a:endParaRPr>
          </a:p>
          <a:p>
            <a:pPr eaLnBrk="1" hangingPunct="1"/>
            <a:r>
              <a:rPr lang="en-US" altLang="en-US">
                <a:cs typeface="Calibri"/>
              </a:rPr>
              <a:t>Slide 1: How is content delivered with images. On left put Postpartum unit. On the right put NICU. Title is How is Safe Sleep Education Delivered to Parents/Caregivers</a:t>
            </a:r>
          </a:p>
          <a:p>
            <a:pPr eaLnBrk="1" hangingPunct="1"/>
            <a:r>
              <a:rPr lang="en-US" altLang="en-US">
                <a:cs typeface="Calibri"/>
              </a:rPr>
              <a:t>Slide 2: Pu the list and bar graph with &gt;=40 hospitals. Combine from Postpartum. ON left postpartum, on right NICU</a:t>
            </a:r>
          </a:p>
          <a:p>
            <a:pPr eaLnBrk="1" hangingPunct="1"/>
            <a:r>
              <a:rPr lang="en-US" altLang="en-US">
                <a:cs typeface="Calibri"/>
              </a:rPr>
              <a:t>Slide 3: Put the list and bar graph with &lt;40.</a:t>
            </a:r>
          </a:p>
          <a:p>
            <a:pPr eaLnBrk="1" hangingPunct="1"/>
            <a:endParaRPr lang="en-US" altLang="en-US">
              <a:cs typeface="Calibri"/>
            </a:endParaRP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46</a:t>
            </a:fld>
            <a:endParaRPr lang="en-US" altLang="en-US">
              <a:latin typeface="Calibri" pitchFamily="34" charset="0"/>
            </a:endParaRPr>
          </a:p>
        </p:txBody>
      </p:sp>
    </p:spTree>
    <p:extLst>
      <p:ext uri="{BB962C8B-B14F-4D97-AF65-F5344CB8AC3E}">
        <p14:creationId xmlns:p14="http://schemas.microsoft.com/office/powerpoint/2010/main" val="1875299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a:cs typeface="Calibri"/>
              </a:rPr>
              <a:t>Additional Caregivers on the Postpartum Unit  </a:t>
            </a:r>
          </a:p>
          <a:p>
            <a:pPr eaLnBrk="1" hangingPunct="1"/>
            <a:endParaRPr lang="en-US" altLang="en-US">
              <a:cs typeface="Calibri"/>
            </a:endParaRPr>
          </a:p>
          <a:p>
            <a:pPr eaLnBrk="1" hangingPunct="1"/>
            <a:r>
              <a:rPr lang="en-US" altLang="en-US">
                <a:cs typeface="Calibri"/>
              </a:rPr>
              <a:t>Put left on one slide and put right on separate slide. </a:t>
            </a:r>
          </a:p>
          <a:p>
            <a:pPr eaLnBrk="1" hangingPunct="1"/>
            <a:endParaRPr lang="en-US" altLang="en-US">
              <a:cs typeface="Calibri"/>
            </a:endParaRPr>
          </a:p>
          <a:p>
            <a:pPr eaLnBrk="1" hangingPunct="1"/>
            <a:r>
              <a:rPr lang="en-US" altLang="en-US">
                <a:cs typeface="Calibri"/>
              </a:rPr>
              <a:t>Title one the right needs clarification. I don’t’ understand what we asked here and what we got out. Would like to have info about one on the right regarding :</a:t>
            </a:r>
            <a:r>
              <a:rPr lang="en-US" b="0" i="0">
                <a:solidFill>
                  <a:srgbClr val="000000"/>
                </a:solidFill>
                <a:effectLst/>
                <a:latin typeface="Times New Roman" panose="02020603050405020304" pitchFamily="18" charset="0"/>
              </a:rPr>
              <a:t>What is your team's process for screening parents / caregivers for Social Determinants of Health and linking to resources?</a:t>
            </a:r>
            <a:endParaRPr lang="en-US" altLang="en-US">
              <a:cs typeface="Calibri"/>
            </a:endParaRP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47</a:t>
            </a:fld>
            <a:endParaRPr lang="en-US" altLang="en-US">
              <a:latin typeface="Calibri" pitchFamily="34" charset="0"/>
            </a:endParaRPr>
          </a:p>
        </p:txBody>
      </p:sp>
    </p:spTree>
    <p:extLst>
      <p:ext uri="{BB962C8B-B14F-4D97-AF65-F5344CB8AC3E}">
        <p14:creationId xmlns:p14="http://schemas.microsoft.com/office/powerpoint/2010/main" val="65816086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a:cs typeface="Calibri"/>
              </a:rPr>
              <a:t>Title one the right needs clarification. I don’t’ understand what we asked here and what we got out. Would like to have info about one on the right regarding :</a:t>
            </a:r>
            <a:r>
              <a:rPr lang="en-US" b="0" i="0">
                <a:solidFill>
                  <a:srgbClr val="000000"/>
                </a:solidFill>
                <a:effectLst/>
                <a:latin typeface="Times New Roman" panose="02020603050405020304" pitchFamily="18" charset="0"/>
              </a:rPr>
              <a:t>What is your team's process for screening parents / caregivers for Social Determinants of Health and linking to resources?</a:t>
            </a:r>
            <a:endParaRPr lang="en-US" altLang="en-US">
              <a:cs typeface="Calibri"/>
            </a:endParaRPr>
          </a:p>
          <a:p>
            <a:endParaRPr lang="en-US"/>
          </a:p>
        </p:txBody>
      </p:sp>
      <p:sp>
        <p:nvSpPr>
          <p:cNvPr id="4" name="Slide Number Placeholder 3"/>
          <p:cNvSpPr>
            <a:spLocks noGrp="1"/>
          </p:cNvSpPr>
          <p:nvPr>
            <p:ph type="sldNum" sz="quarter" idx="5"/>
          </p:nvPr>
        </p:nvSpPr>
        <p:spPr/>
        <p:txBody>
          <a:bodyPr/>
          <a:lstStyle/>
          <a:p>
            <a:fld id="{1EBD1989-80A6-4526-B6CA-3DFDBBCC42D0}" type="slidenum">
              <a:rPr lang="en-US" smtClean="0"/>
              <a:t>48</a:t>
            </a:fld>
            <a:endParaRPr lang="en-US"/>
          </a:p>
        </p:txBody>
      </p:sp>
    </p:spTree>
    <p:extLst>
      <p:ext uri="{BB962C8B-B14F-4D97-AF65-F5344CB8AC3E}">
        <p14:creationId xmlns:p14="http://schemas.microsoft.com/office/powerpoint/2010/main" val="27194047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000000"/>
                </a:solidFill>
                <a:effectLst/>
                <a:latin typeface="Times New Roman" panose="02020603050405020304" pitchFamily="18" charset="0"/>
              </a:rPr>
              <a:t>More slides:</a:t>
            </a:r>
          </a:p>
          <a:p>
            <a:endParaRPr lang="en-US" b="0" i="0">
              <a:solidFill>
                <a:srgbClr val="000000"/>
              </a:solidFill>
              <a:effectLst/>
              <a:latin typeface="Times New Roman" panose="02020603050405020304" pitchFamily="18" charset="0"/>
            </a:endParaRPr>
          </a:p>
          <a:p>
            <a:r>
              <a:rPr lang="en-US" b="0" i="0">
                <a:solidFill>
                  <a:srgbClr val="000000"/>
                </a:solidFill>
                <a:effectLst/>
                <a:latin typeface="Times New Roman" panose="02020603050405020304" pitchFamily="18" charset="0"/>
              </a:rPr>
              <a:t>Does your unit have any written materials for parent/caregiver safe sleep education based on 2022 AAP Safe Sleep Guidelines</a:t>
            </a:r>
          </a:p>
          <a:p>
            <a:pPr algn="l"/>
            <a:endParaRPr lang="en-US" b="0" i="0">
              <a:solidFill>
                <a:srgbClr val="000000"/>
              </a:solidFill>
              <a:effectLst/>
              <a:latin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1EBD1989-80A6-4526-B6CA-3DFDBBCC42D0}" type="slidenum">
              <a:rPr lang="en-US" smtClean="0"/>
              <a:t>49</a:t>
            </a:fld>
            <a:endParaRPr lang="en-US"/>
          </a:p>
        </p:txBody>
      </p:sp>
    </p:spTree>
    <p:extLst>
      <p:ext uri="{BB962C8B-B14F-4D97-AF65-F5344CB8AC3E}">
        <p14:creationId xmlns:p14="http://schemas.microsoft.com/office/powerpoint/2010/main" val="24420376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000000"/>
                </a:solidFill>
                <a:effectLst/>
                <a:latin typeface="Times New Roman" panose="02020603050405020304" pitchFamily="18" charset="0"/>
              </a:rPr>
              <a:t>What is your current process for reviewing unit policies? </a:t>
            </a:r>
            <a:r>
              <a:rPr lang="en-US" b="0" i="0">
                <a:solidFill>
                  <a:srgbClr val="000000"/>
                </a:solidFill>
                <a:effectLst/>
                <a:latin typeface="Times New Roman" panose="02020603050405020304" pitchFamily="18" charset="0"/>
                <a:sym typeface="Wingdings" pitchFamily="2" charset="2"/>
              </a:rPr>
              <a:t> this was not a question </a:t>
            </a:r>
            <a:endParaRPr lang="en-US" b="0" i="0">
              <a:solidFill>
                <a:srgbClr val="000000"/>
              </a:solidFill>
              <a:effectLst/>
              <a:latin typeface="Times New Roman" panose="02020603050405020304" pitchFamily="18" charset="0"/>
            </a:endParaRPr>
          </a:p>
          <a:p>
            <a:pPr algn="l"/>
            <a:r>
              <a:rPr lang="en-US" b="0" i="0">
                <a:solidFill>
                  <a:srgbClr val="000000"/>
                </a:solidFill>
                <a:effectLst/>
                <a:latin typeface="Times New Roman" panose="02020603050405020304" pitchFamily="18" charset="0"/>
              </a:rPr>
              <a:t>o Do you have a process to ensure policies are equitable and inclusive?</a:t>
            </a:r>
          </a:p>
          <a:p>
            <a:pPr algn="l"/>
            <a:r>
              <a:rPr lang="en-US" b="0" i="0">
                <a:solidFill>
                  <a:srgbClr val="000000"/>
                </a:solidFill>
                <a:effectLst/>
                <a:latin typeface="Times New Roman" panose="02020603050405020304" pitchFamily="18" charset="0"/>
              </a:rPr>
              <a:t>o If yes, what is the process? (free response)</a:t>
            </a:r>
          </a:p>
          <a:p>
            <a:endParaRPr lang="en-US"/>
          </a:p>
        </p:txBody>
      </p:sp>
      <p:sp>
        <p:nvSpPr>
          <p:cNvPr id="4" name="Slide Number Placeholder 3"/>
          <p:cNvSpPr>
            <a:spLocks noGrp="1"/>
          </p:cNvSpPr>
          <p:nvPr>
            <p:ph type="sldNum" sz="quarter" idx="5"/>
          </p:nvPr>
        </p:nvSpPr>
        <p:spPr/>
        <p:txBody>
          <a:bodyPr/>
          <a:lstStyle/>
          <a:p>
            <a:fld id="{1EBD1989-80A6-4526-B6CA-3DFDBBCC42D0}" type="slidenum">
              <a:rPr lang="en-US" smtClean="0"/>
              <a:t>50</a:t>
            </a:fld>
            <a:endParaRPr lang="en-US"/>
          </a:p>
        </p:txBody>
      </p:sp>
    </p:spTree>
    <p:extLst>
      <p:ext uri="{BB962C8B-B14F-4D97-AF65-F5344CB8AC3E}">
        <p14:creationId xmlns:p14="http://schemas.microsoft.com/office/powerpoint/2010/main" val="28856852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000000"/>
                </a:solidFill>
                <a:effectLst/>
                <a:latin typeface="Times New Roman" panose="02020603050405020304" pitchFamily="18" charset="0"/>
              </a:rPr>
              <a:t>Does your hospital have an ILPQC OB Birth Equity team?</a:t>
            </a:r>
          </a:p>
          <a:p>
            <a:pPr algn="l"/>
            <a:r>
              <a:rPr lang="en-US" b="0" i="0">
                <a:solidFill>
                  <a:srgbClr val="000000"/>
                </a:solidFill>
                <a:effectLst/>
                <a:latin typeface="Times New Roman"/>
                <a:cs typeface="Times New Roman"/>
              </a:rPr>
              <a:t>Does your unit/hospital currently partner with any community organizations that promote newborn equity and/or safe sleep?</a:t>
            </a:r>
          </a:p>
          <a:p>
            <a:pPr algn="l"/>
            <a:r>
              <a:rPr lang="en-US" i="0">
                <a:solidFill>
                  <a:srgbClr val="000000"/>
                </a:solidFill>
                <a:effectLst/>
                <a:latin typeface="Times New Roman"/>
                <a:cs typeface="Times New Roman"/>
              </a:rPr>
              <a:t>o If yes, which organizations? (free text)</a:t>
            </a:r>
          </a:p>
          <a:p>
            <a:endParaRPr lang="en-US"/>
          </a:p>
        </p:txBody>
      </p:sp>
      <p:sp>
        <p:nvSpPr>
          <p:cNvPr id="4" name="Slide Number Placeholder 3"/>
          <p:cNvSpPr>
            <a:spLocks noGrp="1"/>
          </p:cNvSpPr>
          <p:nvPr>
            <p:ph type="sldNum" sz="quarter" idx="5"/>
          </p:nvPr>
        </p:nvSpPr>
        <p:spPr/>
        <p:txBody>
          <a:bodyPr/>
          <a:lstStyle/>
          <a:p>
            <a:fld id="{1EBD1989-80A6-4526-B6CA-3DFDBBCC42D0}" type="slidenum">
              <a:rPr lang="en-US" smtClean="0"/>
              <a:t>51</a:t>
            </a:fld>
            <a:endParaRPr lang="en-US"/>
          </a:p>
        </p:txBody>
      </p:sp>
    </p:spTree>
    <p:extLst>
      <p:ext uri="{BB962C8B-B14F-4D97-AF65-F5344CB8AC3E}">
        <p14:creationId xmlns:p14="http://schemas.microsoft.com/office/powerpoint/2010/main" val="10846673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000000"/>
                </a:solidFill>
                <a:effectLst/>
                <a:latin typeface="Times New Roman" panose="02020603050405020304" pitchFamily="18" charset="0"/>
              </a:rPr>
              <a:t>How does your team engage parents in quality improvement work on your unit? (free text)</a:t>
            </a:r>
          </a:p>
          <a:p>
            <a:pPr algn="l"/>
            <a:r>
              <a:rPr lang="en-US" b="0" i="0">
                <a:solidFill>
                  <a:srgbClr val="000000"/>
                </a:solidFill>
                <a:effectLst/>
                <a:latin typeface="Times New Roman" panose="02020603050405020304" pitchFamily="18" charset="0"/>
              </a:rPr>
              <a:t>Do you currently have any education for providers, nurses, and staff about listening to parents and caregivers, providing respectful care and building trust, and addressing implicit bias and engaging in anti-racism? Y/N</a:t>
            </a:r>
          </a:p>
          <a:p>
            <a:pPr algn="l"/>
            <a:r>
              <a:rPr lang="en-US" b="0" i="0">
                <a:solidFill>
                  <a:srgbClr val="000000"/>
                </a:solidFill>
                <a:effectLst/>
                <a:latin typeface="Times New Roman" panose="02020603050405020304" pitchFamily="18" charset="0"/>
              </a:rPr>
              <a:t>o If yes, how is it provided?</a:t>
            </a:r>
          </a:p>
          <a:p>
            <a:pPr algn="l"/>
            <a:r>
              <a:rPr lang="en-US" b="0" i="0">
                <a:solidFill>
                  <a:srgbClr val="000000"/>
                </a:solidFill>
                <a:effectLst/>
                <a:latin typeface="Times New Roman" panose="02020603050405020304" pitchFamily="18" charset="0"/>
              </a:rPr>
              <a:t>§ E-Module</a:t>
            </a:r>
          </a:p>
          <a:p>
            <a:pPr algn="l"/>
            <a:r>
              <a:rPr lang="en-US" b="0" i="0">
                <a:solidFill>
                  <a:srgbClr val="000000"/>
                </a:solidFill>
                <a:effectLst/>
                <a:latin typeface="Times New Roman" panose="02020603050405020304" pitchFamily="18" charset="0"/>
              </a:rPr>
              <a:t>§ Simulation</a:t>
            </a:r>
          </a:p>
          <a:p>
            <a:pPr algn="l"/>
            <a:r>
              <a:rPr lang="en-US" b="0" i="0">
                <a:solidFill>
                  <a:srgbClr val="000000"/>
                </a:solidFill>
                <a:effectLst/>
                <a:latin typeface="Times New Roman" panose="02020603050405020304" pitchFamily="18" charset="0"/>
              </a:rPr>
              <a:t>§ Documentary screenings (Laboring with Hope, Aftershock, Toxic, Hear Her)</a:t>
            </a:r>
          </a:p>
          <a:p>
            <a:pPr algn="l"/>
            <a:r>
              <a:rPr lang="en-US" b="0" i="0">
                <a:solidFill>
                  <a:srgbClr val="000000"/>
                </a:solidFill>
                <a:effectLst/>
                <a:latin typeface="Times New Roman" panose="02020603050405020304" pitchFamily="18" charset="0"/>
              </a:rPr>
              <a:t>§ Small group conversations</a:t>
            </a:r>
          </a:p>
          <a:p>
            <a:pPr algn="l"/>
            <a:r>
              <a:rPr lang="en-US" b="0" i="0">
                <a:solidFill>
                  <a:srgbClr val="000000"/>
                </a:solidFill>
                <a:effectLst/>
                <a:latin typeface="Times New Roman" panose="02020603050405020304" pitchFamily="18" charset="0"/>
              </a:rPr>
              <a:t>§ Other: _____</a:t>
            </a:r>
          </a:p>
          <a:p>
            <a:pPr algn="l"/>
            <a:r>
              <a:rPr lang="en-US" b="0" i="0">
                <a:solidFill>
                  <a:srgbClr val="000000"/>
                </a:solidFill>
                <a:effectLst/>
                <a:latin typeface="Times New Roman" panose="02020603050405020304" pitchFamily="18" charset="0"/>
              </a:rPr>
              <a:t>o How often is it required?</a:t>
            </a:r>
          </a:p>
          <a:p>
            <a:endParaRPr lang="en-US"/>
          </a:p>
        </p:txBody>
      </p:sp>
      <p:sp>
        <p:nvSpPr>
          <p:cNvPr id="4" name="Slide Number Placeholder 3"/>
          <p:cNvSpPr>
            <a:spLocks noGrp="1"/>
          </p:cNvSpPr>
          <p:nvPr>
            <p:ph type="sldNum" sz="quarter" idx="5"/>
          </p:nvPr>
        </p:nvSpPr>
        <p:spPr/>
        <p:txBody>
          <a:bodyPr/>
          <a:lstStyle/>
          <a:p>
            <a:fld id="{1EBD1989-80A6-4526-B6CA-3DFDBBCC42D0}" type="slidenum">
              <a:rPr lang="en-US" smtClean="0"/>
              <a:t>52</a:t>
            </a:fld>
            <a:endParaRPr lang="en-US"/>
          </a:p>
        </p:txBody>
      </p:sp>
    </p:spTree>
    <p:extLst>
      <p:ext uri="{BB962C8B-B14F-4D97-AF65-F5344CB8AC3E}">
        <p14:creationId xmlns:p14="http://schemas.microsoft.com/office/powerpoint/2010/main" val="305346510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000000"/>
                </a:solidFill>
                <a:effectLst/>
                <a:latin typeface="Times New Roman" panose="02020603050405020304" pitchFamily="18" charset="0"/>
              </a:rPr>
              <a:t>Most race and ethnicity data on newborns has been the birthing patient’s race and ethnicity. Does your team collect parent / caregivers reported race and ethnicity of their NEWBORN?</a:t>
            </a:r>
          </a:p>
          <a:p>
            <a:pPr algn="l"/>
            <a:r>
              <a:rPr lang="en-US" b="0" i="0">
                <a:solidFill>
                  <a:srgbClr val="000000"/>
                </a:solidFill>
                <a:effectLst/>
                <a:latin typeface="Times New Roman" panose="02020603050405020304" pitchFamily="18" charset="0"/>
              </a:rPr>
              <a:t>o Yes</a:t>
            </a:r>
          </a:p>
          <a:p>
            <a:pPr algn="l"/>
            <a:r>
              <a:rPr lang="en-US" b="0" i="0">
                <a:solidFill>
                  <a:srgbClr val="000000"/>
                </a:solidFill>
                <a:effectLst/>
                <a:latin typeface="Times New Roman" panose="02020603050405020304" pitchFamily="18" charset="0"/>
              </a:rPr>
              <a:t>o No</a:t>
            </a:r>
          </a:p>
          <a:p>
            <a:pPr algn="l"/>
            <a:r>
              <a:rPr lang="en-US" b="1" i="0">
                <a:solidFill>
                  <a:srgbClr val="000000"/>
                </a:solidFill>
                <a:effectLst/>
                <a:latin typeface="Times New Roman"/>
                <a:cs typeface="Times New Roman"/>
              </a:rPr>
              <a:t>· If yes, what is your process to collect parent-reported newborn race and ethnicity data?</a:t>
            </a:r>
          </a:p>
          <a:p>
            <a:pPr algn="l"/>
            <a:endParaRPr lang="en-US" b="0" i="0">
              <a:solidFill>
                <a:srgbClr val="000000"/>
              </a:solidFill>
              <a:effectLst/>
              <a:latin typeface="Times New Roman" panose="02020603050405020304" pitchFamily="18" charset="0"/>
            </a:endParaRPr>
          </a:p>
          <a:p>
            <a:pPr algn="l"/>
            <a:r>
              <a:rPr lang="en-US" b="0" i="0">
                <a:solidFill>
                  <a:srgbClr val="000000"/>
                </a:solidFill>
                <a:effectLst/>
                <a:latin typeface="Times New Roman" panose="02020603050405020304" pitchFamily="18" charset="0"/>
              </a:rPr>
              <a:t>Do you currently review and share neonatal health quality data stratified by race and ethnicity and insurance status?</a:t>
            </a:r>
          </a:p>
          <a:p>
            <a:pPr algn="l"/>
            <a:r>
              <a:rPr lang="en-US" b="0" i="0">
                <a:solidFill>
                  <a:srgbClr val="000000"/>
                </a:solidFill>
                <a:effectLst/>
                <a:latin typeface="Times New Roman" panose="02020603050405020304" pitchFamily="18" charset="0"/>
              </a:rPr>
              <a:t>o If yes, describe your process</a:t>
            </a:r>
          </a:p>
          <a:p>
            <a:endParaRPr lang="en-US"/>
          </a:p>
        </p:txBody>
      </p:sp>
      <p:sp>
        <p:nvSpPr>
          <p:cNvPr id="4" name="Slide Number Placeholder 3"/>
          <p:cNvSpPr>
            <a:spLocks noGrp="1"/>
          </p:cNvSpPr>
          <p:nvPr>
            <p:ph type="sldNum" sz="quarter" idx="5"/>
          </p:nvPr>
        </p:nvSpPr>
        <p:spPr/>
        <p:txBody>
          <a:bodyPr/>
          <a:lstStyle/>
          <a:p>
            <a:fld id="{1EBD1989-80A6-4526-B6CA-3DFDBBCC42D0}" type="slidenum">
              <a:rPr lang="en-US" smtClean="0"/>
              <a:t>53</a:t>
            </a:fld>
            <a:endParaRPr lang="en-US"/>
          </a:p>
        </p:txBody>
      </p:sp>
    </p:spTree>
    <p:extLst>
      <p:ext uri="{BB962C8B-B14F-4D97-AF65-F5344CB8AC3E}">
        <p14:creationId xmlns:p14="http://schemas.microsoft.com/office/powerpoint/2010/main" val="30908487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000000"/>
                </a:solidFill>
                <a:effectLst/>
                <a:latin typeface="Times New Roman" panose="02020603050405020304" pitchFamily="18" charset="0"/>
              </a:rPr>
              <a:t>Most race and ethnicity data on newborns has been the birthing patient’s race and ethnicity. Does your team collect parent / caregivers reported race and ethnicity of their NEWBORN?</a:t>
            </a:r>
          </a:p>
          <a:p>
            <a:pPr algn="l"/>
            <a:r>
              <a:rPr lang="en-US" b="0" i="0">
                <a:solidFill>
                  <a:srgbClr val="000000"/>
                </a:solidFill>
                <a:effectLst/>
                <a:latin typeface="Times New Roman" panose="02020603050405020304" pitchFamily="18" charset="0"/>
              </a:rPr>
              <a:t>o Yes</a:t>
            </a:r>
          </a:p>
          <a:p>
            <a:pPr algn="l"/>
            <a:r>
              <a:rPr lang="en-US" b="0" i="0">
                <a:solidFill>
                  <a:srgbClr val="000000"/>
                </a:solidFill>
                <a:effectLst/>
                <a:latin typeface="Times New Roman" panose="02020603050405020304" pitchFamily="18" charset="0"/>
              </a:rPr>
              <a:t>o No</a:t>
            </a:r>
          </a:p>
          <a:p>
            <a:pPr algn="l"/>
            <a:r>
              <a:rPr lang="en-US" b="1" i="0">
                <a:solidFill>
                  <a:srgbClr val="000000"/>
                </a:solidFill>
                <a:effectLst/>
                <a:latin typeface="Times New Roman"/>
                <a:cs typeface="Times New Roman"/>
              </a:rPr>
              <a:t>· If yes, what is your process to collect parent-reported newborn race and ethnicity data?</a:t>
            </a:r>
          </a:p>
          <a:p>
            <a:pPr algn="l"/>
            <a:endParaRPr lang="en-US" b="0" i="0">
              <a:solidFill>
                <a:srgbClr val="000000"/>
              </a:solidFill>
              <a:effectLst/>
              <a:latin typeface="Times New Roman" panose="02020603050405020304" pitchFamily="18" charset="0"/>
            </a:endParaRPr>
          </a:p>
          <a:p>
            <a:pPr algn="l"/>
            <a:r>
              <a:rPr lang="en-US" b="0" i="0">
                <a:solidFill>
                  <a:srgbClr val="000000"/>
                </a:solidFill>
                <a:effectLst/>
                <a:latin typeface="Times New Roman" panose="02020603050405020304" pitchFamily="18" charset="0"/>
              </a:rPr>
              <a:t>Do you currently review and share neonatal health quality data stratified by race and ethnicity and insurance status?</a:t>
            </a:r>
          </a:p>
          <a:p>
            <a:pPr algn="l"/>
            <a:r>
              <a:rPr lang="en-US" b="0" i="0">
                <a:solidFill>
                  <a:srgbClr val="000000"/>
                </a:solidFill>
                <a:effectLst/>
                <a:latin typeface="Times New Roman" panose="02020603050405020304" pitchFamily="18" charset="0"/>
              </a:rPr>
              <a:t>o If yes, describe your process</a:t>
            </a:r>
          </a:p>
          <a:p>
            <a:endParaRPr lang="en-US"/>
          </a:p>
        </p:txBody>
      </p:sp>
      <p:sp>
        <p:nvSpPr>
          <p:cNvPr id="4" name="Slide Number Placeholder 3"/>
          <p:cNvSpPr>
            <a:spLocks noGrp="1"/>
          </p:cNvSpPr>
          <p:nvPr>
            <p:ph type="sldNum" sz="quarter" idx="5"/>
          </p:nvPr>
        </p:nvSpPr>
        <p:spPr/>
        <p:txBody>
          <a:bodyPr/>
          <a:lstStyle/>
          <a:p>
            <a:fld id="{1EBD1989-80A6-4526-B6CA-3DFDBBCC42D0}" type="slidenum">
              <a:rPr lang="en-US" smtClean="0"/>
              <a:t>54</a:t>
            </a:fld>
            <a:endParaRPr lang="en-US"/>
          </a:p>
        </p:txBody>
      </p:sp>
    </p:spTree>
    <p:extLst>
      <p:ext uri="{BB962C8B-B14F-4D97-AF65-F5344CB8AC3E}">
        <p14:creationId xmlns:p14="http://schemas.microsoft.com/office/powerpoint/2010/main" val="18221833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10"/>
          </p:nvPr>
        </p:nvSpPr>
        <p:spPr/>
        <p:txBody>
          <a:bodyPr/>
          <a:lstStyle/>
          <a:p>
            <a:pPr defTabSz="931774">
              <a:defRPr/>
            </a:pPr>
            <a:fld id="{B1A400F9-CF10-4F94-84BB-F76AD0810D3E}" type="slidenum">
              <a:rPr lang="en-US">
                <a:solidFill>
                  <a:prstClr val="black"/>
                </a:solidFill>
                <a:latin typeface="Calibri" panose="020F0502020204030204"/>
              </a:rPr>
              <a:pPr defTabSz="931774">
                <a:defRPr/>
              </a:pPr>
              <a:t>9</a:t>
            </a:fld>
            <a:endParaRPr lang="en-US">
              <a:solidFill>
                <a:prstClr val="black"/>
              </a:solidFill>
              <a:latin typeface="Calibri" panose="020F0502020204030204"/>
            </a:endParaRPr>
          </a:p>
        </p:txBody>
      </p:sp>
    </p:spTree>
    <p:extLst>
      <p:ext uri="{BB962C8B-B14F-4D97-AF65-F5344CB8AC3E}">
        <p14:creationId xmlns:p14="http://schemas.microsoft.com/office/powerpoint/2010/main" val="28481454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000000"/>
                </a:solidFill>
                <a:effectLst/>
                <a:latin typeface="Times New Roman" panose="02020603050405020304" pitchFamily="18" charset="0"/>
              </a:rPr>
              <a:t>· Does your hospital regularly do safe sleep crib audits?</a:t>
            </a:r>
          </a:p>
          <a:p>
            <a:pPr algn="l"/>
            <a:r>
              <a:rPr lang="en-US" b="0" i="0">
                <a:solidFill>
                  <a:srgbClr val="000000"/>
                </a:solidFill>
                <a:effectLst/>
                <a:latin typeface="Times New Roman" panose="02020603050405020304" pitchFamily="18" charset="0"/>
              </a:rPr>
              <a:t>o Yes</a:t>
            </a:r>
          </a:p>
          <a:p>
            <a:pPr algn="l"/>
            <a:r>
              <a:rPr lang="en-US" b="0" i="0">
                <a:solidFill>
                  <a:srgbClr val="000000"/>
                </a:solidFill>
                <a:effectLst/>
                <a:latin typeface="Times New Roman" panose="02020603050405020304" pitchFamily="18" charset="0"/>
              </a:rPr>
              <a:t>o No</a:t>
            </a:r>
          </a:p>
          <a:p>
            <a:pPr algn="l"/>
            <a:endParaRPr lang="en-US" b="0" i="0">
              <a:solidFill>
                <a:srgbClr val="000000"/>
              </a:solidFill>
              <a:effectLst/>
              <a:latin typeface="Times New Roman" panose="02020603050405020304" pitchFamily="18" charset="0"/>
            </a:endParaRPr>
          </a:p>
          <a:p>
            <a:pPr algn="l"/>
            <a:r>
              <a:rPr lang="en-US" b="1" i="0">
                <a:solidFill>
                  <a:srgbClr val="000000"/>
                </a:solidFill>
                <a:effectLst/>
                <a:latin typeface="Times New Roman" panose="02020603050405020304" pitchFamily="18" charset="0"/>
              </a:rPr>
              <a:t>· If yes, in which unit(s) do audits happen? (select all that apply) </a:t>
            </a:r>
            <a:r>
              <a:rPr lang="en-US" b="1" i="0">
                <a:solidFill>
                  <a:srgbClr val="000000"/>
                </a:solidFill>
                <a:effectLst/>
                <a:latin typeface="Times New Roman" panose="02020603050405020304" pitchFamily="18" charset="0"/>
                <a:sym typeface="Wingdings" pitchFamily="2" charset="2"/>
              </a:rPr>
              <a:t> can’t find this question</a:t>
            </a:r>
            <a:endParaRPr lang="en-US" b="1" i="0">
              <a:solidFill>
                <a:srgbClr val="000000"/>
              </a:solidFill>
              <a:effectLst/>
              <a:latin typeface="Times New Roman" panose="02020603050405020304" pitchFamily="18" charset="0"/>
            </a:endParaRPr>
          </a:p>
          <a:p>
            <a:pPr algn="l"/>
            <a:r>
              <a:rPr lang="en-US" b="0" i="0">
                <a:solidFill>
                  <a:srgbClr val="000000"/>
                </a:solidFill>
                <a:effectLst/>
                <a:latin typeface="Times New Roman" panose="02020603050405020304" pitchFamily="18" charset="0"/>
              </a:rPr>
              <a:t>o NICU</a:t>
            </a:r>
          </a:p>
          <a:p>
            <a:pPr algn="l"/>
            <a:r>
              <a:rPr lang="en-US" b="0" i="0">
                <a:solidFill>
                  <a:srgbClr val="000000"/>
                </a:solidFill>
                <a:effectLst/>
                <a:latin typeface="Times New Roman" panose="02020603050405020304" pitchFamily="18" charset="0"/>
              </a:rPr>
              <a:t>o Special Care Nursery</a:t>
            </a:r>
          </a:p>
          <a:p>
            <a:pPr algn="l"/>
            <a:r>
              <a:rPr lang="en-US" b="0" i="0">
                <a:solidFill>
                  <a:srgbClr val="000000"/>
                </a:solidFill>
                <a:effectLst/>
                <a:latin typeface="Times New Roman" panose="02020603050405020304" pitchFamily="18" charset="0"/>
              </a:rPr>
              <a:t>o Birthing parent’s room</a:t>
            </a:r>
          </a:p>
          <a:p>
            <a:pPr algn="l"/>
            <a:endParaRPr lang="en-US" b="0" i="0">
              <a:solidFill>
                <a:srgbClr val="000000"/>
              </a:solidFill>
              <a:effectLst/>
              <a:latin typeface="Times New Roman" panose="02020603050405020304" pitchFamily="18" charset="0"/>
            </a:endParaRPr>
          </a:p>
          <a:p>
            <a:pPr algn="l"/>
            <a:r>
              <a:rPr lang="en-US" b="0" i="0">
                <a:solidFill>
                  <a:srgbClr val="000000"/>
                </a:solidFill>
                <a:effectLst/>
                <a:latin typeface="Times New Roman" panose="02020603050405020304" pitchFamily="18" charset="0"/>
              </a:rPr>
              <a:t>What electronic medical record do you currently use?  --- We don’t’ need a slide on this, but can you tell us the numbers and percent.</a:t>
            </a:r>
          </a:p>
          <a:p>
            <a:pPr algn="l"/>
            <a:r>
              <a:rPr lang="en-US" b="0" i="0">
                <a:solidFill>
                  <a:srgbClr val="000000"/>
                </a:solidFill>
                <a:effectLst/>
                <a:latin typeface="Times New Roman" panose="02020603050405020304" pitchFamily="18" charset="0"/>
              </a:rPr>
              <a:t>o Epic</a:t>
            </a:r>
          </a:p>
          <a:p>
            <a:pPr algn="l"/>
            <a:r>
              <a:rPr lang="en-US" b="0" i="0">
                <a:solidFill>
                  <a:srgbClr val="000000"/>
                </a:solidFill>
                <a:effectLst/>
                <a:latin typeface="Times New Roman" panose="02020603050405020304" pitchFamily="18" charset="0"/>
              </a:rPr>
              <a:t>o Cerner</a:t>
            </a:r>
          </a:p>
          <a:p>
            <a:pPr algn="l"/>
            <a:r>
              <a:rPr lang="en-US" b="0" i="0">
                <a:solidFill>
                  <a:srgbClr val="000000"/>
                </a:solidFill>
                <a:effectLst/>
                <a:latin typeface="Times New Roman" panose="02020603050405020304" pitchFamily="18" charset="0"/>
              </a:rPr>
              <a:t>o Meditech</a:t>
            </a:r>
          </a:p>
          <a:p>
            <a:pPr algn="l"/>
            <a:r>
              <a:rPr lang="en-US" b="0" i="0">
                <a:solidFill>
                  <a:srgbClr val="000000"/>
                </a:solidFill>
                <a:effectLst/>
                <a:latin typeface="Times New Roman" panose="02020603050405020304" pitchFamily="18" charset="0"/>
              </a:rPr>
              <a:t>o Other:</a:t>
            </a:r>
          </a:p>
          <a:p>
            <a:pPr algn="l"/>
            <a:endParaRPr lang="en-US" b="0" i="0">
              <a:solidFill>
                <a:srgbClr val="000000"/>
              </a:solidFill>
              <a:effectLst/>
              <a:latin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1EBD1989-80A6-4526-B6CA-3DFDBBCC42D0}" type="slidenum">
              <a:rPr lang="en-US" smtClean="0"/>
              <a:t>55</a:t>
            </a:fld>
            <a:endParaRPr lang="en-US"/>
          </a:p>
        </p:txBody>
      </p:sp>
    </p:spTree>
    <p:extLst>
      <p:ext uri="{BB962C8B-B14F-4D97-AF65-F5344CB8AC3E}">
        <p14:creationId xmlns:p14="http://schemas.microsoft.com/office/powerpoint/2010/main" val="392564478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70"/>
        <p:cNvGrpSpPr/>
        <p:nvPr/>
      </p:nvGrpSpPr>
      <p:grpSpPr>
        <a:xfrm>
          <a:off x="0" y="0"/>
          <a:ext cx="0" cy="0"/>
          <a:chOff x="0" y="0"/>
          <a:chExt cx="0" cy="0"/>
        </a:xfrm>
      </p:grpSpPr>
      <p:sp>
        <p:nvSpPr>
          <p:cNvPr id="2171" name="Google Shape;2171;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72" name="Google Shape;2172;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173" name="Google Shape;2173;p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56</a:t>
            </a:fld>
            <a:endParaRPr/>
          </a:p>
        </p:txBody>
      </p:sp>
    </p:spTree>
    <p:extLst>
      <p:ext uri="{BB962C8B-B14F-4D97-AF65-F5344CB8AC3E}">
        <p14:creationId xmlns:p14="http://schemas.microsoft.com/office/powerpoint/2010/main" val="269479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LANA</a:t>
            </a:r>
          </a:p>
        </p:txBody>
      </p:sp>
      <p:sp>
        <p:nvSpPr>
          <p:cNvPr id="4" name="Slide Number Placeholder 3"/>
          <p:cNvSpPr>
            <a:spLocks noGrp="1"/>
          </p:cNvSpPr>
          <p:nvPr>
            <p:ph type="sldNum" sz="quarter" idx="5"/>
          </p:nvPr>
        </p:nvSpPr>
        <p:spPr/>
        <p:txBody>
          <a:bodyPr/>
          <a:lstStyle/>
          <a:p>
            <a:fld id="{1EBD1989-80A6-4526-B6CA-3DFDBBCC42D0}" type="slidenum">
              <a:rPr lang="en-US"/>
              <a:t>57</a:t>
            </a:fld>
            <a:endParaRPr lang="en-US"/>
          </a:p>
        </p:txBody>
      </p:sp>
    </p:spTree>
    <p:extLst>
      <p:ext uri="{BB962C8B-B14F-4D97-AF65-F5344CB8AC3E}">
        <p14:creationId xmlns:p14="http://schemas.microsoft.com/office/powerpoint/2010/main" val="4675998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58</a:t>
            </a:fld>
            <a:endParaRPr lang="en-US"/>
          </a:p>
        </p:txBody>
      </p:sp>
    </p:spTree>
    <p:extLst>
      <p:ext uri="{BB962C8B-B14F-4D97-AF65-F5344CB8AC3E}">
        <p14:creationId xmlns:p14="http://schemas.microsoft.com/office/powerpoint/2010/main" val="185516198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59</a:t>
            </a:fld>
            <a:endParaRPr lang="en-US"/>
          </a:p>
        </p:txBody>
      </p:sp>
    </p:spTree>
    <p:extLst>
      <p:ext uri="{BB962C8B-B14F-4D97-AF65-F5344CB8AC3E}">
        <p14:creationId xmlns:p14="http://schemas.microsoft.com/office/powerpoint/2010/main" val="248474822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60</a:t>
            </a:fld>
            <a:endParaRPr lang="en-US"/>
          </a:p>
        </p:txBody>
      </p:sp>
    </p:spTree>
    <p:extLst>
      <p:ext uri="{BB962C8B-B14F-4D97-AF65-F5344CB8AC3E}">
        <p14:creationId xmlns:p14="http://schemas.microsoft.com/office/powerpoint/2010/main" val="155885798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icture of calendar</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BD1989-80A6-4526-B6CA-3DFDBBCC42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760860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Add animation for all tools to appear at once</a:t>
            </a:r>
          </a:p>
        </p:txBody>
      </p:sp>
      <p:sp>
        <p:nvSpPr>
          <p:cNvPr id="4" name="Slide Number Placeholder 3"/>
          <p:cNvSpPr>
            <a:spLocks noGrp="1"/>
          </p:cNvSpPr>
          <p:nvPr>
            <p:ph type="sldNum" sz="quarter" idx="5"/>
          </p:nvPr>
        </p:nvSpPr>
        <p:spPr/>
        <p:txBody>
          <a:bodyPr/>
          <a:lstStyle/>
          <a:p>
            <a:fld id="{1EBD1989-80A6-4526-B6CA-3DFDBBCC42D0}" type="slidenum">
              <a:rPr lang="en-US"/>
              <a:t>75</a:t>
            </a:fld>
            <a:endParaRPr lang="en-US"/>
          </a:p>
        </p:txBody>
      </p:sp>
    </p:spTree>
    <p:extLst>
      <p:ext uri="{BB962C8B-B14F-4D97-AF65-F5344CB8AC3E}">
        <p14:creationId xmlns:p14="http://schemas.microsoft.com/office/powerpoint/2010/main" val="24596374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78</a:t>
            </a:fld>
            <a:endParaRPr lang="en-US"/>
          </a:p>
        </p:txBody>
      </p:sp>
    </p:spTree>
    <p:extLst>
      <p:ext uri="{BB962C8B-B14F-4D97-AF65-F5344CB8AC3E}">
        <p14:creationId xmlns:p14="http://schemas.microsoft.com/office/powerpoint/2010/main" val="260236586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LANA</a:t>
            </a:r>
          </a:p>
        </p:txBody>
      </p:sp>
      <p:sp>
        <p:nvSpPr>
          <p:cNvPr id="4" name="Slide Number Placeholder 3"/>
          <p:cNvSpPr>
            <a:spLocks noGrp="1"/>
          </p:cNvSpPr>
          <p:nvPr>
            <p:ph type="sldNum" sz="quarter" idx="5"/>
          </p:nvPr>
        </p:nvSpPr>
        <p:spPr/>
        <p:txBody>
          <a:bodyPr/>
          <a:lstStyle/>
          <a:p>
            <a:fld id="{1EBD1989-80A6-4526-B6CA-3DFDBBCC42D0}" type="slidenum">
              <a:rPr lang="en-US"/>
              <a:t>80</a:t>
            </a:fld>
            <a:endParaRPr lang="en-US"/>
          </a:p>
        </p:txBody>
      </p:sp>
    </p:spTree>
    <p:extLst>
      <p:ext uri="{BB962C8B-B14F-4D97-AF65-F5344CB8AC3E}">
        <p14:creationId xmlns:p14="http://schemas.microsoft.com/office/powerpoint/2010/main" val="7372027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68"/>
        <p:cNvGrpSpPr/>
        <p:nvPr/>
      </p:nvGrpSpPr>
      <p:grpSpPr>
        <a:xfrm>
          <a:off x="0" y="0"/>
          <a:ext cx="0" cy="0"/>
          <a:chOff x="0" y="0"/>
          <a:chExt cx="0" cy="0"/>
        </a:xfrm>
      </p:grpSpPr>
      <p:sp>
        <p:nvSpPr>
          <p:cNvPr id="3869" name="Google Shape;3869;p1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endParaRPr lang="en-US" dirty="0">
              <a:ea typeface="Calibri"/>
              <a:cs typeface="Calibri"/>
            </a:endParaRPr>
          </a:p>
          <a:p>
            <a:r>
              <a:rPr lang="en-US" dirty="0"/>
              <a:t>Stakeholders</a:t>
            </a:r>
          </a:p>
          <a:p>
            <a:r>
              <a:rPr lang="en-US" dirty="0"/>
              <a:t>ILPQC Leadership Committee</a:t>
            </a:r>
            <a:endParaRPr lang="en-US">
              <a:cs typeface="Calibri"/>
            </a:endParaRPr>
          </a:p>
          <a:p>
            <a:r>
              <a:rPr lang="en-US" dirty="0"/>
              <a:t>Advisors: Regional Perinatal System, Patient and Families, Legislators, MMRC</a:t>
            </a:r>
            <a:endParaRPr lang="en-US">
              <a:cs typeface="Calibri"/>
            </a:endParaRPr>
          </a:p>
          <a:p>
            <a:r>
              <a:rPr lang="en-US" dirty="0"/>
              <a:t>OB and Neonatal Advisory workgroups connecting with ILPQC Central</a:t>
            </a:r>
            <a:endParaRPr lang="en-US">
              <a:cs typeface="Calibri"/>
            </a:endParaRPr>
          </a:p>
          <a:p>
            <a:r>
              <a:rPr lang="en-US" dirty="0"/>
              <a:t>OB and Neonatal Community Advisory Boards</a:t>
            </a:r>
            <a:endParaRPr lang="en-US">
              <a:cs typeface="Calibri"/>
            </a:endParaRPr>
          </a:p>
          <a:p>
            <a:r>
              <a:rPr lang="en-US" dirty="0"/>
              <a:t>OB and Neo Hospital Teams </a:t>
            </a:r>
            <a:endParaRPr lang="en-US" dirty="0">
              <a:cs typeface="Calibri"/>
            </a:endParaRPr>
          </a:p>
        </p:txBody>
      </p:sp>
      <p:sp>
        <p:nvSpPr>
          <p:cNvPr id="3870" name="Google Shape;3870;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LANA</a:t>
            </a:r>
          </a:p>
        </p:txBody>
      </p:sp>
      <p:sp>
        <p:nvSpPr>
          <p:cNvPr id="4" name="Slide Number Placeholder 3"/>
          <p:cNvSpPr>
            <a:spLocks noGrp="1"/>
          </p:cNvSpPr>
          <p:nvPr>
            <p:ph type="sldNum" sz="quarter" idx="5"/>
          </p:nvPr>
        </p:nvSpPr>
        <p:spPr/>
        <p:txBody>
          <a:bodyPr/>
          <a:lstStyle/>
          <a:p>
            <a:fld id="{D0B1C258-122C-4775-B207-3DE2D949F414}" type="slidenum">
              <a:rPr lang="en-US" smtClean="0"/>
              <a:t>11</a:t>
            </a:fld>
            <a:endParaRPr lang="en-US"/>
          </a:p>
        </p:txBody>
      </p:sp>
    </p:spTree>
    <p:extLst>
      <p:ext uri="{BB962C8B-B14F-4D97-AF65-F5344CB8AC3E}">
        <p14:creationId xmlns:p14="http://schemas.microsoft.com/office/powerpoint/2010/main" val="5617117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cs typeface="Calibri"/>
            </a:endParaRPr>
          </a:p>
          <a:p>
            <a:endParaRPr lang="en-US"/>
          </a:p>
          <a:p>
            <a:endParaRPr lang="en-US"/>
          </a:p>
          <a:p>
            <a:endParaRPr lang="en-US"/>
          </a:p>
          <a:p>
            <a:r>
              <a:rPr lang="en-US"/>
              <a:t>ILPQC pillars and IHI QI Science </a:t>
            </a:r>
            <a:endParaRPr lang="en-US">
              <a:cs typeface="Calibri" panose="020F0502020204030204"/>
            </a:endParaRPr>
          </a:p>
          <a:p>
            <a:pPr defTabSz="984978">
              <a:defRPr/>
            </a:pPr>
            <a:r>
              <a:rPr lang="en-US"/>
              <a:t>Evidence-based QI </a:t>
            </a:r>
            <a:endParaRPr lang="en-US">
              <a:cs typeface="Calibri"/>
            </a:endParaRPr>
          </a:p>
          <a:p>
            <a:pPr defTabSz="984978">
              <a:defRPr/>
            </a:pPr>
            <a:r>
              <a:rPr lang="en-US"/>
              <a:t>PQCs</a:t>
            </a:r>
            <a:endParaRPr lang="en-US">
              <a:cs typeface="Calibri"/>
            </a:endParaRPr>
          </a:p>
          <a:p>
            <a:pPr defTabSz="984978">
              <a:defRPr/>
            </a:pPr>
            <a:r>
              <a:rPr lang="en-US"/>
              <a:t>Model of Improvement on slide</a:t>
            </a:r>
            <a:endParaRPr lang="en-US">
              <a:cs typeface="Calibri"/>
            </a:endParaRPr>
          </a:p>
          <a:p>
            <a:endParaRPr lang="en-US"/>
          </a:p>
        </p:txBody>
      </p:sp>
      <p:sp>
        <p:nvSpPr>
          <p:cNvPr id="4" name="Slide Number Placeholder 3"/>
          <p:cNvSpPr>
            <a:spLocks noGrp="1"/>
          </p:cNvSpPr>
          <p:nvPr>
            <p:ph type="sldNum" sz="quarter" idx="10"/>
          </p:nvPr>
        </p:nvSpPr>
        <p:spPr/>
        <p:txBody>
          <a:bodyPr/>
          <a:lstStyle/>
          <a:p>
            <a:fld id="{DF0BAE01-1909-42FA-8A9A-F40C71256137}" type="slidenum">
              <a:rPr lang="en-US" smtClean="0"/>
              <a:t>12</a:t>
            </a:fld>
            <a:endParaRPr lang="en-US"/>
          </a:p>
        </p:txBody>
      </p:sp>
    </p:spTree>
    <p:extLst>
      <p:ext uri="{BB962C8B-B14F-4D97-AF65-F5344CB8AC3E}">
        <p14:creationId xmlns:p14="http://schemas.microsoft.com/office/powerpoint/2010/main" val="16963505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LANA</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D2D14-F0AA-2844-871F-19DB90E803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80192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CAN THE IN 2018 BE FIXED AND THE SUPERSCRIP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1C258-122C-4775-B207-3DE2D949F4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0019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0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0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0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2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4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4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4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5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5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5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5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0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06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0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6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6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6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7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7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7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7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7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7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0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8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8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8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8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8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9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9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9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9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9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9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9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9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0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0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0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0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0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0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0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0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1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11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1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1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1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1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12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12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12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12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12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1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2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12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12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3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13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13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13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13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3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13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13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13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13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14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14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14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14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4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4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4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114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14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14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5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15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15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15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15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1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6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6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7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7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7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7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7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7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7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7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7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8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26.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118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0.jpe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oleObject" Target="../embeddings/oleObject19.bin"/><Relationship Id="rId5" Type="http://schemas.openxmlformats.org/officeDocument/2006/relationships/image" Target="../media/image47.emf"/><Relationship Id="rId4" Type="http://schemas.openxmlformats.org/officeDocument/2006/relationships/oleObject" Target="../embeddings/oleObject18.bin"/></Relationships>
</file>

<file path=ppt/slideLayouts/_rels/slideLayout118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18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8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19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9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0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20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2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2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0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4.xml"/><Relationship Id="rId1" Type="http://schemas.openxmlformats.org/officeDocument/2006/relationships/tags" Target="../tags/tag29.xml"/></Relationships>
</file>

<file path=ppt/slideLayouts/_rels/slideLayout120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2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2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2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21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4.xml"/><Relationship Id="rId1" Type="http://schemas.openxmlformats.org/officeDocument/2006/relationships/tags" Target="../tags/tag30.xml"/></Relationships>
</file>

<file path=ppt/slideLayouts/_rels/slideLayout12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2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2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2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2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2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2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24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2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25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25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2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2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25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2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2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5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5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2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6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6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6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6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6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6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7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7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7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8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8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8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8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8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9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9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9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3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30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30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30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30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30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30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30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3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3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3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3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3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3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3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3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3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3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3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3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3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3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3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3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3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3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3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3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34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4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4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5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5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5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5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5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5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3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3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3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36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36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36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3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6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36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36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36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36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36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7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7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7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7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7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7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7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7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7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38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8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8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8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8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8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8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9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3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39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39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39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39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0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40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40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40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40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40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40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40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40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40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1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41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41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41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41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41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41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41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41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41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2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42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42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42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42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42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42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142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42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42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3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43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43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43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43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43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43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43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43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4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4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44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44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44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44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44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44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3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144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0.jpe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oleObject" Target="../embeddings/oleObject22.bin"/><Relationship Id="rId5" Type="http://schemas.openxmlformats.org/officeDocument/2006/relationships/image" Target="../media/image47.emf"/><Relationship Id="rId4" Type="http://schemas.openxmlformats.org/officeDocument/2006/relationships/oleObject" Target="../embeddings/oleObject21.bin"/></Relationships>
</file>

<file path=ppt/slideLayouts/_rels/slideLayout144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44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5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145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145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145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145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145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145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145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4.xml"/></Relationships>
</file>

<file path=ppt/slideLayouts/_rels/slideLayout145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4.xml"/></Relationships>
</file>

<file path=ppt/slideLayouts/_rels/slideLayout145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4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46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146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146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34.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146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9.jpe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25.bin"/><Relationship Id="rId5" Type="http://schemas.openxmlformats.org/officeDocument/2006/relationships/image" Target="../media/image47.emf"/><Relationship Id="rId4" Type="http://schemas.openxmlformats.org/officeDocument/2006/relationships/oleObject" Target="../embeddings/oleObject24.bin"/></Relationships>
</file>

<file path=ppt/slideLayouts/_rels/slideLayout14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4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7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47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47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48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2.jpe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oleObject" Target="../embeddings/oleObject27.bin"/><Relationship Id="rId5" Type="http://schemas.openxmlformats.org/officeDocument/2006/relationships/image" Target="../media/image47.emf"/><Relationship Id="rId4" Type="http://schemas.openxmlformats.org/officeDocument/2006/relationships/oleObject" Target="../embeddings/oleObject26.bin"/></Relationships>
</file>

<file path=ppt/slideLayouts/_rels/slideLayout14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4.xml"/><Relationship Id="rId1" Type="http://schemas.openxmlformats.org/officeDocument/2006/relationships/tags" Target="../tags/tag39.xml"/></Relationships>
</file>

<file path=ppt/slideLayouts/_rels/slideLayout14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4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4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8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48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4.xml"/></Relationships>
</file>

<file path=ppt/slideLayouts/_rels/slideLayout148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49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4.xml"/></Relationships>
</file>

<file path=ppt/slideLayouts/_rels/slideLayout14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49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4.xml"/><Relationship Id="rId1" Type="http://schemas.openxmlformats.org/officeDocument/2006/relationships/tags" Target="../tags/tag40.xml"/></Relationships>
</file>

<file path=ppt/slideLayouts/_rels/slideLayout149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4.xml"/><Relationship Id="rId1" Type="http://schemas.openxmlformats.org/officeDocument/2006/relationships/tags" Target="../tags/tag41.xml"/></Relationships>
</file>

<file path=ppt/slideLayouts/_rels/slideLayout14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4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4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4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49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9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50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5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5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5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50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0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0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0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0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51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5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51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4.xml"/></Relationships>
</file>

<file path=ppt/slideLayouts/_rels/slideLayout1514.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4.xml"/></Relationships>
</file>

<file path=ppt/slideLayouts/_rels/slideLayout151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151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151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4.xml"/></Relationships>
</file>

<file path=ppt/slideLayouts/_rels/slideLayout1518.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4.xml"/></Relationships>
</file>

<file path=ppt/slideLayouts/_rels/slideLayout151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0.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2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1.png"/><Relationship Id="rId1" Type="http://schemas.openxmlformats.org/officeDocument/2006/relationships/slideMaster" Target="../slideMasters/slideMaster4.xml"/></Relationships>
</file>

<file path=ppt/slideLayouts/_rels/slideLayout152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1522.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4.xml"/></Relationships>
</file>

<file path=ppt/slideLayouts/_rels/slideLayout152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152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4.xml"/></Relationships>
</file>

<file path=ppt/slideLayouts/_rels/slideLayout152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4.xml"/></Relationships>
</file>

<file path=ppt/slideLayouts/_rels/slideLayout152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5.png"/><Relationship Id="rId1" Type="http://schemas.openxmlformats.org/officeDocument/2006/relationships/slideMaster" Target="../slideMasters/slideMaster4.xml"/></Relationships>
</file>

<file path=ppt/slideLayouts/_rels/slideLayout15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93.png"/><Relationship Id="rId1" Type="http://schemas.openxmlformats.org/officeDocument/2006/relationships/slideMaster" Target="../slideMasters/slideMaster4.xml"/></Relationships>
</file>

<file path=ppt/slideLayouts/_rels/slideLayout152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15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42.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3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9.jpe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30.bin"/><Relationship Id="rId5" Type="http://schemas.openxmlformats.org/officeDocument/2006/relationships/image" Target="../media/image47.emf"/><Relationship Id="rId4" Type="http://schemas.openxmlformats.org/officeDocument/2006/relationships/oleObject" Target="../embeddings/oleObject29.bin"/></Relationships>
</file>

<file path=ppt/slideLayouts/_rels/slideLayout153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53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4.xml"/></Relationships>
</file>

<file path=ppt/slideLayouts/_rels/slideLayout153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4.xml"/></Relationships>
</file>

<file path=ppt/slideLayouts/_rels/slideLayout153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4.xml"/></Relationships>
</file>

<file path=ppt/slideLayouts/_rels/slideLayout153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53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53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53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2.jpe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oleObject" Target="../embeddings/oleObject32.bin"/><Relationship Id="rId5" Type="http://schemas.openxmlformats.org/officeDocument/2006/relationships/image" Target="../media/image47.emf"/><Relationship Id="rId4" Type="http://schemas.openxmlformats.org/officeDocument/2006/relationships/oleObject" Target="../embeddings/oleObject31.bin"/></Relationships>
</file>

<file path=ppt/slideLayouts/_rels/slideLayout15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5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5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5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5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5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5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5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5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5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5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5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5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5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5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55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4.xml"/><Relationship Id="rId1" Type="http://schemas.openxmlformats.org/officeDocument/2006/relationships/tags" Target="../tags/tag47.xml"/></Relationships>
</file>

<file path=ppt/slideLayouts/_rels/slideLayout155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4.xml"/><Relationship Id="rId1" Type="http://schemas.openxmlformats.org/officeDocument/2006/relationships/tags" Target="../tags/tag48.xml"/></Relationships>
</file>

<file path=ppt/slideLayouts/_rels/slideLayout15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5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5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56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6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6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5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5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5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56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7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7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7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7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7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0.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3.bin"/><Relationship Id="rId5" Type="http://schemas.openxmlformats.org/officeDocument/2006/relationships/image" Target="../media/image47.emf"/><Relationship Id="rId4" Type="http://schemas.openxmlformats.org/officeDocument/2006/relationships/oleObject" Target="../embeddings/oleObject2.bin"/></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2.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5.bin"/><Relationship Id="rId5" Type="http://schemas.openxmlformats.org/officeDocument/2006/relationships/image" Target="../media/image47.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56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0.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8.bin"/><Relationship Id="rId5" Type="http://schemas.openxmlformats.org/officeDocument/2006/relationships/image" Target="../media/image47.emf"/><Relationship Id="rId4" Type="http://schemas.openxmlformats.org/officeDocument/2006/relationships/oleObject" Target="../embeddings/oleObject7.bin"/></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57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xml"/></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1.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xml"/></Relationships>
</file>

<file path=ppt/slideLayouts/_rels/slideLayout58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58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9.jpe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47.emf"/><Relationship Id="rId4" Type="http://schemas.openxmlformats.org/officeDocument/2006/relationships/oleObject" Target="../embeddings/oleObject10.bin"/></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60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2.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47.emf"/><Relationship Id="rId4" Type="http://schemas.openxmlformats.org/officeDocument/2006/relationships/oleObject" Target="../embeddings/oleObject12.bin"/></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0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1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1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1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61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6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6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3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4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xml"/></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xml"/></Relationships>
</file>

<file path=ppt/slideLayouts/_rels/slideLayout64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0.png"/><Relationship Id="rId1" Type="http://schemas.openxmlformats.org/officeDocument/2006/relationships/slideMaster" Target="../slideMasters/slideMaster1.xml"/></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1.png"/><Relationship Id="rId1" Type="http://schemas.openxmlformats.org/officeDocument/2006/relationships/slideMaster" Target="../slideMasters/slideMaster1.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xml"/></Relationships>
</file>

<file path=ppt/slideLayouts/_rels/slideLayout64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xml"/></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5.png"/><Relationship Id="rId1" Type="http://schemas.openxmlformats.org/officeDocument/2006/relationships/slideMaster" Target="../slideMasters/slideMaster1.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xml"/></Relationships>
</file>

<file path=ppt/slideLayouts/_rels/slideLayout65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65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9.jpe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16.bin"/><Relationship Id="rId5" Type="http://schemas.openxmlformats.org/officeDocument/2006/relationships/image" Target="../media/image47.emf"/><Relationship Id="rId4" Type="http://schemas.openxmlformats.org/officeDocument/2006/relationships/oleObject" Target="../embeddings/oleObject15.bin"/></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6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6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9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0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0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0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0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1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2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3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3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3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4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4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7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7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7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7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7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7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8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8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8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8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8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8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8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8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9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0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0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0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0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0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80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80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1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3.xml"/></Relationships>
</file>

<file path=ppt/slideLayouts/_rels/slideLayout81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3.xml"/></Relationships>
</file>

<file path=ppt/slideLayouts/_rels/slideLayout81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8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8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8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8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817.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3.xml"/></Relationships>
</file>

<file path=ppt/slideLayouts/_rels/slideLayout818.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3.xml"/></Relationships>
</file>

<file path=ppt/slideLayouts/_rels/slideLayout819.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8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82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3.xml"/></Relationships>
</file>

<file path=ppt/slideLayouts/_rels/slideLayout82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2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2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82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2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3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3.xml"/></Relationships>
</file>

<file path=ppt/slideLayouts/_rels/slideLayout831.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3.xml"/></Relationships>
</file>

<file path=ppt/slideLayouts/_rels/slideLayout832.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3.xml"/></Relationships>
</file>

<file path=ppt/slideLayouts/_rels/slideLayout833.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3.xml"/></Relationships>
</file>

<file path=ppt/slideLayouts/_rels/slideLayout83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83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83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83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83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3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4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4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4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4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4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4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4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4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4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4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5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5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5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5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5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5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5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5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5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6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6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Master" Target="../slideMasters/slideMaster3.xml"/></Relationships>
</file>

<file path=ppt/slideLayouts/_rels/slideLayout862.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3.xml"/></Relationships>
</file>

<file path=ppt/slideLayouts/_rels/slideLayout86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3.xml"/></Relationships>
</file>

<file path=ppt/slideLayouts/_rels/slideLayout86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Master" Target="../slideMasters/slideMaster3.xml"/></Relationships>
</file>

<file path=ppt/slideLayouts/_rels/slideLayout86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3.xml"/></Relationships>
</file>

<file path=ppt/slideLayouts/_rels/slideLayout8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6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6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8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7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7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7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7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7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7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8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8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9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8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8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9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0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0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0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9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9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2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4.xml"/><Relationship Id="rId1" Type="http://schemas.openxmlformats.org/officeDocument/2006/relationships/tags" Target="../tags/tag25.xml"/></Relationships>
</file>

<file path=ppt/slideLayouts/_rels/slideLayout9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2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3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9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3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3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3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9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6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6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7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7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7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7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8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8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8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8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8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8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8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8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8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99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9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9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9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9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9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9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9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9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915780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3245373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36486368"/>
      </p:ext>
    </p:extLst>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27210310"/>
      </p:ext>
    </p:extLst>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66975113"/>
      </p:ext>
    </p:extLst>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58682359"/>
      </p:ext>
    </p:extLst>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7415566"/>
      </p:ext>
    </p:extLst>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66470723"/>
      </p:ext>
    </p:extLst>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2395301"/>
      </p:ext>
    </p:extLst>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99206419"/>
      </p:ext>
    </p:extLst>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70097652"/>
      </p:ext>
    </p:extLst>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58444886"/>
      </p:ext>
    </p:extLst>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2684803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670705443"/>
      </p:ext>
    </p:extLst>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05568149"/>
      </p:ext>
    </p:extLst>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5585598"/>
      </p:ext>
    </p:extLst>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99665034"/>
      </p:ext>
    </p:extLst>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3195049"/>
      </p:ext>
    </p:extLst>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11787088"/>
      </p:ext>
    </p:extLst>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02036254"/>
      </p:ext>
    </p:extLst>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62415355"/>
      </p:ext>
    </p:extLst>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2908332"/>
      </p:ext>
    </p:extLst>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5054812"/>
      </p:ext>
    </p:extLst>
  </p:cSld>
  <p:clrMapOvr>
    <a:masterClrMapping/>
  </p:clrMapOvr>
</p:sldLayout>
</file>

<file path=ppt/slideLayouts/slideLayout1019.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703632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89779657"/>
      </p:ext>
    </p:extLst>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38921045"/>
      </p:ext>
    </p:extLst>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65178759"/>
      </p:ext>
    </p:extLst>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546599403"/>
      </p:ext>
    </p:extLst>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51301500"/>
      </p:ext>
    </p:extLst>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19150891"/>
      </p:ext>
    </p:extLst>
  </p:cSld>
  <p:clrMapOvr>
    <a:masterClrMapping/>
  </p:clrMapOvr>
</p:sldLayout>
</file>

<file path=ppt/slideLayouts/slideLayout1025.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84835129"/>
      </p:ext>
    </p:extLst>
  </p:cSld>
  <p:clrMapOvr>
    <a:masterClrMapping/>
  </p:clrMapOvr>
</p:sldLayout>
</file>

<file path=ppt/slideLayouts/slideLayout1026.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32293898"/>
      </p:ext>
    </p:extLst>
  </p:cSld>
  <p:clrMapOvr>
    <a:masterClrMapping/>
  </p:clrMapOvr>
</p:sldLayout>
</file>

<file path=ppt/slideLayouts/slideLayout1027.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39747466"/>
      </p:ext>
    </p:extLst>
  </p:cSld>
  <p:clrMapOvr>
    <a:masterClrMapping/>
  </p:clrMapOvr>
</p:sldLayout>
</file>

<file path=ppt/slideLayouts/slideLayout1028.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8200804"/>
      </p:ext>
    </p:extLst>
  </p:cSld>
  <p:clrMapOvr>
    <a:masterClrMapping/>
  </p:clrMapOvr>
</p:sldLayout>
</file>

<file path=ppt/slideLayouts/slideLayout1029.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2362351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91043975"/>
      </p:ext>
    </p:extLst>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128485"/>
      </p:ext>
    </p:extLst>
  </p:cSld>
  <p:clrMapOvr>
    <a:masterClrMapping/>
  </p:clrMapOvr>
</p:sldLayout>
</file>

<file path=ppt/slideLayouts/slideLayout1031.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98530024"/>
      </p:ext>
    </p:extLst>
  </p:cSld>
  <p:clrMapOvr>
    <a:masterClrMapping/>
  </p:clrMapOvr>
</p:sldLayout>
</file>

<file path=ppt/slideLayouts/slideLayout1032.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38544240"/>
      </p:ext>
    </p:extLst>
  </p:cSld>
  <p:clrMapOvr>
    <a:masterClrMapping/>
  </p:clrMapOvr>
</p:sldLayout>
</file>

<file path=ppt/slideLayouts/slideLayout1033.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246275176"/>
      </p:ext>
    </p:extLst>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307614"/>
      </p:ext>
    </p:extLst>
  </p:cSld>
  <p:clrMapOvr>
    <a:masterClrMapping/>
  </p:clrMapOvr>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49589832"/>
      </p:ext>
    </p:extLst>
  </p:cSld>
  <p:clrMapOvr>
    <a:masterClrMapping/>
  </p:clrMapOvr>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030811103"/>
      </p:ext>
    </p:extLst>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395178971"/>
      </p:ext>
    </p:extLst>
  </p:cSld>
  <p:clrMapOvr>
    <a:masterClrMapping/>
  </p:clrMapOvr>
</p:sldLayout>
</file>

<file path=ppt/slideLayouts/slideLayout1038.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89173807"/>
      </p:ext>
    </p:extLst>
  </p:cSld>
  <p:clrMapOvr>
    <a:masterClrMapping/>
  </p:clrMapOvr>
</p:sldLayout>
</file>

<file path=ppt/slideLayouts/slideLayout1039.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0509016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7739039"/>
      </p:ext>
    </p:extLst>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22548309"/>
      </p:ext>
    </p:extLst>
  </p:cSld>
  <p:clrMapOvr>
    <a:masterClrMapping/>
  </p:clrMapOvr>
</p:sldLayout>
</file>

<file path=ppt/slideLayouts/slideLayout1041.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37548695"/>
      </p:ext>
    </p:extLst>
  </p:cSld>
  <p:clrMapOvr>
    <a:masterClrMapping/>
  </p:clrMapOvr>
</p:sldLayout>
</file>

<file path=ppt/slideLayouts/slideLayout1042.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8235244"/>
      </p:ext>
    </p:extLst>
  </p:cSld>
  <p:clrMapOvr>
    <a:masterClrMapping/>
  </p:clrMapOvr>
</p:sldLayout>
</file>

<file path=ppt/slideLayouts/slideLayout1043.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92038667"/>
      </p:ext>
    </p:extLst>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88696414"/>
      </p:ext>
    </p:extLst>
  </p:cSld>
  <p:clrMapOvr>
    <a:masterClrMapping/>
  </p:clrMapOvr>
</p:sldLayout>
</file>

<file path=ppt/slideLayouts/slideLayout1045.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29066697"/>
      </p:ext>
    </p:extLst>
  </p:cSld>
  <p:clrMapOvr>
    <a:masterClrMapping/>
  </p:clrMapOvr>
</p:sldLayout>
</file>

<file path=ppt/slideLayouts/slideLayout1046.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79691680"/>
      </p:ext>
    </p:extLst>
  </p:cSld>
  <p:clrMapOvr>
    <a:masterClrMapping/>
  </p:clrMapOvr>
</p:sldLayout>
</file>

<file path=ppt/slideLayouts/slideLayout1047.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8401454"/>
      </p:ext>
    </p:extLst>
  </p:cSld>
  <p:clrMapOvr>
    <a:masterClrMapping/>
  </p:clrMapOvr>
</p:sldLayout>
</file>

<file path=ppt/slideLayouts/slideLayout1048.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212944215"/>
      </p:ext>
    </p:extLst>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type="obj" preserve="1">
  <p:cSld name="2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9923102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8020355"/>
      </p:ext>
    </p:extLst>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61332576"/>
      </p:ext>
    </p:extLst>
  </p:cSld>
  <p:clrMapOvr>
    <a:masterClrMapping/>
  </p:clrMapOvr>
</p:sldLayout>
</file>

<file path=ppt/slideLayouts/slideLayout1051.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36252886"/>
      </p:ext>
    </p:extLst>
  </p:cSld>
  <p:clrMapOvr>
    <a:masterClrMapping/>
  </p:clrMapOvr>
</p:sldLayout>
</file>

<file path=ppt/slideLayouts/slideLayout1052.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45532872"/>
      </p:ext>
    </p:extLst>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46065673"/>
      </p:ext>
    </p:extLst>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14040041"/>
      </p:ext>
    </p:extLst>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467659655"/>
      </p:ext>
    </p:extLst>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22760784"/>
      </p:ext>
    </p:extLst>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19303961"/>
      </p:ext>
    </p:extLst>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36625101"/>
      </p:ext>
    </p:extLst>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65085740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2208845"/>
      </p:ext>
    </p:extLst>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29615767"/>
      </p:ext>
    </p:extLst>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40495944"/>
      </p:ext>
    </p:extLst>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03452641"/>
      </p:ext>
    </p:extLst>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160270328"/>
      </p:ext>
    </p:extLst>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98292891"/>
      </p:ext>
    </p:extLst>
  </p:cSld>
  <p:clrMapOvr>
    <a:masterClrMapping/>
  </p:clrMapOvr>
</p:sldLayout>
</file>

<file path=ppt/slideLayouts/slideLayout1065.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0207035"/>
      </p:ext>
    </p:extLst>
  </p:cSld>
  <p:clrMapOvr>
    <a:masterClrMapping/>
  </p:clrMapOvr>
</p:sldLayout>
</file>

<file path=ppt/slideLayouts/slideLayout1066.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72937325"/>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296125234"/>
      </p:ext>
    </p:extLst>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24554630"/>
      </p:ext>
    </p:extLst>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3133376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9070028"/>
      </p:ext>
    </p:extLst>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87511005"/>
      </p:ext>
    </p:extLst>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59635689"/>
      </p:ext>
    </p:extLst>
  </p:cSld>
  <p:clrMapOvr>
    <a:masterClrMapping/>
  </p:clrMapOvr>
</p:sldLayout>
</file>

<file path=ppt/slideLayouts/slideLayout1072.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523948"/>
      </p:ext>
    </p:extLst>
  </p:cSld>
  <p:clrMapOvr>
    <a:masterClrMapping/>
  </p:clrMapOvr>
</p:sldLayout>
</file>

<file path=ppt/slideLayouts/slideLayout1073.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40583744"/>
      </p:ext>
    </p:extLst>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0280334"/>
      </p:ext>
    </p:extLst>
  </p:cSld>
  <p:clrMapOvr>
    <a:masterClrMapping/>
  </p:clrMapOvr>
</p:sldLayout>
</file>

<file path=ppt/slideLayouts/slideLayout1075.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44048356"/>
      </p:ext>
    </p:extLst>
  </p:cSld>
  <p:clrMapOvr>
    <a:masterClrMapping/>
  </p:clrMapOvr>
</p:sldLayout>
</file>

<file path=ppt/slideLayouts/slideLayout1076.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43936602"/>
      </p:ext>
    </p:extLst>
  </p:cSld>
  <p:clrMapOvr>
    <a:masterClrMapping/>
  </p:clrMapOvr>
</p:sldLayout>
</file>

<file path=ppt/slideLayouts/slideLayout1077.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96639294"/>
      </p:ext>
    </p:extLst>
  </p:cSld>
  <p:clrMapOvr>
    <a:masterClrMapping/>
  </p:clrMapOvr>
</p:sldLayout>
</file>

<file path=ppt/slideLayouts/slideLayout1078.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611618"/>
      </p:ext>
    </p:extLst>
  </p:cSld>
  <p:clrMapOvr>
    <a:masterClrMapping/>
  </p:clrMapOvr>
</p:sldLayout>
</file>

<file path=ppt/slideLayouts/slideLayout1079.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6743791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89649185"/>
      </p:ext>
    </p:extLst>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54787861"/>
      </p:ext>
    </p:extLst>
  </p:cSld>
  <p:clrMapOvr>
    <a:masterClrMapping/>
  </p:clrMapOvr>
</p:sldLayout>
</file>

<file path=ppt/slideLayouts/slideLayout1081.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40969845"/>
      </p:ext>
    </p:extLst>
  </p:cSld>
  <p:clrMapOvr>
    <a:masterClrMapping/>
  </p:clrMapOvr>
</p:sldLayout>
</file>

<file path=ppt/slideLayouts/slideLayout1082.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151075625"/>
      </p:ext>
    </p:extLst>
  </p:cSld>
  <p:clrMapOvr>
    <a:masterClrMapping/>
  </p:clrMapOvr>
</p:sldLayout>
</file>

<file path=ppt/slideLayouts/slideLayout1083.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49196001"/>
      </p:ext>
    </p:extLst>
  </p:cSld>
  <p:clrMapOvr>
    <a:masterClrMapping/>
  </p:clrMapOvr>
</p:sldLayout>
</file>

<file path=ppt/slideLayouts/slideLayout1084.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7404334"/>
      </p:ext>
    </p:extLst>
  </p:cSld>
  <p:clrMapOvr>
    <a:masterClrMapping/>
  </p:clrMapOvr>
</p:sldLayout>
</file>

<file path=ppt/slideLayouts/slideLayout1085.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93248757"/>
      </p:ext>
    </p:extLst>
  </p:cSld>
  <p:clrMapOvr>
    <a:masterClrMapping/>
  </p:clrMapOvr>
</p:sldLayout>
</file>

<file path=ppt/slideLayouts/slideLayout1086.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749642"/>
      </p:ext>
    </p:extLst>
  </p:cSld>
  <p:clrMapOvr>
    <a:masterClrMapping/>
  </p:clrMapOvr>
</p:sldLayout>
</file>

<file path=ppt/slideLayouts/slideLayout1087.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1392445"/>
      </p:ext>
    </p:extLst>
  </p:cSld>
  <p:clrMapOvr>
    <a:masterClrMapping/>
  </p:clrMapOvr>
</p:sldLayout>
</file>

<file path=ppt/slideLayouts/slideLayout1088.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52740165"/>
      </p:ext>
    </p:extLst>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76108638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48626561"/>
      </p:ext>
    </p:extLst>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13081792"/>
      </p:ext>
    </p:extLst>
  </p:cSld>
  <p:clrMapOvr>
    <a:masterClrMapping/>
  </p:clrMapOvr>
</p:sldLayout>
</file>

<file path=ppt/slideLayouts/slideLayout1091.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51989815"/>
      </p:ext>
    </p:extLst>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47235685"/>
      </p:ext>
    </p:extLst>
  </p:cSld>
  <p:clrMapOvr>
    <a:masterClrMapping/>
  </p:clrMapOvr>
</p:sldLayout>
</file>

<file path=ppt/slideLayouts/slideLayout1093.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95512657"/>
      </p:ext>
    </p:extLst>
  </p:cSld>
  <p:clrMapOvr>
    <a:masterClrMapping/>
  </p:clrMapOvr>
</p:sldLayout>
</file>

<file path=ppt/slideLayouts/slideLayout1094.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82432632"/>
      </p:ext>
    </p:extLst>
  </p:cSld>
  <p:clrMapOvr>
    <a:masterClrMapping/>
  </p:clrMapOvr>
</p:sldLayout>
</file>

<file path=ppt/slideLayouts/slideLayout1095.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62512517"/>
      </p:ext>
    </p:extLst>
  </p:cSld>
  <p:clrMapOvr>
    <a:masterClrMapping/>
  </p:clrMapOvr>
</p:sldLayout>
</file>

<file path=ppt/slideLayouts/slideLayout1096.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47381523"/>
      </p:ext>
    </p:extLst>
  </p:cSld>
  <p:clrMapOvr>
    <a:masterClrMapping/>
  </p:clrMapOvr>
</p:sldLayout>
</file>

<file path=ppt/slideLayouts/slideLayout1097.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57761632"/>
      </p:ext>
    </p:extLst>
  </p:cSld>
  <p:clrMapOvr>
    <a:masterClrMapping/>
  </p:clrMapOvr>
</p:sldLayout>
</file>

<file path=ppt/slideLayouts/slideLayout1098.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6500110"/>
      </p:ext>
    </p:extLst>
  </p:cSld>
  <p:clrMapOvr>
    <a:masterClrMapping/>
  </p:clrMapOvr>
</p:sldLayout>
</file>

<file path=ppt/slideLayouts/slideLayout1099.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758985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6148742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76538025"/>
      </p:ext>
    </p:extLst>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80692851"/>
      </p:ext>
    </p:extLst>
  </p:cSld>
  <p:clrMapOvr>
    <a:masterClrMapping/>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36059570"/>
      </p:ext>
    </p:extLst>
  </p:cSld>
  <p:clrMapOvr>
    <a:masterClrMapping/>
  </p:clrMapOvr>
</p:sldLayout>
</file>

<file path=ppt/slideLayouts/slideLayout1102.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581359274"/>
      </p:ext>
    </p:extLst>
  </p:cSld>
  <p:clrMapOvr>
    <a:masterClrMapping/>
  </p:clrMapOvr>
</p:sldLayout>
</file>

<file path=ppt/slideLayouts/slideLayout1103.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3434421"/>
      </p:ext>
    </p:extLst>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07839871"/>
      </p:ext>
    </p:extLst>
  </p:cSld>
  <p:clrMapOvr>
    <a:masterClrMapping/>
  </p:clrMapOvr>
</p:sldLayout>
</file>

<file path=ppt/slideLayouts/slideLayout1105.xml><?xml version="1.0" encoding="utf-8"?>
<p:sldLayout xmlns:a="http://schemas.openxmlformats.org/drawingml/2006/main" xmlns:r="http://schemas.openxmlformats.org/officeDocument/2006/relationships" xmlns:p="http://schemas.openxmlformats.org/presentationml/2006/main" type="obj" preserve="1">
  <p:cSld name="1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73118718"/>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5398886"/>
      </p:ext>
    </p:extLst>
  </p:cSld>
  <p:clrMapOvr>
    <a:masterClrMapping/>
  </p:clrMapOvr>
</p:sldLayout>
</file>

<file path=ppt/slideLayouts/slideLayout1107.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01061897"/>
      </p:ext>
    </p:extLst>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4580569"/>
      </p:ext>
    </p:extLst>
  </p:cSld>
  <p:clrMapOvr>
    <a:masterClrMapping/>
  </p:clrMapOvr>
</p:sldLayout>
</file>

<file path=ppt/slideLayouts/slideLayout1109.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5241908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24847678"/>
      </p:ext>
    </p:extLst>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547024164"/>
      </p:ext>
    </p:extLst>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88880880"/>
      </p:ext>
    </p:extLst>
  </p:cSld>
  <p:clrMapOvr>
    <a:masterClrMapping/>
  </p:clrMapOvr>
</p:sldLayout>
</file>

<file path=ppt/slideLayouts/slideLayout1112.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71395252"/>
      </p:ext>
    </p:extLst>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11700673"/>
      </p:ext>
    </p:extLst>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643727484"/>
      </p:ext>
    </p:extLst>
  </p:cSld>
  <p:clrMapOvr>
    <a:masterClrMapping/>
  </p:clrMapOvr>
</p:sldLayout>
</file>

<file path=ppt/slideLayouts/slideLayout111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918411429"/>
      </p:ext>
    </p:extLst>
  </p:cSld>
  <p:clrMapOvr>
    <a:masterClrMapping/>
  </p:clrMapOvr>
</p:sldLayout>
</file>

<file path=ppt/slideLayouts/slideLayout1116.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317001085"/>
      </p:ext>
    </p:extLst>
  </p:cSld>
  <p:clrMapOvr>
    <a:masterClrMapping/>
  </p:clrMapOvr>
</p:sldLayout>
</file>

<file path=ppt/slideLayouts/slideLayout111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04563164"/>
      </p:ext>
    </p:extLst>
  </p:cSld>
  <p:clrMapOvr>
    <a:masterClrMapping/>
  </p:clrMapOvr>
</p:sldLayout>
</file>

<file path=ppt/slideLayouts/slideLayout1118.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67491828"/>
      </p:ext>
    </p:extLst>
  </p:cSld>
  <p:clrMapOvr>
    <a:masterClrMapping/>
  </p:clrMapOvr>
</p:sldLayout>
</file>

<file path=ppt/slideLayouts/slideLayout111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2693028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83649414"/>
      </p:ext>
    </p:extLst>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2509494"/>
      </p:ext>
    </p:extLst>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99211572"/>
      </p:ext>
    </p:extLst>
  </p:cSld>
  <p:clrMapOvr>
    <a:masterClrMapping/>
  </p:clrMapOvr>
</p:sldLayout>
</file>

<file path=ppt/slideLayouts/slideLayout1122.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84501710"/>
      </p:ext>
    </p:extLst>
  </p:cSld>
  <p:clrMapOvr>
    <a:masterClrMapping/>
  </p:clrMapOvr>
</p:sldLayout>
</file>

<file path=ppt/slideLayouts/slideLayout1123.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52955111"/>
      </p:ext>
    </p:extLst>
  </p:cSld>
  <p:clrMapOvr>
    <a:masterClrMapping/>
  </p:clrMapOvr>
</p:sldLayout>
</file>

<file path=ppt/slideLayouts/slideLayout1124.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158347759"/>
      </p:ext>
    </p:extLst>
  </p:cSld>
  <p:clrMapOvr>
    <a:masterClrMapping/>
  </p:clrMapOvr>
</p:sldLayout>
</file>

<file path=ppt/slideLayouts/slideLayout1125.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850973894"/>
      </p:ext>
    </p:extLst>
  </p:cSld>
  <p:clrMapOvr>
    <a:masterClrMapping/>
  </p:clrMapOvr>
</p:sldLayout>
</file>

<file path=ppt/slideLayouts/slideLayout1126.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144367552"/>
      </p:ext>
    </p:extLst>
  </p:cSld>
  <p:clrMapOvr>
    <a:masterClrMapping/>
  </p:clrMapOvr>
</p:sldLayout>
</file>

<file path=ppt/slideLayouts/slideLayout1127.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47618820"/>
      </p:ext>
    </p:extLst>
  </p:cSld>
  <p:clrMapOvr>
    <a:masterClrMapping/>
  </p:clrMapOvr>
</p:sldLayout>
</file>

<file path=ppt/slideLayouts/slideLayout1128.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82160721"/>
      </p:ext>
    </p:extLst>
  </p:cSld>
  <p:clrMapOvr>
    <a:masterClrMapping/>
  </p:clrMapOvr>
</p:sldLayout>
</file>

<file path=ppt/slideLayouts/slideLayout1129.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1248996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34936126"/>
      </p:ext>
    </p:extLst>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208663933"/>
      </p:ext>
    </p:extLst>
  </p:cSld>
  <p:clrMapOvr>
    <a:masterClrMapping/>
  </p:clrMapOvr>
</p:sldLayout>
</file>

<file path=ppt/slideLayouts/slideLayout1131.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68038259"/>
      </p:ext>
    </p:extLst>
  </p:cSld>
  <p:clrMapOvr>
    <a:masterClrMapping/>
  </p:clrMapOvr>
</p:sldLayout>
</file>

<file path=ppt/slideLayouts/slideLayout1132.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48505181"/>
      </p:ext>
    </p:extLst>
  </p:cSld>
  <p:clrMapOvr>
    <a:masterClrMapping/>
  </p:clrMapOvr>
</p:sldLayout>
</file>

<file path=ppt/slideLayouts/slideLayout1133.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55199286"/>
      </p:ext>
    </p:extLst>
  </p:cSld>
  <p:clrMapOvr>
    <a:masterClrMapping/>
  </p:clrMapOvr>
</p:sldLayout>
</file>

<file path=ppt/slideLayouts/slideLayout1134.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803438688"/>
      </p:ext>
    </p:extLst>
  </p:cSld>
  <p:clrMapOvr>
    <a:masterClrMapping/>
  </p:clrMapOvr>
</p:sldLayout>
</file>

<file path=ppt/slideLayouts/slideLayout1135.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311119815"/>
      </p:ext>
    </p:extLst>
  </p:cSld>
  <p:clrMapOvr>
    <a:masterClrMapping/>
  </p:clrMapOvr>
</p:sldLayout>
</file>

<file path=ppt/slideLayouts/slideLayout1136.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19698325"/>
      </p:ext>
    </p:extLst>
  </p:cSld>
  <p:clrMapOvr>
    <a:masterClrMapping/>
  </p:clrMapOvr>
</p:sldLayout>
</file>

<file path=ppt/slideLayouts/slideLayout1137.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142455564"/>
      </p:ext>
    </p:extLst>
  </p:cSld>
  <p:clrMapOvr>
    <a:masterClrMapping/>
  </p:clrMapOvr>
</p:sldLayout>
</file>

<file path=ppt/slideLayouts/slideLayout1138.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76031727"/>
      </p:ext>
    </p:extLst>
  </p:cSld>
  <p:clrMapOvr>
    <a:masterClrMapping/>
  </p:clrMapOvr>
</p:sldLayout>
</file>

<file path=ppt/slideLayouts/slideLayout1139.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1572270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73437552"/>
      </p:ext>
    </p:extLst>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501078440"/>
      </p:ext>
    </p:extLst>
  </p:cSld>
  <p:clrMapOvr>
    <a:masterClrMapping/>
  </p:clrMapOvr>
</p:sldLayout>
</file>

<file path=ppt/slideLayouts/slideLayout1141.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68827643"/>
      </p:ext>
    </p:extLst>
  </p:cSld>
  <p:clrMapOvr>
    <a:masterClrMapping/>
  </p:clrMapOvr>
</p:sldLayout>
</file>

<file path=ppt/slideLayouts/slideLayout1142.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515985653"/>
      </p:ext>
    </p:extLst>
  </p:cSld>
  <p:clrMapOvr>
    <a:masterClrMapping/>
  </p:clrMapOvr>
</p:sldLayout>
</file>

<file path=ppt/slideLayouts/slideLayout1143.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23751779"/>
      </p:ext>
    </p:extLst>
  </p:cSld>
  <p:clrMapOvr>
    <a:masterClrMapping/>
  </p:clrMapOvr>
</p:sldLayout>
</file>

<file path=ppt/slideLayouts/slideLayout1144.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838504173"/>
      </p:ext>
    </p:extLst>
  </p:cSld>
  <p:clrMapOvr>
    <a:masterClrMapping/>
  </p:clrMapOvr>
</p:sldLayout>
</file>

<file path=ppt/slideLayouts/slideLayout1145.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35824853"/>
      </p:ext>
    </p:extLst>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751292139"/>
      </p:ext>
    </p:extLst>
  </p:cSld>
  <p:clrMapOvr>
    <a:masterClrMapping/>
  </p:clrMapOvr>
</p:sldLayout>
</file>

<file path=ppt/slideLayouts/slideLayout1147.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14267480"/>
      </p:ext>
    </p:extLst>
  </p:cSld>
  <p:clrMapOvr>
    <a:masterClrMapping/>
  </p:clrMapOvr>
</p:sldLayout>
</file>

<file path=ppt/slideLayouts/slideLayout1148.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9630189"/>
      </p:ext>
    </p:extLst>
  </p:cSld>
  <p:clrMapOvr>
    <a:masterClrMapping/>
  </p:clrMapOvr>
</p:sldLayout>
</file>

<file path=ppt/slideLayouts/slideLayout1149.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7451017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58328559"/>
      </p:ext>
    </p:extLst>
  </p:cSld>
  <p:clrMapOvr>
    <a:masterClrMapping/>
  </p:clrMapOvr>
</p:sldLayout>
</file>

<file path=ppt/slideLayouts/slideLayout1150.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93974506"/>
      </p:ext>
    </p:extLst>
  </p:cSld>
  <p:clrMapOvr>
    <a:masterClrMapping/>
  </p:clrMapOvr>
</p:sldLayout>
</file>

<file path=ppt/slideLayouts/slideLayout1151.xml><?xml version="1.0" encoding="utf-8"?>
<p:sldLayout xmlns:a="http://schemas.openxmlformats.org/drawingml/2006/main" xmlns:r="http://schemas.openxmlformats.org/officeDocument/2006/relationships" xmlns:p="http://schemas.openxmlformats.org/presentationml/2006/main">
  <p:cSld name="2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35212804"/>
      </p:ext>
    </p:extLst>
  </p:cSld>
  <p:clrMapOvr>
    <a:masterClrMapping/>
  </p:clrMapOvr>
</p:sldLayout>
</file>

<file path=ppt/slideLayouts/slideLayout1152.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02857452"/>
      </p:ext>
    </p:extLst>
  </p:cSld>
  <p:clrMapOvr>
    <a:masterClrMapping/>
  </p:clrMapOvr>
</p:sldLayout>
</file>

<file path=ppt/slideLayouts/slideLayout1153.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22736497"/>
      </p:ext>
    </p:extLst>
  </p:cSld>
  <p:clrMapOvr>
    <a:masterClrMapping/>
  </p:clrMapOvr>
</p:sldLayout>
</file>

<file path=ppt/slideLayouts/slideLayout1154.xml><?xml version="1.0" encoding="utf-8"?>
<p:sldLayout xmlns:a="http://schemas.openxmlformats.org/drawingml/2006/main" xmlns:r="http://schemas.openxmlformats.org/officeDocument/2006/relationships" xmlns:p="http://schemas.openxmlformats.org/presentationml/2006/main">
  <p:cSld name="2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55899102"/>
      </p:ext>
    </p:extLst>
  </p:cSld>
  <p:clrMapOvr>
    <a:masterClrMapping/>
  </p:clrMapOvr>
</p:sldLayout>
</file>

<file path=ppt/slideLayouts/slideLayout1155.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20462317"/>
      </p:ext>
    </p:extLst>
  </p:cSld>
  <p:clrMapOvr>
    <a:masterClrMapping/>
  </p:clrMapOvr>
</p:sldLayout>
</file>

<file path=ppt/slideLayouts/slideLayout1156.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58190356"/>
      </p:ext>
    </p:extLst>
  </p:cSld>
  <p:clrMapOvr>
    <a:masterClrMapping/>
  </p:clrMapOvr>
</p:sldLayout>
</file>

<file path=ppt/slideLayouts/slideLayout1157.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54571416"/>
      </p:ext>
    </p:extLst>
  </p:cSld>
  <p:clrMapOvr>
    <a:masterClrMapping/>
  </p:clrMapOvr>
</p:sldLayout>
</file>

<file path=ppt/slideLayouts/slideLayout1158.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76635898"/>
      </p:ext>
    </p:extLst>
  </p:cSld>
  <p:clrMapOvr>
    <a:masterClrMapping/>
  </p:clrMapOvr>
</p:sldLayout>
</file>

<file path=ppt/slideLayouts/slideLayout1159.xml><?xml version="1.0" encoding="utf-8"?>
<p:sldLayout xmlns:a="http://schemas.openxmlformats.org/drawingml/2006/main" xmlns:r="http://schemas.openxmlformats.org/officeDocument/2006/relationships" xmlns:p="http://schemas.openxmlformats.org/presentationml/2006/main" type="obj" preserve="1">
  <p:cSld name="3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4658522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9386569"/>
      </p:ext>
    </p:extLst>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7343377"/>
      </p:ext>
    </p:extLst>
  </p:cSld>
  <p:clrMapOvr>
    <a:masterClrMapping/>
  </p:clrMapOvr>
</p:sldLayout>
</file>

<file path=ppt/slideLayouts/slideLayout1161.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5878452"/>
      </p:ext>
    </p:extLst>
  </p:cSld>
  <p:clrMapOvr>
    <a:masterClrMapping/>
  </p:clrMapOvr>
</p:sldLayout>
</file>

<file path=ppt/slideLayouts/slideLayout1162.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6337092"/>
      </p:ext>
    </p:extLst>
  </p:cSld>
  <p:clrMapOvr>
    <a:masterClrMapping/>
  </p:clrMapOvr>
</p:sldLayout>
</file>

<file path=ppt/slideLayouts/slideLayout1163.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52334135"/>
      </p:ext>
    </p:extLst>
  </p:cSld>
  <p:clrMapOvr>
    <a:masterClrMapping/>
  </p:clrMapOvr>
</p:sldLayout>
</file>

<file path=ppt/slideLayouts/slideLayout1164.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37881236"/>
      </p:ext>
    </p:extLst>
  </p:cSld>
  <p:clrMapOvr>
    <a:masterClrMapping/>
  </p:clrMapOvr>
</p:sldLayout>
</file>

<file path=ppt/slideLayouts/slideLayout1165.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63616759"/>
      </p:ext>
    </p:extLst>
  </p:cSld>
  <p:clrMapOvr>
    <a:masterClrMapping/>
  </p:clrMapOvr>
</p:sldLayout>
</file>

<file path=ppt/slideLayouts/slideLayout1166.xml><?xml version="1.0" encoding="utf-8"?>
<p:sldLayout xmlns:a="http://schemas.openxmlformats.org/drawingml/2006/main" xmlns:r="http://schemas.openxmlformats.org/officeDocument/2006/relationships" xmlns:p="http://schemas.openxmlformats.org/presentationml/2006/main" type="obj" preserve="1">
  <p:cSld name="3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075704"/>
      </p:ext>
    </p:extLst>
  </p:cSld>
  <p:clrMapOvr>
    <a:masterClrMapping/>
  </p:clrMapOvr>
</p:sldLayout>
</file>

<file path=ppt/slideLayouts/slideLayout1167.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449957"/>
      </p:ext>
    </p:extLst>
  </p:cSld>
  <p:clrMapOvr>
    <a:masterClrMapping/>
  </p:clrMapOvr>
</p:sldLayout>
</file>

<file path=ppt/slideLayouts/slideLayout1168.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4772735"/>
      </p:ext>
    </p:extLst>
  </p:cSld>
  <p:clrMapOvr>
    <a:masterClrMapping/>
  </p:clrMapOvr>
</p:sldLayout>
</file>

<file path=ppt/slideLayouts/slideLayout1169.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662100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65731875"/>
      </p:ext>
    </p:extLst>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00432959"/>
      </p:ext>
    </p:extLst>
  </p:cSld>
  <p:clrMapOvr>
    <a:masterClrMapping/>
  </p:clrMapOvr>
</p:sldLayout>
</file>

<file path=ppt/slideLayouts/slideLayout1171.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79972125"/>
      </p:ext>
    </p:extLst>
  </p:cSld>
  <p:clrMapOvr>
    <a:masterClrMapping/>
  </p:clrMapOvr>
</p:sldLayout>
</file>

<file path=ppt/slideLayouts/slideLayout1172.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55945728"/>
      </p:ext>
    </p:extLst>
  </p:cSld>
  <p:clrMapOvr>
    <a:masterClrMapping/>
  </p:clrMapOvr>
</p:sldLayout>
</file>

<file path=ppt/slideLayouts/slideLayout1173.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34702205"/>
      </p:ext>
    </p:extLst>
  </p:cSld>
  <p:clrMapOvr>
    <a:masterClrMapping/>
  </p:clrMapOvr>
</p:sldLayout>
</file>

<file path=ppt/slideLayouts/slideLayout1174.xml><?xml version="1.0" encoding="utf-8"?>
<p:sldLayout xmlns:a="http://schemas.openxmlformats.org/drawingml/2006/main" xmlns:r="http://schemas.openxmlformats.org/officeDocument/2006/relationships" xmlns:p="http://schemas.openxmlformats.org/presentationml/2006/main" type="obj" preserve="1">
  <p:cSld name="3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4656722"/>
      </p:ext>
    </p:extLst>
  </p:cSld>
  <p:clrMapOvr>
    <a:masterClrMapping/>
  </p:clrMapOvr>
</p:sldLayout>
</file>

<file path=ppt/slideLayouts/slideLayout1175.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58893342"/>
      </p:ext>
    </p:extLst>
  </p:cSld>
  <p:clrMapOvr>
    <a:masterClrMapping/>
  </p:clrMapOvr>
</p:sldLayout>
</file>

<file path=ppt/slideLayouts/slideLayout1176.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9490538"/>
      </p:ext>
    </p:extLst>
  </p:cSld>
  <p:clrMapOvr>
    <a:masterClrMapping/>
  </p:clrMapOvr>
</p:sldLayout>
</file>

<file path=ppt/slideLayouts/slideLayout1177.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92954919"/>
      </p:ext>
    </p:extLst>
  </p:cSld>
  <p:clrMapOvr>
    <a:masterClrMapping/>
  </p:clrMapOvr>
</p:sldLayout>
</file>

<file path=ppt/slideLayouts/slideLayout1178.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05073760"/>
      </p:ext>
    </p:extLst>
  </p:cSld>
  <p:clrMapOvr>
    <a:masterClrMapping/>
  </p:clrMapOvr>
</p:sldLayout>
</file>

<file path=ppt/slideLayouts/slideLayout1179.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7382939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3182943"/>
      </p:ext>
    </p:extLst>
  </p:cSld>
  <p:clrMapOvr>
    <a:masterClrMapping/>
  </p:clrMapOvr>
</p:sldLayout>
</file>

<file path=ppt/slideLayouts/slideLayout1180.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611055085"/>
      </p:ext>
    </p:extLst>
  </p:cSld>
  <p:clrMapOvr>
    <a:masterClrMapping/>
  </p:clrMapOvr>
</p:sldLayout>
</file>

<file path=ppt/slideLayouts/slideLayout1181.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3053550"/>
      </p:ext>
    </p:extLst>
  </p:cSld>
  <p:clrMapOvr>
    <a:masterClrMapping/>
  </p:clrMapOvr>
</p:sldLayout>
</file>

<file path=ppt/slideLayouts/slideLayout1182.xml><?xml version="1.0" encoding="utf-8"?>
<p:sldLayout xmlns:a="http://schemas.openxmlformats.org/drawingml/2006/main" xmlns:r="http://schemas.openxmlformats.org/officeDocument/2006/relationships" xmlns:p="http://schemas.openxmlformats.org/presentationml/2006/main" matchingName="Title and Content">
  <p:cSld name="33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62371544"/>
      </p:ext>
    </p:extLst>
  </p:cSld>
  <p:clrMapOvr>
    <a:masterClrMapping/>
  </p:clrMapOvr>
</p:sldLayout>
</file>

<file path=ppt/slideLayouts/slideLayout1183.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659845480"/>
      </p:ext>
    </p:extLst>
  </p:cSld>
  <p:clrMapOvr>
    <a:masterClrMapping/>
  </p:clrMapOvr>
</p:sldLayout>
</file>

<file path=ppt/slideLayouts/slideLayout1184.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63160328"/>
      </p:ext>
    </p:extLst>
  </p:cSld>
  <p:clrMapOvr>
    <a:masterClrMapping/>
  </p:clrMapOvr>
</p:sldLayout>
</file>

<file path=ppt/slideLayouts/slideLayout1185.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32118961"/>
      </p:ext>
    </p:extLst>
  </p:cSld>
  <p:clrMapOvr>
    <a:masterClrMapping/>
  </p:clrMapOvr>
</p:sldLayout>
</file>

<file path=ppt/slideLayouts/slideLayout1186.xml><?xml version="1.0" encoding="utf-8"?>
<p:sldLayout xmlns:a="http://schemas.openxmlformats.org/drawingml/2006/main" xmlns:r="http://schemas.openxmlformats.org/officeDocument/2006/relationships" xmlns:p="http://schemas.openxmlformats.org/presentationml/2006/main" preserve="1" userDrawn="1">
  <p:cSld name="2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871570518"/>
      </p:ext>
    </p:extLst>
  </p:cSld>
  <p:clrMapOvr>
    <a:masterClrMapping/>
  </p:clrMapOvr>
</p:sldLayout>
</file>

<file path=ppt/slideLayouts/slideLayout1187.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83487925"/>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type="obj" preserve="1">
  <p:cSld name="3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6086679"/>
      </p:ext>
    </p:extLst>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3684789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39854147"/>
      </p:ext>
    </p:extLst>
  </p:cSld>
  <p:clrMapOvr>
    <a:masterClrMapping/>
  </p:clrMapOvr>
</p:sldLayout>
</file>

<file path=ppt/slideLayouts/slideLayout1190.xml><?xml version="1.0" encoding="utf-8"?>
<p:sldLayout xmlns:a="http://schemas.openxmlformats.org/drawingml/2006/main" xmlns:r="http://schemas.openxmlformats.org/officeDocument/2006/relationships" xmlns:p="http://schemas.openxmlformats.org/presentationml/2006/main" preserve="1" userDrawn="1">
  <p:cSld name="2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914182425"/>
      </p:ext>
    </p:extLst>
  </p:cSld>
  <p:clrMapOvr>
    <a:masterClrMapping/>
  </p:clrMapOvr>
</p:sldLayout>
</file>

<file path=ppt/slideLayouts/slideLayout1191.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05992093"/>
      </p:ext>
    </p:extLst>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560706365"/>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23413853"/>
      </p:ext>
    </p:extLst>
  </p:cSld>
  <p:clrMapOvr>
    <a:masterClrMapping/>
  </p:clrMapOvr>
</p:sldLayout>
</file>

<file path=ppt/slideLayouts/slideLayout1194.xml><?xml version="1.0" encoding="utf-8"?>
<p:sldLayout xmlns:a="http://schemas.openxmlformats.org/drawingml/2006/main" xmlns:r="http://schemas.openxmlformats.org/officeDocument/2006/relationships" xmlns:p="http://schemas.openxmlformats.org/presentationml/2006/main" preserve="1" userDrawn="1">
  <p:cSld name="3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530037952"/>
      </p:ext>
    </p:extLst>
  </p:cSld>
  <p:clrMapOvr>
    <a:masterClrMapping/>
  </p:clrMapOvr>
</p:sldLayout>
</file>

<file path=ppt/slideLayouts/slideLayout1195.xml><?xml version="1.0" encoding="utf-8"?>
<p:sldLayout xmlns:a="http://schemas.openxmlformats.org/drawingml/2006/main" xmlns:r="http://schemas.openxmlformats.org/officeDocument/2006/relationships" xmlns:p="http://schemas.openxmlformats.org/presentationml/2006/main" preserve="1" userDrawn="1">
  <p:cSld name="2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94162278"/>
      </p:ext>
    </p:extLst>
  </p:cSld>
  <p:clrMapOvr>
    <a:masterClrMapping/>
  </p:clrMapOvr>
</p:sldLayout>
</file>

<file path=ppt/slideLayouts/slideLayout1196.xml><?xml version="1.0" encoding="utf-8"?>
<p:sldLayout xmlns:a="http://schemas.openxmlformats.org/drawingml/2006/main" xmlns:r="http://schemas.openxmlformats.org/officeDocument/2006/relationships" xmlns:p="http://schemas.openxmlformats.org/presentationml/2006/main" preserve="1" userDrawn="1">
  <p:cSld name="2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086060377"/>
      </p:ext>
    </p:extLst>
  </p:cSld>
  <p:clrMapOvr>
    <a:masterClrMapping/>
  </p:clrMapOvr>
</p:sldLayout>
</file>

<file path=ppt/slideLayouts/slideLayout1197.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88396179"/>
      </p:ext>
    </p:extLst>
  </p:cSld>
  <p:clrMapOvr>
    <a:masterClrMapping/>
  </p:clrMapOvr>
</p:sldLayout>
</file>

<file path=ppt/slideLayouts/slideLayout1198.xml><?xml version="1.0" encoding="utf-8"?>
<p:sldLayout xmlns:a="http://schemas.openxmlformats.org/drawingml/2006/main" xmlns:r="http://schemas.openxmlformats.org/officeDocument/2006/relationships" xmlns:p="http://schemas.openxmlformats.org/presentationml/2006/main" type="obj" preserve="1">
  <p:cSld name="3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54522154"/>
      </p:ext>
    </p:extLst>
  </p:cSld>
  <p:clrMapOvr>
    <a:masterClrMapping/>
  </p:clrMapOvr>
</p:sldLayout>
</file>

<file path=ppt/slideLayouts/slideLayout1199.xml><?xml version="1.0" encoding="utf-8"?>
<p:sldLayout xmlns:a="http://schemas.openxmlformats.org/drawingml/2006/main" xmlns:r="http://schemas.openxmlformats.org/officeDocument/2006/relationships" xmlns:p="http://schemas.openxmlformats.org/presentationml/2006/main" type="twoObj" preserve="1">
  <p:cSld name="2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645742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4191405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19986855"/>
      </p:ext>
    </p:extLst>
  </p:cSld>
  <p:clrMapOvr>
    <a:masterClrMapping/>
  </p:clrMapOvr>
</p:sldLayout>
</file>

<file path=ppt/slideLayouts/slideLayout1200.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25904584"/>
      </p:ext>
    </p:extLst>
  </p:cSld>
  <p:clrMapOvr>
    <a:masterClrMapping/>
  </p:clrMapOvr>
</p:sldLayout>
</file>

<file path=ppt/slideLayouts/slideLayout1201.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2488966"/>
      </p:ext>
    </p:extLst>
  </p:cSld>
  <p:clrMapOvr>
    <a:masterClrMapping/>
  </p:clrMapOvr>
</p:sldLayout>
</file>

<file path=ppt/slideLayouts/slideLayout1202.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60154137"/>
      </p:ext>
    </p:extLst>
  </p:cSld>
  <p:clrMapOvr>
    <a:masterClrMapping/>
  </p:clrMapOvr>
</p:sldLayout>
</file>

<file path=ppt/slideLayouts/slideLayout1203.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37002741"/>
      </p:ext>
    </p:extLst>
  </p:cSld>
  <p:clrMapOvr>
    <a:masterClrMapping/>
  </p:clrMapOvr>
</p:sldLayout>
</file>

<file path=ppt/slideLayouts/slideLayout1204.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86820670"/>
      </p:ext>
    </p:extLst>
  </p:cSld>
  <p:clrMapOvr>
    <a:masterClrMapping/>
  </p:clrMapOvr>
</p:sldLayout>
</file>

<file path=ppt/slideLayouts/slideLayout1205.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811652623"/>
      </p:ext>
    </p:extLst>
  </p:cSld>
  <p:clrMapOvr>
    <a:masterClrMapping/>
  </p:clrMapOvr>
</p:sldLayout>
</file>

<file path=ppt/slideLayouts/slideLayout1206.xml><?xml version="1.0" encoding="utf-8"?>
<p:sldLayout xmlns:a="http://schemas.openxmlformats.org/drawingml/2006/main" xmlns:r="http://schemas.openxmlformats.org/officeDocument/2006/relationships" xmlns:p="http://schemas.openxmlformats.org/presentationml/2006/main" preserve="1" userDrawn="1">
  <p:cSld name="2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03562607"/>
      </p:ext>
    </p:extLst>
  </p:cSld>
  <p:clrMapOvr>
    <a:masterClrMapping/>
  </p:clrMapOvr>
</p:sldLayout>
</file>

<file path=ppt/slideLayouts/slideLayout1207.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496319435"/>
      </p:ext>
    </p:extLst>
  </p:cSld>
  <p:clrMapOvr>
    <a:masterClrMapping/>
  </p:clrMapOvr>
</p:sldLayout>
</file>

<file path=ppt/slideLayouts/slideLayout1208.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19493262"/>
      </p:ext>
    </p:extLst>
  </p:cSld>
  <p:clrMapOvr>
    <a:masterClrMapping/>
  </p:clrMapOvr>
</p:sldLayout>
</file>

<file path=ppt/slideLayouts/slideLayout1209.xml><?xml version="1.0" encoding="utf-8"?>
<p:sldLayout xmlns:a="http://schemas.openxmlformats.org/drawingml/2006/main" xmlns:r="http://schemas.openxmlformats.org/officeDocument/2006/relationships" xmlns:p="http://schemas.openxmlformats.org/presentationml/2006/main" type="obj" preserve="1">
  <p:cSld name="5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6425408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8186423"/>
      </p:ext>
    </p:extLst>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type="titleOnly" preserve="1">
  <p:cSld name="2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966948"/>
      </p:ext>
    </p:extLst>
  </p:cSld>
  <p:clrMapOvr>
    <a:masterClrMapping/>
  </p:clrMapOvr>
</p:sldLayout>
</file>

<file path=ppt/slideLayouts/slideLayout1211.xml><?xml version="1.0" encoding="utf-8"?>
<p:sldLayout xmlns:a="http://schemas.openxmlformats.org/drawingml/2006/main" xmlns:r="http://schemas.openxmlformats.org/officeDocument/2006/relationships" xmlns:p="http://schemas.openxmlformats.org/presentationml/2006/main" preserve="1" userDrawn="1">
  <p:cSld name="4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945708624"/>
      </p:ext>
    </p:extLst>
  </p:cSld>
  <p:clrMapOvr>
    <a:masterClrMapping/>
  </p:clrMapOvr>
</p:sldLayout>
</file>

<file path=ppt/slideLayouts/slideLayout1212.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978660310"/>
      </p:ext>
    </p:extLst>
  </p:cSld>
  <p:clrMapOvr>
    <a:masterClrMapping/>
  </p:clrMapOvr>
</p:sldLayout>
</file>

<file path=ppt/slideLayouts/slideLayout1213.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35006642"/>
      </p:ext>
    </p:extLst>
  </p:cSld>
  <p:clrMapOvr>
    <a:masterClrMapping/>
  </p:clrMapOvr>
</p:sldLayout>
</file>

<file path=ppt/slideLayouts/slideLayout1214.xml><?xml version="1.0" encoding="utf-8"?>
<p:sldLayout xmlns:a="http://schemas.openxmlformats.org/drawingml/2006/main" xmlns:r="http://schemas.openxmlformats.org/officeDocument/2006/relationships" xmlns:p="http://schemas.openxmlformats.org/presentationml/2006/main" preserve="1" userDrawn="1">
  <p:cSld name="2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08455168"/>
      </p:ext>
    </p:extLst>
  </p:cSld>
  <p:clrMapOvr>
    <a:masterClrMapping/>
  </p:clrMapOvr>
</p:sldLayout>
</file>

<file path=ppt/slideLayouts/slideLayout1215.xml><?xml version="1.0" encoding="utf-8"?>
<p:sldLayout xmlns:a="http://schemas.openxmlformats.org/drawingml/2006/main" xmlns:r="http://schemas.openxmlformats.org/officeDocument/2006/relationships" xmlns:p="http://schemas.openxmlformats.org/presentationml/2006/main" preserve="1" userDrawn="1">
  <p:cSld name="2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32099894"/>
      </p:ext>
    </p:extLst>
  </p:cSld>
  <p:clrMapOvr>
    <a:masterClrMapping/>
  </p:clrMapOvr>
</p:sldLayout>
</file>

<file path=ppt/slideLayouts/slideLayout1216.xml><?xml version="1.0" encoding="utf-8"?>
<p:sldLayout xmlns:a="http://schemas.openxmlformats.org/drawingml/2006/main" xmlns:r="http://schemas.openxmlformats.org/officeDocument/2006/relationships" xmlns:p="http://schemas.openxmlformats.org/presentationml/2006/main" type="obj" preserve="1">
  <p:cSld name="5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78432246"/>
      </p:ext>
    </p:extLst>
  </p:cSld>
  <p:clrMapOvr>
    <a:masterClrMapping/>
  </p:clrMapOvr>
</p:sldLayout>
</file>

<file path=ppt/slideLayouts/slideLayout1217.xml><?xml version="1.0" encoding="utf-8"?>
<p:sldLayout xmlns:a="http://schemas.openxmlformats.org/drawingml/2006/main" xmlns:r="http://schemas.openxmlformats.org/officeDocument/2006/relationships" xmlns:p="http://schemas.openxmlformats.org/presentationml/2006/main" type="obj" preserve="1">
  <p:cSld name="5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96122673"/>
      </p:ext>
    </p:extLst>
  </p:cSld>
  <p:clrMapOvr>
    <a:masterClrMapping/>
  </p:clrMapOvr>
</p:sldLayout>
</file>

<file path=ppt/slideLayouts/slideLayout1218.xml><?xml version="1.0" encoding="utf-8"?>
<p:sldLayout xmlns:a="http://schemas.openxmlformats.org/drawingml/2006/main" xmlns:r="http://schemas.openxmlformats.org/officeDocument/2006/relationships" xmlns:p="http://schemas.openxmlformats.org/presentationml/2006/main" type="obj" preserve="1">
  <p:cSld name="3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31486735"/>
      </p:ext>
    </p:extLst>
  </p:cSld>
  <p:clrMapOvr>
    <a:masterClrMapping/>
  </p:clrMapOvr>
</p:sldLayout>
</file>

<file path=ppt/slideLayouts/slideLayout1219.xml><?xml version="1.0" encoding="utf-8"?>
<p:sldLayout xmlns:a="http://schemas.openxmlformats.org/drawingml/2006/main" xmlns:r="http://schemas.openxmlformats.org/officeDocument/2006/relationships" xmlns:p="http://schemas.openxmlformats.org/presentationml/2006/main" type="twoObj" preserve="1">
  <p:cSld name="2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307810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44781546"/>
      </p:ext>
    </p:extLst>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34366747"/>
      </p:ext>
    </p:extLst>
  </p:cSld>
  <p:clrMapOvr>
    <a:masterClrMapping/>
  </p:clrMapOvr>
</p:sldLayout>
</file>

<file path=ppt/slideLayouts/slideLayout1221.xml><?xml version="1.0" encoding="utf-8"?>
<p:sldLayout xmlns:a="http://schemas.openxmlformats.org/drawingml/2006/main" xmlns:r="http://schemas.openxmlformats.org/officeDocument/2006/relationships" xmlns:p="http://schemas.openxmlformats.org/presentationml/2006/main" type="titleOnly" preserve="1">
  <p:cSld name="2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37723058"/>
      </p:ext>
    </p:extLst>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preserve="1" userDrawn="1">
  <p:cSld name="2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03446966"/>
      </p:ext>
    </p:extLst>
  </p:cSld>
  <p:clrMapOvr>
    <a:masterClrMapping/>
  </p:clrMapOvr>
</p:sldLayout>
</file>

<file path=ppt/slideLayouts/slideLayout1223.xml><?xml version="1.0" encoding="utf-8"?>
<p:sldLayout xmlns:a="http://schemas.openxmlformats.org/drawingml/2006/main" xmlns:r="http://schemas.openxmlformats.org/officeDocument/2006/relationships" xmlns:p="http://schemas.openxmlformats.org/presentationml/2006/main" type="blank" preserve="1">
  <p:cSld name="2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41208631"/>
      </p:ext>
    </p:extLst>
  </p:cSld>
  <p:clrMapOvr>
    <a:masterClrMapping/>
  </p:clrMapOvr>
</p:sldLayout>
</file>

<file path=ppt/slideLayouts/slideLayout1224.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38933103"/>
      </p:ext>
    </p:extLst>
  </p:cSld>
  <p:clrMapOvr>
    <a:masterClrMapping/>
  </p:clrMapOvr>
</p:sldLayout>
</file>

<file path=ppt/slideLayouts/slideLayout1225.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31938511"/>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preserve="1" userDrawn="1">
  <p:cSld name="2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7743364"/>
      </p:ext>
    </p:extLst>
  </p:cSld>
  <p:clrMapOvr>
    <a:masterClrMapping/>
  </p:clrMapOvr>
</p:sldLayout>
</file>

<file path=ppt/slideLayouts/slideLayout1227.xml><?xml version="1.0" encoding="utf-8"?>
<p:sldLayout xmlns:a="http://schemas.openxmlformats.org/drawingml/2006/main" xmlns:r="http://schemas.openxmlformats.org/officeDocument/2006/relationships" xmlns:p="http://schemas.openxmlformats.org/presentationml/2006/main" type="obj" preserve="1">
  <p:cSld name="6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01462074"/>
      </p:ext>
    </p:extLst>
  </p:cSld>
  <p:clrMapOvr>
    <a:masterClrMapping/>
  </p:clrMapOvr>
</p:sldLayout>
</file>

<file path=ppt/slideLayouts/slideLayout1228.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66327004"/>
      </p:ext>
    </p:extLst>
  </p:cSld>
  <p:clrMapOvr>
    <a:masterClrMapping/>
  </p:clrMapOvr>
</p:sldLayout>
</file>

<file path=ppt/slideLayouts/slideLayout1229.xml><?xml version="1.0" encoding="utf-8"?>
<p:sldLayout xmlns:a="http://schemas.openxmlformats.org/drawingml/2006/main" xmlns:r="http://schemas.openxmlformats.org/officeDocument/2006/relationships" xmlns:p="http://schemas.openxmlformats.org/presentationml/2006/main" type="twoObj" preserve="1">
  <p:cSld name="2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79075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982901995"/>
      </p:ext>
    </p:extLst>
  </p:cSld>
  <p:clrMapOvr>
    <a:masterClrMapping/>
  </p:clrMapOvr>
</p:sldLayout>
</file>

<file path=ppt/slideLayouts/slideLayout1230.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057902"/>
      </p:ext>
    </p:extLst>
  </p:cSld>
  <p:clrMapOvr>
    <a:masterClrMapping/>
  </p:clrMapOvr>
</p:sldLayout>
</file>

<file path=ppt/slideLayouts/slideLayout1231.xml><?xml version="1.0" encoding="utf-8"?>
<p:sldLayout xmlns:a="http://schemas.openxmlformats.org/drawingml/2006/main" xmlns:r="http://schemas.openxmlformats.org/officeDocument/2006/relationships" xmlns:p="http://schemas.openxmlformats.org/presentationml/2006/main" type="titleOnly" preserve="1">
  <p:cSld name="2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22634185"/>
      </p:ext>
    </p:extLst>
  </p:cSld>
  <p:clrMapOvr>
    <a:masterClrMapping/>
  </p:clrMapOvr>
</p:sldLayout>
</file>

<file path=ppt/slideLayouts/slideLayout1232.xml><?xml version="1.0" encoding="utf-8"?>
<p:sldLayout xmlns:a="http://schemas.openxmlformats.org/drawingml/2006/main" xmlns:r="http://schemas.openxmlformats.org/officeDocument/2006/relationships" xmlns:p="http://schemas.openxmlformats.org/presentationml/2006/main" preserve="1" userDrawn="1">
  <p:cSld name="2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72493085"/>
      </p:ext>
    </p:extLst>
  </p:cSld>
  <p:clrMapOvr>
    <a:masterClrMapping/>
  </p:clrMapOvr>
</p:sldLayout>
</file>

<file path=ppt/slideLayouts/slideLayout1233.xml><?xml version="1.0" encoding="utf-8"?>
<p:sldLayout xmlns:a="http://schemas.openxmlformats.org/drawingml/2006/main" xmlns:r="http://schemas.openxmlformats.org/officeDocument/2006/relationships" xmlns:p="http://schemas.openxmlformats.org/presentationml/2006/main" type="blank" preserve="1">
  <p:cSld name="2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55085444"/>
      </p:ext>
    </p:extLst>
  </p:cSld>
  <p:clrMapOvr>
    <a:masterClrMapping/>
  </p:clrMapOvr>
</p:sldLayout>
</file>

<file path=ppt/slideLayouts/slideLayout1234.xml><?xml version="1.0" encoding="utf-8"?>
<p:sldLayout xmlns:a="http://schemas.openxmlformats.org/drawingml/2006/main" xmlns:r="http://schemas.openxmlformats.org/officeDocument/2006/relationships" xmlns:p="http://schemas.openxmlformats.org/presentationml/2006/main" type="obj" preserve="1">
  <p:cSld name="6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61958334"/>
      </p:ext>
    </p:extLst>
  </p:cSld>
  <p:clrMapOvr>
    <a:masterClrMapping/>
  </p:clrMapOvr>
</p:sldLayout>
</file>

<file path=ppt/slideLayouts/slideLayout1235.xml><?xml version="1.0" encoding="utf-8"?>
<p:sldLayout xmlns:a="http://schemas.openxmlformats.org/drawingml/2006/main" xmlns:r="http://schemas.openxmlformats.org/officeDocument/2006/relationships" xmlns:p="http://schemas.openxmlformats.org/presentationml/2006/main" showMasterSp="0" type="obj" preserve="1">
  <p:cSld name="4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4197119510"/>
      </p:ext>
    </p:extLst>
  </p:cSld>
  <p:clrMapOvr>
    <a:masterClrMapping/>
  </p:clrMapOvr>
</p:sldLayout>
</file>

<file path=ppt/slideLayouts/slideLayout1236.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1813441"/>
      </p:ext>
    </p:extLst>
  </p:cSld>
  <p:clrMapOvr>
    <a:masterClrMapping/>
  </p:clrMapOvr>
</p:sldLayout>
</file>

<file path=ppt/slideLayouts/slideLayout1237.xml><?xml version="1.0" encoding="utf-8"?>
<p:sldLayout xmlns:a="http://schemas.openxmlformats.org/drawingml/2006/main" xmlns:r="http://schemas.openxmlformats.org/officeDocument/2006/relationships" xmlns:p="http://schemas.openxmlformats.org/presentationml/2006/main" type="twoObj" preserve="1">
  <p:cSld name="2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0131857"/>
      </p:ext>
    </p:extLst>
  </p:cSld>
  <p:clrMapOvr>
    <a:masterClrMapping/>
  </p:clrMapOvr>
</p:sldLayout>
</file>

<file path=ppt/slideLayouts/slideLayout1238.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708292"/>
      </p:ext>
    </p:extLst>
  </p:cSld>
  <p:clrMapOvr>
    <a:masterClrMapping/>
  </p:clrMapOvr>
</p:sldLayout>
</file>

<file path=ppt/slideLayouts/slideLayout1239.xml><?xml version="1.0" encoding="utf-8"?>
<p:sldLayout xmlns:a="http://schemas.openxmlformats.org/drawingml/2006/main" xmlns:r="http://schemas.openxmlformats.org/officeDocument/2006/relationships" xmlns:p="http://schemas.openxmlformats.org/presentationml/2006/main" type="titleOnly" preserve="1">
  <p:cSld name="2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1056253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208658575"/>
      </p:ext>
    </p:extLst>
  </p:cSld>
  <p:clrMapOvr>
    <a:masterClrMapping/>
  </p:clrMapOvr>
</p:sldLayout>
</file>

<file path=ppt/slideLayouts/slideLayout1240.xml><?xml version="1.0" encoding="utf-8"?>
<p:sldLayout xmlns:a="http://schemas.openxmlformats.org/drawingml/2006/main" xmlns:r="http://schemas.openxmlformats.org/officeDocument/2006/relationships" xmlns:p="http://schemas.openxmlformats.org/presentationml/2006/main" preserve="1" userDrawn="1">
  <p:cSld name="2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38747718"/>
      </p:ext>
    </p:extLst>
  </p:cSld>
  <p:clrMapOvr>
    <a:masterClrMapping/>
  </p:clrMapOvr>
</p:sldLayout>
</file>

<file path=ppt/slideLayouts/slideLayout1241.xml><?xml version="1.0" encoding="utf-8"?>
<p:sldLayout xmlns:a="http://schemas.openxmlformats.org/drawingml/2006/main" xmlns:r="http://schemas.openxmlformats.org/officeDocument/2006/relationships" xmlns:p="http://schemas.openxmlformats.org/presentationml/2006/main" type="blank" preserve="1">
  <p:cSld name="2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6908274"/>
      </p:ext>
    </p:extLst>
  </p:cSld>
  <p:clrMapOvr>
    <a:masterClrMapping/>
  </p:clrMapOvr>
</p:sldLayout>
</file>

<file path=ppt/slideLayouts/slideLayout1242.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43643730"/>
      </p:ext>
    </p:extLst>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58687167"/>
      </p:ext>
    </p:extLst>
  </p:cSld>
  <p:clrMapOvr>
    <a:masterClrMapping/>
  </p:clrMapOvr>
</p:sldLayout>
</file>

<file path=ppt/slideLayouts/slideLayout1244.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44457799"/>
      </p:ext>
    </p:extLst>
  </p:cSld>
  <p:clrMapOvr>
    <a:masterClrMapping/>
  </p:clrMapOvr>
</p:sldLayout>
</file>

<file path=ppt/slideLayouts/slideLayout1245.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82234769"/>
      </p:ext>
    </p:extLst>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preserve="1" userDrawn="1">
  <p:cSld name="2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11718436"/>
      </p:ext>
    </p:extLst>
  </p:cSld>
  <p:clrMapOvr>
    <a:masterClrMapping/>
  </p:clrMapOvr>
</p:sldLayout>
</file>

<file path=ppt/slideLayouts/slideLayout1247.xml><?xml version="1.0" encoding="utf-8"?>
<p:sldLayout xmlns:a="http://schemas.openxmlformats.org/drawingml/2006/main" xmlns:r="http://schemas.openxmlformats.org/officeDocument/2006/relationships" xmlns:p="http://schemas.openxmlformats.org/presentationml/2006/main" preserve="1" userDrawn="1">
  <p:cSld name="2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680623742"/>
      </p:ext>
    </p:extLst>
  </p:cSld>
  <p:clrMapOvr>
    <a:masterClrMapping/>
  </p:clrMapOvr>
</p:sldLayout>
</file>

<file path=ppt/slideLayouts/slideLayout1248.xml><?xml version="1.0" encoding="utf-8"?>
<p:sldLayout xmlns:a="http://schemas.openxmlformats.org/drawingml/2006/main" xmlns:r="http://schemas.openxmlformats.org/officeDocument/2006/relationships" xmlns:p="http://schemas.openxmlformats.org/presentationml/2006/main" type="obj" preserve="1">
  <p:cSld name="6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70164793"/>
      </p:ext>
    </p:extLst>
  </p:cSld>
  <p:clrMapOvr>
    <a:masterClrMapping/>
  </p:clrMapOvr>
</p:sldLayout>
</file>

<file path=ppt/slideLayouts/slideLayout1249.xml><?xml version="1.0" encoding="utf-8"?>
<p:sldLayout xmlns:a="http://schemas.openxmlformats.org/drawingml/2006/main" xmlns:r="http://schemas.openxmlformats.org/officeDocument/2006/relationships" xmlns:p="http://schemas.openxmlformats.org/presentationml/2006/main" type="obj" preserve="1">
  <p:cSld name="6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0649314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7111013"/>
      </p:ext>
    </p:extLst>
  </p:cSld>
  <p:clrMapOvr>
    <a:masterClrMapping/>
  </p:clrMapOvr>
</p:sldLayout>
</file>

<file path=ppt/slideLayouts/slideLayout1250.xml><?xml version="1.0" encoding="utf-8"?>
<p:sldLayout xmlns:a="http://schemas.openxmlformats.org/drawingml/2006/main" xmlns:r="http://schemas.openxmlformats.org/officeDocument/2006/relationships" xmlns:p="http://schemas.openxmlformats.org/presentationml/2006/main" type="obj" preserve="1">
  <p:cSld name="3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10838351"/>
      </p:ext>
    </p:extLst>
  </p:cSld>
  <p:clrMapOvr>
    <a:masterClrMapping/>
  </p:clrMapOvr>
</p:sldLayout>
</file>

<file path=ppt/slideLayouts/slideLayout1251.xml><?xml version="1.0" encoding="utf-8"?>
<p:sldLayout xmlns:a="http://schemas.openxmlformats.org/drawingml/2006/main" xmlns:r="http://schemas.openxmlformats.org/officeDocument/2006/relationships" xmlns:p="http://schemas.openxmlformats.org/presentationml/2006/main" type="twoObj" preserve="1">
  <p:cSld name="2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234495"/>
      </p:ext>
    </p:extLst>
  </p:cSld>
  <p:clrMapOvr>
    <a:masterClrMapping/>
  </p:clrMapOvr>
</p:sldLayout>
</file>

<file path=ppt/slideLayouts/slideLayout1252.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6106992"/>
      </p:ext>
    </p:extLst>
  </p:cSld>
  <p:clrMapOvr>
    <a:masterClrMapping/>
  </p:clrMapOvr>
</p:sldLayout>
</file>

<file path=ppt/slideLayouts/slideLayout1253.xml><?xml version="1.0" encoding="utf-8"?>
<p:sldLayout xmlns:a="http://schemas.openxmlformats.org/drawingml/2006/main" xmlns:r="http://schemas.openxmlformats.org/officeDocument/2006/relationships" xmlns:p="http://schemas.openxmlformats.org/presentationml/2006/main" type="titleOnly" preserve="1">
  <p:cSld name="2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58466750"/>
      </p:ext>
    </p:extLst>
  </p:cSld>
  <p:clrMapOvr>
    <a:masterClrMapping/>
  </p:clrMapOvr>
</p:sldLayout>
</file>

<file path=ppt/slideLayouts/slideLayout1254.xml><?xml version="1.0" encoding="utf-8"?>
<p:sldLayout xmlns:a="http://schemas.openxmlformats.org/drawingml/2006/main" xmlns:r="http://schemas.openxmlformats.org/officeDocument/2006/relationships" xmlns:p="http://schemas.openxmlformats.org/presentationml/2006/main" preserve="1" userDrawn="1">
  <p:cSld name="2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09664193"/>
      </p:ext>
    </p:extLst>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type="blank" preserve="1">
  <p:cSld name="2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96770660"/>
      </p:ext>
    </p:extLst>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52393760"/>
      </p:ext>
    </p:extLst>
  </p:cSld>
  <p:clrMapOvr>
    <a:masterClrMapping/>
  </p:clrMapOvr>
</p:sldLayout>
</file>

<file path=ppt/slideLayouts/slideLayout1257.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45771534"/>
      </p:ext>
    </p:extLst>
  </p:cSld>
  <p:clrMapOvr>
    <a:masterClrMapping/>
  </p:clrMapOvr>
</p:sldLayout>
</file>

<file path=ppt/slideLayouts/slideLayout1258.xml><?xml version="1.0" encoding="utf-8"?>
<p:sldLayout xmlns:a="http://schemas.openxmlformats.org/drawingml/2006/main" xmlns:r="http://schemas.openxmlformats.org/officeDocument/2006/relationships" xmlns:p="http://schemas.openxmlformats.org/presentationml/2006/main" type="obj" preserve="1">
  <p:cSld name="6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85054457"/>
      </p:ext>
    </p:extLst>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type="obj" preserve="1">
  <p:cSld name="3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309514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00008366"/>
      </p:ext>
    </p:extLst>
  </p:cSld>
  <p:clrMapOvr>
    <a:masterClrMapping/>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type="twoObj" preserve="1">
  <p:cSld name="2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1715567"/>
      </p:ext>
    </p:extLst>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45559705"/>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preserve="1" userDrawn="1">
  <p:cSld name="2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99383980"/>
      </p:ext>
    </p:extLst>
  </p:cSld>
  <p:clrMapOvr>
    <a:masterClrMapping/>
  </p:clrMapOvr>
</p:sldLayout>
</file>

<file path=ppt/slideLayouts/slideLayout1263.xml><?xml version="1.0" encoding="utf-8"?>
<p:sldLayout xmlns:a="http://schemas.openxmlformats.org/drawingml/2006/main" xmlns:r="http://schemas.openxmlformats.org/officeDocument/2006/relationships" xmlns:p="http://schemas.openxmlformats.org/presentationml/2006/main" preserve="1" userDrawn="1">
  <p:cSld name="2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18370166"/>
      </p:ext>
    </p:extLst>
  </p:cSld>
  <p:clrMapOvr>
    <a:masterClrMapping/>
  </p:clrMapOvr>
</p:sldLayout>
</file>

<file path=ppt/slideLayouts/slideLayout1264.xml><?xml version="1.0" encoding="utf-8"?>
<p:sldLayout xmlns:a="http://schemas.openxmlformats.org/drawingml/2006/main" xmlns:r="http://schemas.openxmlformats.org/officeDocument/2006/relationships" xmlns:p="http://schemas.openxmlformats.org/presentationml/2006/main" type="blank" preserve="1">
  <p:cSld name="2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915581856"/>
      </p:ext>
    </p:extLst>
  </p:cSld>
  <p:clrMapOvr>
    <a:masterClrMapping/>
  </p:clrMapOvr>
</p:sldLayout>
</file>

<file path=ppt/slideLayouts/slideLayout1265.xml><?xml version="1.0" encoding="utf-8"?>
<p:sldLayout xmlns:a="http://schemas.openxmlformats.org/drawingml/2006/main" xmlns:r="http://schemas.openxmlformats.org/officeDocument/2006/relationships" xmlns:p="http://schemas.openxmlformats.org/presentationml/2006/main" type="titleOnly" preserve="1">
  <p:cSld name="2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65316184"/>
      </p:ext>
    </p:extLst>
  </p:cSld>
  <p:clrMapOvr>
    <a:masterClrMapping/>
  </p:clrMapOvr>
</p:sldLayout>
</file>

<file path=ppt/slideLayouts/slideLayout1266.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89720928"/>
      </p:ext>
    </p:extLst>
  </p:cSld>
  <p:clrMapOvr>
    <a:masterClrMapping/>
  </p:clrMapOvr>
</p:sldLayout>
</file>

<file path=ppt/slideLayouts/slideLayout1267.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28099187"/>
      </p:ext>
    </p:extLst>
  </p:cSld>
  <p:clrMapOvr>
    <a:masterClrMapping/>
  </p:clrMapOvr>
</p:sldLayout>
</file>

<file path=ppt/slideLayouts/slideLayout1268.xml><?xml version="1.0" encoding="utf-8"?>
<p:sldLayout xmlns:a="http://schemas.openxmlformats.org/drawingml/2006/main" xmlns:r="http://schemas.openxmlformats.org/officeDocument/2006/relationships" xmlns:p="http://schemas.openxmlformats.org/presentationml/2006/main" type="obj" preserve="1">
  <p:cSld name="6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0529763"/>
      </p:ext>
    </p:extLst>
  </p:cSld>
  <p:clrMapOvr>
    <a:masterClrMapping/>
  </p:clrMapOvr>
</p:sldLayout>
</file>

<file path=ppt/slideLayouts/slideLayout1269.xml><?xml version="1.0" encoding="utf-8"?>
<p:sldLayout xmlns:a="http://schemas.openxmlformats.org/drawingml/2006/main" xmlns:r="http://schemas.openxmlformats.org/officeDocument/2006/relationships" xmlns:p="http://schemas.openxmlformats.org/presentationml/2006/main" type="obj" preserve="1">
  <p:cSld name="4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611120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18321361"/>
      </p:ext>
    </p:extLst>
  </p:cSld>
  <p:clrMapOvr>
    <a:masterClrMapping/>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type="twoObj" preserve="1">
  <p:cSld name="2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03400963"/>
      </p:ext>
    </p:extLst>
  </p:cSld>
  <p:clrMapOvr>
    <a:masterClrMapping/>
  </p:clrMapOvr>
</p:sldLayout>
</file>

<file path=ppt/slideLayouts/slideLayout1271.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30761680"/>
      </p:ext>
    </p:extLst>
  </p:cSld>
  <p:clrMapOvr>
    <a:masterClrMapping/>
  </p:clrMapOvr>
</p:sldLayout>
</file>

<file path=ppt/slideLayouts/slideLayout1272.xml><?xml version="1.0" encoding="utf-8"?>
<p:sldLayout xmlns:a="http://schemas.openxmlformats.org/drawingml/2006/main" xmlns:r="http://schemas.openxmlformats.org/officeDocument/2006/relationships" xmlns:p="http://schemas.openxmlformats.org/presentationml/2006/main" preserve="1" userDrawn="1">
  <p:cSld name="2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577080874"/>
      </p:ext>
    </p:extLst>
  </p:cSld>
  <p:clrMapOvr>
    <a:masterClrMapping/>
  </p:clrMapOvr>
</p:sldLayout>
</file>

<file path=ppt/slideLayouts/slideLayout1273.xml><?xml version="1.0" encoding="utf-8"?>
<p:sldLayout xmlns:a="http://schemas.openxmlformats.org/drawingml/2006/main" xmlns:r="http://schemas.openxmlformats.org/officeDocument/2006/relationships" xmlns:p="http://schemas.openxmlformats.org/presentationml/2006/main" type="obj" preserve="1">
  <p:cSld name="6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15632236"/>
      </p:ext>
    </p:extLst>
  </p:cSld>
  <p:clrMapOvr>
    <a:masterClrMapping/>
  </p:clrMapOvr>
</p:sldLayout>
</file>

<file path=ppt/slideLayouts/slideLayout1274.xml><?xml version="1.0" encoding="utf-8"?>
<p:sldLayout xmlns:a="http://schemas.openxmlformats.org/drawingml/2006/main" xmlns:r="http://schemas.openxmlformats.org/officeDocument/2006/relationships" xmlns:p="http://schemas.openxmlformats.org/presentationml/2006/main" preserve="1" userDrawn="1">
  <p:cSld name="2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20946467"/>
      </p:ext>
    </p:extLst>
  </p:cSld>
  <p:clrMapOvr>
    <a:masterClrMapping/>
  </p:clrMapOvr>
</p:sldLayout>
</file>

<file path=ppt/slideLayouts/slideLayout1275.xml><?xml version="1.0" encoding="utf-8"?>
<p:sldLayout xmlns:a="http://schemas.openxmlformats.org/drawingml/2006/main" xmlns:r="http://schemas.openxmlformats.org/officeDocument/2006/relationships" xmlns:p="http://schemas.openxmlformats.org/presentationml/2006/main" type="blank" preserve="1">
  <p:cSld name="2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135412623"/>
      </p:ext>
    </p:extLst>
  </p:cSld>
  <p:clrMapOvr>
    <a:masterClrMapping/>
  </p:clrMapOvr>
</p:sldLayout>
</file>

<file path=ppt/slideLayouts/slideLayout1276.xml><?xml version="1.0" encoding="utf-8"?>
<p:sldLayout xmlns:a="http://schemas.openxmlformats.org/drawingml/2006/main" xmlns:r="http://schemas.openxmlformats.org/officeDocument/2006/relationships" xmlns:p="http://schemas.openxmlformats.org/presentationml/2006/main" type="titleOnly" preserve="1">
  <p:cSld name="2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8295311"/>
      </p:ext>
    </p:extLst>
  </p:cSld>
  <p:clrMapOvr>
    <a:masterClrMapping/>
  </p:clrMapOvr>
</p:sldLayout>
</file>

<file path=ppt/slideLayouts/slideLayout1277.xml><?xml version="1.0" encoding="utf-8"?>
<p:sldLayout xmlns:a="http://schemas.openxmlformats.org/drawingml/2006/main" xmlns:r="http://schemas.openxmlformats.org/officeDocument/2006/relationships" xmlns:p="http://schemas.openxmlformats.org/presentationml/2006/main" preserve="1" userDrawn="1">
  <p:cSld name="3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42997060"/>
      </p:ext>
    </p:extLst>
  </p:cSld>
  <p:clrMapOvr>
    <a:masterClrMapping/>
  </p:clrMapOvr>
</p:sldLayout>
</file>

<file path=ppt/slideLayouts/slideLayout1278.xml><?xml version="1.0" encoding="utf-8"?>
<p:sldLayout xmlns:a="http://schemas.openxmlformats.org/drawingml/2006/main" xmlns:r="http://schemas.openxmlformats.org/officeDocument/2006/relationships" xmlns:p="http://schemas.openxmlformats.org/presentationml/2006/main" type="obj" preserve="1">
  <p:cSld name="6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13614659"/>
      </p:ext>
    </p:extLst>
  </p:cSld>
  <p:clrMapOvr>
    <a:masterClrMapping/>
  </p:clrMapOvr>
</p:sldLayout>
</file>

<file path=ppt/slideLayouts/slideLayout1279.xml><?xml version="1.0" encoding="utf-8"?>
<p:sldLayout xmlns:a="http://schemas.openxmlformats.org/drawingml/2006/main" xmlns:r="http://schemas.openxmlformats.org/officeDocument/2006/relationships" xmlns:p="http://schemas.openxmlformats.org/presentationml/2006/main" type="obj" preserve="1">
  <p:cSld name="4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7983283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59555195"/>
      </p:ext>
    </p:extLst>
  </p:cSld>
  <p:clrMapOvr>
    <a:masterClrMapping/>
  </p:clrMapOvr>
</p:sldLayout>
</file>

<file path=ppt/slideLayouts/slideLayout1280.xml><?xml version="1.0" encoding="utf-8"?>
<p:sldLayout xmlns:a="http://schemas.openxmlformats.org/drawingml/2006/main" xmlns:r="http://schemas.openxmlformats.org/officeDocument/2006/relationships" xmlns:p="http://schemas.openxmlformats.org/presentationml/2006/main" type="twoObj" preserve="1">
  <p:cSld name="2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73143824"/>
      </p:ext>
    </p:extLst>
  </p:cSld>
  <p:clrMapOvr>
    <a:masterClrMapping/>
  </p:clrMapOvr>
</p:sldLayout>
</file>

<file path=ppt/slideLayouts/slideLayout1281.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9858862"/>
      </p:ext>
    </p:extLst>
  </p:cSld>
  <p:clrMapOvr>
    <a:masterClrMapping/>
  </p:clrMapOvr>
</p:sldLayout>
</file>

<file path=ppt/slideLayouts/slideLayout1282.xml><?xml version="1.0" encoding="utf-8"?>
<p:sldLayout xmlns:a="http://schemas.openxmlformats.org/drawingml/2006/main" xmlns:r="http://schemas.openxmlformats.org/officeDocument/2006/relationships" xmlns:p="http://schemas.openxmlformats.org/presentationml/2006/main" type="titleOnly" preserve="1">
  <p:cSld name="2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42637121"/>
      </p:ext>
    </p:extLst>
  </p:cSld>
  <p:clrMapOvr>
    <a:masterClrMapping/>
  </p:clrMapOvr>
</p:sldLayout>
</file>

<file path=ppt/slideLayouts/slideLayout1283.xml><?xml version="1.0" encoding="utf-8"?>
<p:sldLayout xmlns:a="http://schemas.openxmlformats.org/drawingml/2006/main" xmlns:r="http://schemas.openxmlformats.org/officeDocument/2006/relationships" xmlns:p="http://schemas.openxmlformats.org/presentationml/2006/main" preserve="1" userDrawn="1">
  <p:cSld name="2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43082088"/>
      </p:ext>
    </p:extLst>
  </p:cSld>
  <p:clrMapOvr>
    <a:masterClrMapping/>
  </p:clrMapOvr>
</p:sldLayout>
</file>

<file path=ppt/slideLayouts/slideLayout1284.xml><?xml version="1.0" encoding="utf-8"?>
<p:sldLayout xmlns:a="http://schemas.openxmlformats.org/drawingml/2006/main" xmlns:r="http://schemas.openxmlformats.org/officeDocument/2006/relationships" xmlns:p="http://schemas.openxmlformats.org/presentationml/2006/main" type="blank" preserve="1">
  <p:cSld name="2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99828502"/>
      </p:ext>
    </p:extLst>
  </p:cSld>
  <p:clrMapOvr>
    <a:masterClrMapping/>
  </p:clrMapOvr>
</p:sldLayout>
</file>

<file path=ppt/slideLayouts/slideLayout1285.xml><?xml version="1.0" encoding="utf-8"?>
<p:sldLayout xmlns:a="http://schemas.openxmlformats.org/drawingml/2006/main" xmlns:r="http://schemas.openxmlformats.org/officeDocument/2006/relationships" xmlns:p="http://schemas.openxmlformats.org/presentationml/2006/main" type="obj" preserve="1">
  <p:cSld name="7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43599500"/>
      </p:ext>
    </p:extLst>
  </p:cSld>
  <p:clrMapOvr>
    <a:masterClrMapping/>
  </p:clrMapOvr>
</p:sldLayout>
</file>

<file path=ppt/slideLayouts/slideLayout1286.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43100962"/>
      </p:ext>
    </p:extLst>
  </p:cSld>
  <p:clrMapOvr>
    <a:masterClrMapping/>
  </p:clrMapOvr>
</p:sldLayout>
</file>

<file path=ppt/slideLayouts/slideLayout1287.xml><?xml version="1.0" encoding="utf-8"?>
<p:sldLayout xmlns:a="http://schemas.openxmlformats.org/drawingml/2006/main" xmlns:r="http://schemas.openxmlformats.org/officeDocument/2006/relationships" xmlns:p="http://schemas.openxmlformats.org/presentationml/2006/main" preserve="1" userDrawn="1">
  <p:cSld name="3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67029293"/>
      </p:ext>
    </p:extLst>
  </p:cSld>
  <p:clrMapOvr>
    <a:masterClrMapping/>
  </p:clrMapOvr>
</p:sldLayout>
</file>

<file path=ppt/slideLayouts/slideLayout1288.xml><?xml version="1.0" encoding="utf-8"?>
<p:sldLayout xmlns:a="http://schemas.openxmlformats.org/drawingml/2006/main" xmlns:r="http://schemas.openxmlformats.org/officeDocument/2006/relationships" xmlns:p="http://schemas.openxmlformats.org/presentationml/2006/main" preserve="1" userDrawn="1">
  <p:cSld name="3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06863667"/>
      </p:ext>
    </p:extLst>
  </p:cSld>
  <p:clrMapOvr>
    <a:masterClrMapping/>
  </p:clrMapOvr>
</p:sldLayout>
</file>

<file path=ppt/slideLayouts/slideLayout1289.xml><?xml version="1.0" encoding="utf-8"?>
<p:sldLayout xmlns:a="http://schemas.openxmlformats.org/drawingml/2006/main" xmlns:r="http://schemas.openxmlformats.org/officeDocument/2006/relationships" xmlns:p="http://schemas.openxmlformats.org/presentationml/2006/main" type="obj" preserve="1">
  <p:cSld name="7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0135747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1522953"/>
      </p:ext>
    </p:extLst>
  </p:cSld>
  <p:clrMapOvr>
    <a:masterClrMapping/>
  </p:clrMapOvr>
</p:sldLayout>
</file>

<file path=ppt/slideLayouts/slideLayout1290.xml><?xml version="1.0" encoding="utf-8"?>
<p:sldLayout xmlns:a="http://schemas.openxmlformats.org/drawingml/2006/main" xmlns:r="http://schemas.openxmlformats.org/officeDocument/2006/relationships" xmlns:p="http://schemas.openxmlformats.org/presentationml/2006/main" type="obj" preserve="1">
  <p:cSld name="4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4467170"/>
      </p:ext>
    </p:extLst>
  </p:cSld>
  <p:clrMapOvr>
    <a:masterClrMapping/>
  </p:clrMapOvr>
</p:sldLayout>
</file>

<file path=ppt/slideLayouts/slideLayout1291.xml><?xml version="1.0" encoding="utf-8"?>
<p:sldLayout xmlns:a="http://schemas.openxmlformats.org/drawingml/2006/main" xmlns:r="http://schemas.openxmlformats.org/officeDocument/2006/relationships" xmlns:p="http://schemas.openxmlformats.org/presentationml/2006/main" type="twoObj" preserve="1">
  <p:cSld name="3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5246571"/>
      </p:ext>
    </p:extLst>
  </p:cSld>
  <p:clrMapOvr>
    <a:masterClrMapping/>
  </p:clrMapOvr>
</p:sldLayout>
</file>

<file path=ppt/slideLayouts/slideLayout1292.xml><?xml version="1.0" encoding="utf-8"?>
<p:sldLayout xmlns:a="http://schemas.openxmlformats.org/drawingml/2006/main" xmlns:r="http://schemas.openxmlformats.org/officeDocument/2006/relationships" xmlns:p="http://schemas.openxmlformats.org/presentationml/2006/main" type="twoTxTwoObj" preserve="1">
  <p:cSld name="3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6668322"/>
      </p:ext>
    </p:extLst>
  </p:cSld>
  <p:clrMapOvr>
    <a:masterClrMapping/>
  </p:clrMapOvr>
</p:sldLayout>
</file>

<file path=ppt/slideLayouts/slideLayout1293.xml><?xml version="1.0" encoding="utf-8"?>
<p:sldLayout xmlns:a="http://schemas.openxmlformats.org/drawingml/2006/main" xmlns:r="http://schemas.openxmlformats.org/officeDocument/2006/relationships" xmlns:p="http://schemas.openxmlformats.org/presentationml/2006/main" type="titleOnly" preserve="1">
  <p:cSld name="3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5978124"/>
      </p:ext>
    </p:extLst>
  </p:cSld>
  <p:clrMapOvr>
    <a:masterClrMapping/>
  </p:clrMapOvr>
</p:sldLayout>
</file>

<file path=ppt/slideLayouts/slideLayout1294.xml><?xml version="1.0" encoding="utf-8"?>
<p:sldLayout xmlns:a="http://schemas.openxmlformats.org/drawingml/2006/main" xmlns:r="http://schemas.openxmlformats.org/officeDocument/2006/relationships" xmlns:p="http://schemas.openxmlformats.org/presentationml/2006/main" preserve="1" userDrawn="1">
  <p:cSld name="3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50602772"/>
      </p:ext>
    </p:extLst>
  </p:cSld>
  <p:clrMapOvr>
    <a:masterClrMapping/>
  </p:clrMapOvr>
</p:sldLayout>
</file>

<file path=ppt/slideLayouts/slideLayout1295.xml><?xml version="1.0" encoding="utf-8"?>
<p:sldLayout xmlns:a="http://schemas.openxmlformats.org/drawingml/2006/main" xmlns:r="http://schemas.openxmlformats.org/officeDocument/2006/relationships" xmlns:p="http://schemas.openxmlformats.org/presentationml/2006/main" type="blank" preserve="1">
  <p:cSld name="2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957942257"/>
      </p:ext>
    </p:extLst>
  </p:cSld>
  <p:clrMapOvr>
    <a:masterClrMapping/>
  </p:clrMapOvr>
</p:sldLayout>
</file>

<file path=ppt/slideLayouts/slideLayout1296.xml><?xml version="1.0" encoding="utf-8"?>
<p:sldLayout xmlns:a="http://schemas.openxmlformats.org/drawingml/2006/main" xmlns:r="http://schemas.openxmlformats.org/officeDocument/2006/relationships" xmlns:p="http://schemas.openxmlformats.org/presentationml/2006/main" preserve="1" userDrawn="1">
  <p:cSld name="3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01712325"/>
      </p:ext>
    </p:extLst>
  </p:cSld>
  <p:clrMapOvr>
    <a:masterClrMapping/>
  </p:clrMapOvr>
</p:sldLayout>
</file>

<file path=ppt/slideLayouts/slideLayout1297.xml><?xml version="1.0" encoding="utf-8"?>
<p:sldLayout xmlns:a="http://schemas.openxmlformats.org/drawingml/2006/main" xmlns:r="http://schemas.openxmlformats.org/officeDocument/2006/relationships" xmlns:p="http://schemas.openxmlformats.org/presentationml/2006/main" preserve="1" userDrawn="1">
  <p:cSld name="3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52724371"/>
      </p:ext>
    </p:extLst>
  </p:cSld>
  <p:clrMapOvr>
    <a:masterClrMapping/>
  </p:clrMapOvr>
</p:sldLayout>
</file>

<file path=ppt/slideLayouts/slideLayout1298.xml><?xml version="1.0" encoding="utf-8"?>
<p:sldLayout xmlns:a="http://schemas.openxmlformats.org/drawingml/2006/main" xmlns:r="http://schemas.openxmlformats.org/officeDocument/2006/relationships" xmlns:p="http://schemas.openxmlformats.org/presentationml/2006/main" type="obj" preserve="1">
  <p:cSld name="7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23037269"/>
      </p:ext>
    </p:extLst>
  </p:cSld>
  <p:clrMapOvr>
    <a:masterClrMapping/>
  </p:clrMapOvr>
</p:sldLayout>
</file>

<file path=ppt/slideLayouts/slideLayout1299.xml><?xml version="1.0" encoding="utf-8"?>
<p:sldLayout xmlns:a="http://schemas.openxmlformats.org/drawingml/2006/main" xmlns:r="http://schemas.openxmlformats.org/officeDocument/2006/relationships" xmlns:p="http://schemas.openxmlformats.org/presentationml/2006/main" preserve="1" userDrawn="1">
  <p:cSld name="3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128940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42302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668804"/>
      </p:ext>
    </p:extLst>
  </p:cSld>
  <p:clrMapOvr>
    <a:masterClrMapping/>
  </p:clrMapOvr>
</p:sldLayout>
</file>

<file path=ppt/slideLayouts/slideLayout1300.xml><?xml version="1.0" encoding="utf-8"?>
<p:sldLayout xmlns:a="http://schemas.openxmlformats.org/drawingml/2006/main" xmlns:r="http://schemas.openxmlformats.org/officeDocument/2006/relationships" xmlns:p="http://schemas.openxmlformats.org/presentationml/2006/main" type="obj" preserve="1">
  <p:cSld name="7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67365997"/>
      </p:ext>
    </p:extLst>
  </p:cSld>
  <p:clrMapOvr>
    <a:masterClrMapping/>
  </p:clrMapOvr>
</p:sldLayout>
</file>

<file path=ppt/slideLayouts/slideLayout1301.xml><?xml version="1.0" encoding="utf-8"?>
<p:sldLayout xmlns:a="http://schemas.openxmlformats.org/drawingml/2006/main" xmlns:r="http://schemas.openxmlformats.org/officeDocument/2006/relationships" xmlns:p="http://schemas.openxmlformats.org/presentationml/2006/main" type="obj" preserve="1">
  <p:cSld name="4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53548462"/>
      </p:ext>
    </p:extLst>
  </p:cSld>
  <p:clrMapOvr>
    <a:masterClrMapping/>
  </p:clrMapOvr>
</p:sldLayout>
</file>

<file path=ppt/slideLayouts/slideLayout1302.xml><?xml version="1.0" encoding="utf-8"?>
<p:sldLayout xmlns:a="http://schemas.openxmlformats.org/drawingml/2006/main" xmlns:r="http://schemas.openxmlformats.org/officeDocument/2006/relationships" xmlns:p="http://schemas.openxmlformats.org/presentationml/2006/main" type="twoObj" preserve="1">
  <p:cSld name="3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14473618"/>
      </p:ext>
    </p:extLst>
  </p:cSld>
  <p:clrMapOvr>
    <a:masterClrMapping/>
  </p:clrMapOvr>
</p:sldLayout>
</file>

<file path=ppt/slideLayouts/slideLayout1303.xml><?xml version="1.0" encoding="utf-8"?>
<p:sldLayout xmlns:a="http://schemas.openxmlformats.org/drawingml/2006/main" xmlns:r="http://schemas.openxmlformats.org/officeDocument/2006/relationships" xmlns:p="http://schemas.openxmlformats.org/presentationml/2006/main" type="twoTxTwoObj" preserve="1">
  <p:cSld name="3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6038943"/>
      </p:ext>
    </p:extLst>
  </p:cSld>
  <p:clrMapOvr>
    <a:masterClrMapping/>
  </p:clrMapOvr>
</p:sldLayout>
</file>

<file path=ppt/slideLayouts/slideLayout1304.xml><?xml version="1.0" encoding="utf-8"?>
<p:sldLayout xmlns:a="http://schemas.openxmlformats.org/drawingml/2006/main" xmlns:r="http://schemas.openxmlformats.org/officeDocument/2006/relationships" xmlns:p="http://schemas.openxmlformats.org/presentationml/2006/main" type="titleOnly" preserve="1">
  <p:cSld name="3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46427918"/>
      </p:ext>
    </p:extLst>
  </p:cSld>
  <p:clrMapOvr>
    <a:masterClrMapping/>
  </p:clrMapOvr>
</p:sldLayout>
</file>

<file path=ppt/slideLayouts/slideLayout1305.xml><?xml version="1.0" encoding="utf-8"?>
<p:sldLayout xmlns:a="http://schemas.openxmlformats.org/drawingml/2006/main" xmlns:r="http://schemas.openxmlformats.org/officeDocument/2006/relationships" xmlns:p="http://schemas.openxmlformats.org/presentationml/2006/main" preserve="1" userDrawn="1">
  <p:cSld name="3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60214597"/>
      </p:ext>
    </p:extLst>
  </p:cSld>
  <p:clrMapOvr>
    <a:masterClrMapping/>
  </p:clrMapOvr>
</p:sldLayout>
</file>

<file path=ppt/slideLayouts/slideLayout1306.xml><?xml version="1.0" encoding="utf-8"?>
<p:sldLayout xmlns:a="http://schemas.openxmlformats.org/drawingml/2006/main" xmlns:r="http://schemas.openxmlformats.org/officeDocument/2006/relationships" xmlns:p="http://schemas.openxmlformats.org/presentationml/2006/main" type="blank" preserve="1">
  <p:cSld name="3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682630291"/>
      </p:ext>
    </p:extLst>
  </p:cSld>
  <p:clrMapOvr>
    <a:masterClrMapping/>
  </p:clrMapOvr>
</p:sldLayout>
</file>

<file path=ppt/slideLayouts/slideLayout1307.xml><?xml version="1.0" encoding="utf-8"?>
<p:sldLayout xmlns:a="http://schemas.openxmlformats.org/drawingml/2006/main" xmlns:r="http://schemas.openxmlformats.org/officeDocument/2006/relationships" xmlns:p="http://schemas.openxmlformats.org/presentationml/2006/main" type="obj" preserve="1">
  <p:cSld name="4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9941528"/>
      </p:ext>
    </p:extLst>
  </p:cSld>
  <p:clrMapOvr>
    <a:masterClrMapping/>
  </p:clrMapOvr>
</p:sldLayout>
</file>

<file path=ppt/slideLayouts/slideLayout1308.xml><?xml version="1.0" encoding="utf-8"?>
<p:sldLayout xmlns:a="http://schemas.openxmlformats.org/drawingml/2006/main" xmlns:r="http://schemas.openxmlformats.org/officeDocument/2006/relationships" xmlns:p="http://schemas.openxmlformats.org/presentationml/2006/main" type="twoObj" preserve="1">
  <p:cSld name="3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7341666"/>
      </p:ext>
    </p:extLst>
  </p:cSld>
  <p:clrMapOvr>
    <a:masterClrMapping/>
  </p:clrMapOvr>
</p:sldLayout>
</file>

<file path=ppt/slideLayouts/slideLayout1309.xml><?xml version="1.0" encoding="utf-8"?>
<p:sldLayout xmlns:a="http://schemas.openxmlformats.org/drawingml/2006/main" xmlns:r="http://schemas.openxmlformats.org/officeDocument/2006/relationships" xmlns:p="http://schemas.openxmlformats.org/presentationml/2006/main" type="twoTxTwoObj" preserve="1">
  <p:cSld name="3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931347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01862111"/>
      </p:ext>
    </p:extLst>
  </p:cSld>
  <p:clrMapOvr>
    <a:masterClrMapping/>
  </p:clrMapOvr>
</p:sldLayout>
</file>

<file path=ppt/slideLayouts/slideLayout1310.xml><?xml version="1.0" encoding="utf-8"?>
<p:sldLayout xmlns:a="http://schemas.openxmlformats.org/drawingml/2006/main" xmlns:r="http://schemas.openxmlformats.org/officeDocument/2006/relationships" xmlns:p="http://schemas.openxmlformats.org/presentationml/2006/main" type="titleOnly" preserve="1">
  <p:cSld name="3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6313469"/>
      </p:ext>
    </p:extLst>
  </p:cSld>
  <p:clrMapOvr>
    <a:masterClrMapping/>
  </p:clrMapOvr>
</p:sldLayout>
</file>

<file path=ppt/slideLayouts/slideLayout1311.xml><?xml version="1.0" encoding="utf-8"?>
<p:sldLayout xmlns:a="http://schemas.openxmlformats.org/drawingml/2006/main" xmlns:r="http://schemas.openxmlformats.org/officeDocument/2006/relationships" xmlns:p="http://schemas.openxmlformats.org/presentationml/2006/main" preserve="1" userDrawn="1">
  <p:cSld name="3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37494341"/>
      </p:ext>
    </p:extLst>
  </p:cSld>
  <p:clrMapOvr>
    <a:masterClrMapping/>
  </p:clrMapOvr>
</p:sldLayout>
</file>

<file path=ppt/slideLayouts/slideLayout1312.xml><?xml version="1.0" encoding="utf-8"?>
<p:sldLayout xmlns:a="http://schemas.openxmlformats.org/drawingml/2006/main" xmlns:r="http://schemas.openxmlformats.org/officeDocument/2006/relationships" xmlns:p="http://schemas.openxmlformats.org/presentationml/2006/main" type="blank" preserve="1">
  <p:cSld name="3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51403352"/>
      </p:ext>
    </p:extLst>
  </p:cSld>
  <p:clrMapOvr>
    <a:masterClrMapping/>
  </p:clrMapOvr>
</p:sldLayout>
</file>

<file path=ppt/slideLayouts/slideLayout1313.xml><?xml version="1.0" encoding="utf-8"?>
<p:sldLayout xmlns:a="http://schemas.openxmlformats.org/drawingml/2006/main" xmlns:r="http://schemas.openxmlformats.org/officeDocument/2006/relationships" xmlns:p="http://schemas.openxmlformats.org/presentationml/2006/main" preserve="1" userDrawn="1">
  <p:cSld name="3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63472160"/>
      </p:ext>
    </p:extLst>
  </p:cSld>
  <p:clrMapOvr>
    <a:masterClrMapping/>
  </p:clrMapOvr>
</p:sldLayout>
</file>

<file path=ppt/slideLayouts/slideLayout1314.xml><?xml version="1.0" encoding="utf-8"?>
<p:sldLayout xmlns:a="http://schemas.openxmlformats.org/drawingml/2006/main" xmlns:r="http://schemas.openxmlformats.org/officeDocument/2006/relationships" xmlns:p="http://schemas.openxmlformats.org/presentationml/2006/main" type="obj" preserve="1">
  <p:cSld name="7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58711386"/>
      </p:ext>
    </p:extLst>
  </p:cSld>
  <p:clrMapOvr>
    <a:masterClrMapping/>
  </p:clrMapOvr>
</p:sldLayout>
</file>

<file path=ppt/slideLayouts/slideLayout1315.xml><?xml version="1.0" encoding="utf-8"?>
<p:sldLayout xmlns:a="http://schemas.openxmlformats.org/drawingml/2006/main" xmlns:r="http://schemas.openxmlformats.org/officeDocument/2006/relationships" xmlns:p="http://schemas.openxmlformats.org/presentationml/2006/main" preserve="1" userDrawn="1">
  <p:cSld name="3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85671479"/>
      </p:ext>
    </p:extLst>
  </p:cSld>
  <p:clrMapOvr>
    <a:masterClrMapping/>
  </p:clrMapOvr>
</p:sldLayout>
</file>

<file path=ppt/slideLayouts/slideLayout1316.xml><?xml version="1.0" encoding="utf-8"?>
<p:sldLayout xmlns:a="http://schemas.openxmlformats.org/drawingml/2006/main" xmlns:r="http://schemas.openxmlformats.org/officeDocument/2006/relationships" xmlns:p="http://schemas.openxmlformats.org/presentationml/2006/main" type="obj" preserve="1">
  <p:cSld name="7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05846320"/>
      </p:ext>
    </p:extLst>
  </p:cSld>
  <p:clrMapOvr>
    <a:masterClrMapping/>
  </p:clrMapOvr>
</p:sldLayout>
</file>

<file path=ppt/slideLayouts/slideLayout1317.xml><?xml version="1.0" encoding="utf-8"?>
<p:sldLayout xmlns:a="http://schemas.openxmlformats.org/drawingml/2006/main" xmlns:r="http://schemas.openxmlformats.org/officeDocument/2006/relationships" xmlns:p="http://schemas.openxmlformats.org/presentationml/2006/main" type="obj" preserve="1">
  <p:cSld name="4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84099270"/>
      </p:ext>
    </p:extLst>
  </p:cSld>
  <p:clrMapOvr>
    <a:masterClrMapping/>
  </p:clrMapOvr>
</p:sldLayout>
</file>

<file path=ppt/slideLayouts/slideLayout1318.xml><?xml version="1.0" encoding="utf-8"?>
<p:sldLayout xmlns:a="http://schemas.openxmlformats.org/drawingml/2006/main" xmlns:r="http://schemas.openxmlformats.org/officeDocument/2006/relationships" xmlns:p="http://schemas.openxmlformats.org/presentationml/2006/main" type="twoObj" preserve="1">
  <p:cSld name="3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27052126"/>
      </p:ext>
    </p:extLst>
  </p:cSld>
  <p:clrMapOvr>
    <a:masterClrMapping/>
  </p:clrMapOvr>
</p:sldLayout>
</file>

<file path=ppt/slideLayouts/slideLayout1319.xml><?xml version="1.0" encoding="utf-8"?>
<p:sldLayout xmlns:a="http://schemas.openxmlformats.org/drawingml/2006/main" xmlns:r="http://schemas.openxmlformats.org/officeDocument/2006/relationships" xmlns:p="http://schemas.openxmlformats.org/presentationml/2006/main" type="twoTxTwoObj" preserve="1">
  <p:cSld name="3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6131306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57949696"/>
      </p:ext>
    </p:extLst>
  </p:cSld>
  <p:clrMapOvr>
    <a:masterClrMapping/>
  </p:clrMapOvr>
</p:sldLayout>
</file>

<file path=ppt/slideLayouts/slideLayout1320.xml><?xml version="1.0" encoding="utf-8"?>
<p:sldLayout xmlns:a="http://schemas.openxmlformats.org/drawingml/2006/main" xmlns:r="http://schemas.openxmlformats.org/officeDocument/2006/relationships" xmlns:p="http://schemas.openxmlformats.org/presentationml/2006/main" preserve="1" userDrawn="1">
  <p:cSld name="3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22939689"/>
      </p:ext>
    </p:extLst>
  </p:cSld>
  <p:clrMapOvr>
    <a:masterClrMapping/>
  </p:clrMapOvr>
</p:sldLayout>
</file>

<file path=ppt/slideLayouts/slideLayout1321.xml><?xml version="1.0" encoding="utf-8"?>
<p:sldLayout xmlns:a="http://schemas.openxmlformats.org/drawingml/2006/main" xmlns:r="http://schemas.openxmlformats.org/officeDocument/2006/relationships" xmlns:p="http://schemas.openxmlformats.org/presentationml/2006/main" preserve="1" userDrawn="1">
  <p:cSld name="3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86013079"/>
      </p:ext>
    </p:extLst>
  </p:cSld>
  <p:clrMapOvr>
    <a:masterClrMapping/>
  </p:clrMapOvr>
</p:sldLayout>
</file>

<file path=ppt/slideLayouts/slideLayout1322.xml><?xml version="1.0" encoding="utf-8"?>
<p:sldLayout xmlns:a="http://schemas.openxmlformats.org/drawingml/2006/main" xmlns:r="http://schemas.openxmlformats.org/officeDocument/2006/relationships" xmlns:p="http://schemas.openxmlformats.org/presentationml/2006/main" type="blank" preserve="1">
  <p:cSld name="3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039060813"/>
      </p:ext>
    </p:extLst>
  </p:cSld>
  <p:clrMapOvr>
    <a:masterClrMapping/>
  </p:clrMapOvr>
</p:sldLayout>
</file>

<file path=ppt/slideLayouts/slideLayout1323.xml><?xml version="1.0" encoding="utf-8"?>
<p:sldLayout xmlns:a="http://schemas.openxmlformats.org/drawingml/2006/main" xmlns:r="http://schemas.openxmlformats.org/officeDocument/2006/relationships" xmlns:p="http://schemas.openxmlformats.org/presentationml/2006/main" type="titleOnly" preserve="1">
  <p:cSld name="3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9109455"/>
      </p:ext>
    </p:extLst>
  </p:cSld>
  <p:clrMapOvr>
    <a:masterClrMapping/>
  </p:clrMapOvr>
</p:sldLayout>
</file>

<file path=ppt/slideLayouts/slideLayout1324.xml><?xml version="1.0" encoding="utf-8"?>
<p:sldLayout xmlns:a="http://schemas.openxmlformats.org/drawingml/2006/main" xmlns:r="http://schemas.openxmlformats.org/officeDocument/2006/relationships" xmlns:p="http://schemas.openxmlformats.org/presentationml/2006/main" preserve="1" userDrawn="1">
  <p:cSld name="3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54066541"/>
      </p:ext>
    </p:extLst>
  </p:cSld>
  <p:clrMapOvr>
    <a:masterClrMapping/>
  </p:clrMapOvr>
</p:sldLayout>
</file>

<file path=ppt/slideLayouts/slideLayout1325.xml><?xml version="1.0" encoding="utf-8"?>
<p:sldLayout xmlns:a="http://schemas.openxmlformats.org/drawingml/2006/main" xmlns:r="http://schemas.openxmlformats.org/officeDocument/2006/relationships" xmlns:p="http://schemas.openxmlformats.org/presentationml/2006/main" preserve="1" userDrawn="1">
  <p:cSld name="3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47860288"/>
      </p:ext>
    </p:extLst>
  </p:cSld>
  <p:clrMapOvr>
    <a:masterClrMapping/>
  </p:clrMapOvr>
</p:sldLayout>
</file>

<file path=ppt/slideLayouts/slideLayout1326.xml><?xml version="1.0" encoding="utf-8"?>
<p:sldLayout xmlns:a="http://schemas.openxmlformats.org/drawingml/2006/main" xmlns:r="http://schemas.openxmlformats.org/officeDocument/2006/relationships" xmlns:p="http://schemas.openxmlformats.org/presentationml/2006/main" preserve="1" userDrawn="1">
  <p:cSld name="3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429153828"/>
      </p:ext>
    </p:extLst>
  </p:cSld>
  <p:clrMapOvr>
    <a:masterClrMapping/>
  </p:clrMapOvr>
</p:sldLayout>
</file>

<file path=ppt/slideLayouts/slideLayout1327.xml><?xml version="1.0" encoding="utf-8"?>
<p:sldLayout xmlns:a="http://schemas.openxmlformats.org/drawingml/2006/main" xmlns:r="http://schemas.openxmlformats.org/officeDocument/2006/relationships" xmlns:p="http://schemas.openxmlformats.org/presentationml/2006/main" type="obj" preserve="1">
  <p:cSld name="7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23590353"/>
      </p:ext>
    </p:extLst>
  </p:cSld>
  <p:clrMapOvr>
    <a:masterClrMapping/>
  </p:clrMapOvr>
</p:sldLayout>
</file>

<file path=ppt/slideLayouts/slideLayout1328.xml><?xml version="1.0" encoding="utf-8"?>
<p:sldLayout xmlns:a="http://schemas.openxmlformats.org/drawingml/2006/main" xmlns:r="http://schemas.openxmlformats.org/officeDocument/2006/relationships" xmlns:p="http://schemas.openxmlformats.org/presentationml/2006/main" type="obj" preserve="1">
  <p:cSld name="7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69724266"/>
      </p:ext>
    </p:extLst>
  </p:cSld>
  <p:clrMapOvr>
    <a:masterClrMapping/>
  </p:clrMapOvr>
</p:sldLayout>
</file>

<file path=ppt/slideLayouts/slideLayout1329.xml><?xml version="1.0" encoding="utf-8"?>
<p:sldLayout xmlns:a="http://schemas.openxmlformats.org/drawingml/2006/main" xmlns:r="http://schemas.openxmlformats.org/officeDocument/2006/relationships" xmlns:p="http://schemas.openxmlformats.org/presentationml/2006/main" type="obj" preserve="1">
  <p:cSld name="7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9509631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96907520"/>
      </p:ext>
    </p:extLst>
  </p:cSld>
  <p:clrMapOvr>
    <a:masterClrMapping/>
  </p:clrMapOvr>
</p:sldLayout>
</file>

<file path=ppt/slideLayouts/slideLayout1330.xml><?xml version="1.0" encoding="utf-8"?>
<p:sldLayout xmlns:a="http://schemas.openxmlformats.org/drawingml/2006/main" xmlns:r="http://schemas.openxmlformats.org/officeDocument/2006/relationships" xmlns:p="http://schemas.openxmlformats.org/presentationml/2006/main" preserve="1" userDrawn="1">
  <p:cSld name="3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8570082"/>
      </p:ext>
    </p:extLst>
  </p:cSld>
  <p:clrMapOvr>
    <a:masterClrMapping/>
  </p:clrMapOvr>
</p:sldLayout>
</file>

<file path=ppt/slideLayouts/slideLayout1331.xml><?xml version="1.0" encoding="utf-8"?>
<p:sldLayout xmlns:a="http://schemas.openxmlformats.org/drawingml/2006/main" xmlns:r="http://schemas.openxmlformats.org/officeDocument/2006/relationships" xmlns:p="http://schemas.openxmlformats.org/presentationml/2006/main" preserve="1" userDrawn="1">
  <p:cSld name="3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29656584"/>
      </p:ext>
    </p:extLst>
  </p:cSld>
  <p:clrMapOvr>
    <a:masterClrMapping/>
  </p:clrMapOvr>
</p:sldLayout>
</file>

<file path=ppt/slideLayouts/slideLayout1332.xml><?xml version="1.0" encoding="utf-8"?>
<p:sldLayout xmlns:a="http://schemas.openxmlformats.org/drawingml/2006/main" xmlns:r="http://schemas.openxmlformats.org/officeDocument/2006/relationships" xmlns:p="http://schemas.openxmlformats.org/presentationml/2006/main" preserve="1" userDrawn="1">
  <p:cSld name="3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934997953"/>
      </p:ext>
    </p:extLst>
  </p:cSld>
  <p:clrMapOvr>
    <a:masterClrMapping/>
  </p:clrMapOvr>
</p:sldLayout>
</file>

<file path=ppt/slideLayouts/slideLayout1333.xml><?xml version="1.0" encoding="utf-8"?>
<p:sldLayout xmlns:a="http://schemas.openxmlformats.org/drawingml/2006/main" xmlns:r="http://schemas.openxmlformats.org/officeDocument/2006/relationships" xmlns:p="http://schemas.openxmlformats.org/presentationml/2006/main" type="blank" preserve="1">
  <p:cSld name="3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652592699"/>
      </p:ext>
    </p:extLst>
  </p:cSld>
  <p:clrMapOvr>
    <a:masterClrMapping/>
  </p:clrMapOvr>
</p:sldLayout>
</file>

<file path=ppt/slideLayouts/slideLayout1334.xml><?xml version="1.0" encoding="utf-8"?>
<p:sldLayout xmlns:a="http://schemas.openxmlformats.org/drawingml/2006/main" xmlns:r="http://schemas.openxmlformats.org/officeDocument/2006/relationships" xmlns:p="http://schemas.openxmlformats.org/presentationml/2006/main" type="obj" preserve="1">
  <p:cSld name="7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4900462"/>
      </p:ext>
    </p:extLst>
  </p:cSld>
  <p:clrMapOvr>
    <a:masterClrMapping/>
  </p:clrMapOvr>
</p:sldLayout>
</file>

<file path=ppt/slideLayouts/slideLayout1335.xml><?xml version="1.0" encoding="utf-8"?>
<p:sldLayout xmlns:a="http://schemas.openxmlformats.org/drawingml/2006/main" xmlns:r="http://schemas.openxmlformats.org/officeDocument/2006/relationships" xmlns:p="http://schemas.openxmlformats.org/presentationml/2006/main" type="obj" preserve="1">
  <p:cSld name="4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29504743"/>
      </p:ext>
    </p:extLst>
  </p:cSld>
  <p:clrMapOvr>
    <a:masterClrMapping/>
  </p:clrMapOvr>
</p:sldLayout>
</file>

<file path=ppt/slideLayouts/slideLayout1336.xml><?xml version="1.0" encoding="utf-8"?>
<p:sldLayout xmlns:a="http://schemas.openxmlformats.org/drawingml/2006/main" xmlns:r="http://schemas.openxmlformats.org/officeDocument/2006/relationships" xmlns:p="http://schemas.openxmlformats.org/presentationml/2006/main" type="twoObj" preserve="1">
  <p:cSld name="3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16776171"/>
      </p:ext>
    </p:extLst>
  </p:cSld>
  <p:clrMapOvr>
    <a:masterClrMapping/>
  </p:clrMapOvr>
</p:sldLayout>
</file>

<file path=ppt/slideLayouts/slideLayout1337.xml><?xml version="1.0" encoding="utf-8"?>
<p:sldLayout xmlns:a="http://schemas.openxmlformats.org/drawingml/2006/main" xmlns:r="http://schemas.openxmlformats.org/officeDocument/2006/relationships" xmlns:p="http://schemas.openxmlformats.org/presentationml/2006/main" type="twoTxTwoObj" preserve="1">
  <p:cSld name="3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05943008"/>
      </p:ext>
    </p:extLst>
  </p:cSld>
  <p:clrMapOvr>
    <a:masterClrMapping/>
  </p:clrMapOvr>
</p:sldLayout>
</file>

<file path=ppt/slideLayouts/slideLayout1338.xml><?xml version="1.0" encoding="utf-8"?>
<p:sldLayout xmlns:a="http://schemas.openxmlformats.org/drawingml/2006/main" xmlns:r="http://schemas.openxmlformats.org/officeDocument/2006/relationships" xmlns:p="http://schemas.openxmlformats.org/presentationml/2006/main" type="titleOnly" preserve="1">
  <p:cSld name="3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55241497"/>
      </p:ext>
    </p:extLst>
  </p:cSld>
  <p:clrMapOvr>
    <a:masterClrMapping/>
  </p:clrMapOvr>
</p:sldLayout>
</file>

<file path=ppt/slideLayouts/slideLayout1339.xml><?xml version="1.0" encoding="utf-8"?>
<p:sldLayout xmlns:a="http://schemas.openxmlformats.org/drawingml/2006/main" xmlns:r="http://schemas.openxmlformats.org/officeDocument/2006/relationships" xmlns:p="http://schemas.openxmlformats.org/presentationml/2006/main" preserve="1" userDrawn="1">
  <p:cSld name="3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6403604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62774728"/>
      </p:ext>
    </p:extLst>
  </p:cSld>
  <p:clrMapOvr>
    <a:masterClrMapping/>
  </p:clrMapOvr>
</p:sldLayout>
</file>

<file path=ppt/slideLayouts/slideLayout1340.xml><?xml version="1.0" encoding="utf-8"?>
<p:sldLayout xmlns:a="http://schemas.openxmlformats.org/drawingml/2006/main" xmlns:r="http://schemas.openxmlformats.org/officeDocument/2006/relationships" xmlns:p="http://schemas.openxmlformats.org/presentationml/2006/main" type="blank" preserve="1">
  <p:cSld name="3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7256080"/>
      </p:ext>
    </p:extLst>
  </p:cSld>
  <p:clrMapOvr>
    <a:masterClrMapping/>
  </p:clrMapOvr>
</p:sldLayout>
</file>

<file path=ppt/slideLayouts/slideLayout1341.xml><?xml version="1.0" encoding="utf-8"?>
<p:sldLayout xmlns:a="http://schemas.openxmlformats.org/drawingml/2006/main" xmlns:r="http://schemas.openxmlformats.org/officeDocument/2006/relationships" xmlns:p="http://schemas.openxmlformats.org/presentationml/2006/main" type="obj" preserve="1">
  <p:cSld name="8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54406471"/>
      </p:ext>
    </p:extLst>
  </p:cSld>
  <p:clrMapOvr>
    <a:masterClrMapping/>
  </p:clrMapOvr>
</p:sldLayout>
</file>

<file path=ppt/slideLayouts/slideLayout1342.xml><?xml version="1.0" encoding="utf-8"?>
<p:sldLayout xmlns:a="http://schemas.openxmlformats.org/drawingml/2006/main" xmlns:r="http://schemas.openxmlformats.org/officeDocument/2006/relationships" xmlns:p="http://schemas.openxmlformats.org/presentationml/2006/main" type="obj" preserve="1">
  <p:cSld name="8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14012554"/>
      </p:ext>
    </p:extLst>
  </p:cSld>
  <p:clrMapOvr>
    <a:masterClrMapping/>
  </p:clrMapOvr>
</p:sldLayout>
</file>

<file path=ppt/slideLayouts/slideLayout1343.xml><?xml version="1.0" encoding="utf-8"?>
<p:sldLayout xmlns:a="http://schemas.openxmlformats.org/drawingml/2006/main" xmlns:r="http://schemas.openxmlformats.org/officeDocument/2006/relationships" xmlns:p="http://schemas.openxmlformats.org/presentationml/2006/main" showMasterSp="0" type="obj" preserve="1">
  <p:cSld name="5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438846393"/>
      </p:ext>
    </p:extLst>
  </p:cSld>
  <p:clrMapOvr>
    <a:masterClrMapping/>
  </p:clrMapOvr>
</p:sldLayout>
</file>

<file path=ppt/slideLayouts/slideLayout1344.xml><?xml version="1.0" encoding="utf-8"?>
<p:sldLayout xmlns:a="http://schemas.openxmlformats.org/drawingml/2006/main" xmlns:r="http://schemas.openxmlformats.org/officeDocument/2006/relationships" xmlns:p="http://schemas.openxmlformats.org/presentationml/2006/main" preserve="1" userDrawn="1">
  <p:cSld name="3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19971891"/>
      </p:ext>
    </p:extLst>
  </p:cSld>
  <p:clrMapOvr>
    <a:masterClrMapping/>
  </p:clrMapOvr>
</p:sldLayout>
</file>

<file path=ppt/slideLayouts/slideLayout1345.xml><?xml version="1.0" encoding="utf-8"?>
<p:sldLayout xmlns:a="http://schemas.openxmlformats.org/drawingml/2006/main" xmlns:r="http://schemas.openxmlformats.org/officeDocument/2006/relationships" xmlns:p="http://schemas.openxmlformats.org/presentationml/2006/main" preserve="1" userDrawn="1">
  <p:cSld name="3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52897146"/>
      </p:ext>
    </p:extLst>
  </p:cSld>
  <p:clrMapOvr>
    <a:masterClrMapping/>
  </p:clrMapOvr>
</p:sldLayout>
</file>

<file path=ppt/slideLayouts/slideLayout1346.xml><?xml version="1.0" encoding="utf-8"?>
<p:sldLayout xmlns:a="http://schemas.openxmlformats.org/drawingml/2006/main" xmlns:r="http://schemas.openxmlformats.org/officeDocument/2006/relationships" xmlns:p="http://schemas.openxmlformats.org/presentationml/2006/main" preserve="1" userDrawn="1">
  <p:cSld name="3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896998023"/>
      </p:ext>
    </p:extLst>
  </p:cSld>
  <p:clrMapOvr>
    <a:masterClrMapping/>
  </p:clrMapOvr>
</p:sldLayout>
</file>

<file path=ppt/slideLayouts/slideLayout1347.xml><?xml version="1.0" encoding="utf-8"?>
<p:sldLayout xmlns:a="http://schemas.openxmlformats.org/drawingml/2006/main" xmlns:r="http://schemas.openxmlformats.org/officeDocument/2006/relationships" xmlns:p="http://schemas.openxmlformats.org/presentationml/2006/main" type="obj" preserve="1">
  <p:cSld name="8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15890552"/>
      </p:ext>
    </p:extLst>
  </p:cSld>
  <p:clrMapOvr>
    <a:masterClrMapping/>
  </p:clrMapOvr>
</p:sldLayout>
</file>

<file path=ppt/slideLayouts/slideLayout1348.xml><?xml version="1.0" encoding="utf-8"?>
<p:sldLayout xmlns:a="http://schemas.openxmlformats.org/drawingml/2006/main" xmlns:r="http://schemas.openxmlformats.org/officeDocument/2006/relationships" xmlns:p="http://schemas.openxmlformats.org/presentationml/2006/main" type="obj" preserve="1">
  <p:cSld name="8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91509028"/>
      </p:ext>
    </p:extLst>
  </p:cSld>
  <p:clrMapOvr>
    <a:masterClrMapping/>
  </p:clrMapOvr>
</p:sldLayout>
</file>

<file path=ppt/slideLayouts/slideLayout1349.xml><?xml version="1.0" encoding="utf-8"?>
<p:sldLayout xmlns:a="http://schemas.openxmlformats.org/drawingml/2006/main" xmlns:r="http://schemas.openxmlformats.org/officeDocument/2006/relationships" xmlns:p="http://schemas.openxmlformats.org/presentationml/2006/main" type="obj" preserve="1">
  <p:cSld name="8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2590572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627363329"/>
      </p:ext>
    </p:extLst>
  </p:cSld>
  <p:clrMapOvr>
    <a:masterClrMapping/>
  </p:clrMapOvr>
</p:sldLayout>
</file>

<file path=ppt/slideLayouts/slideLayout1350.xml><?xml version="1.0" encoding="utf-8"?>
<p:sldLayout xmlns:a="http://schemas.openxmlformats.org/drawingml/2006/main" xmlns:r="http://schemas.openxmlformats.org/officeDocument/2006/relationships" xmlns:p="http://schemas.openxmlformats.org/presentationml/2006/main" type="obj" preserve="1">
  <p:cSld name="5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7768575"/>
      </p:ext>
    </p:extLst>
  </p:cSld>
  <p:clrMapOvr>
    <a:masterClrMapping/>
  </p:clrMapOvr>
</p:sldLayout>
</file>

<file path=ppt/slideLayouts/slideLayout1351.xml><?xml version="1.0" encoding="utf-8"?>
<p:sldLayout xmlns:a="http://schemas.openxmlformats.org/drawingml/2006/main" xmlns:r="http://schemas.openxmlformats.org/officeDocument/2006/relationships" xmlns:p="http://schemas.openxmlformats.org/presentationml/2006/main" type="twoObj" preserve="1">
  <p:cSld name="3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36962456"/>
      </p:ext>
    </p:extLst>
  </p:cSld>
  <p:clrMapOvr>
    <a:masterClrMapping/>
  </p:clrMapOvr>
</p:sldLayout>
</file>

<file path=ppt/slideLayouts/slideLayout1352.xml><?xml version="1.0" encoding="utf-8"?>
<p:sldLayout xmlns:a="http://schemas.openxmlformats.org/drawingml/2006/main" xmlns:r="http://schemas.openxmlformats.org/officeDocument/2006/relationships" xmlns:p="http://schemas.openxmlformats.org/presentationml/2006/main" type="twoTxTwoObj" preserve="1">
  <p:cSld name="3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5619131"/>
      </p:ext>
    </p:extLst>
  </p:cSld>
  <p:clrMapOvr>
    <a:masterClrMapping/>
  </p:clrMapOvr>
</p:sldLayout>
</file>

<file path=ppt/slideLayouts/slideLayout1353.xml><?xml version="1.0" encoding="utf-8"?>
<p:sldLayout xmlns:a="http://schemas.openxmlformats.org/drawingml/2006/main" xmlns:r="http://schemas.openxmlformats.org/officeDocument/2006/relationships" xmlns:p="http://schemas.openxmlformats.org/presentationml/2006/main" type="titleOnly" preserve="1">
  <p:cSld name="3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0524647"/>
      </p:ext>
    </p:extLst>
  </p:cSld>
  <p:clrMapOvr>
    <a:masterClrMapping/>
  </p:clrMapOvr>
</p:sldLayout>
</file>

<file path=ppt/slideLayouts/slideLayout1354.xml><?xml version="1.0" encoding="utf-8"?>
<p:sldLayout xmlns:a="http://schemas.openxmlformats.org/drawingml/2006/main" xmlns:r="http://schemas.openxmlformats.org/officeDocument/2006/relationships" xmlns:p="http://schemas.openxmlformats.org/presentationml/2006/main" preserve="1" userDrawn="1">
  <p:cSld name="3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2899755"/>
      </p:ext>
    </p:extLst>
  </p:cSld>
  <p:clrMapOvr>
    <a:masterClrMapping/>
  </p:clrMapOvr>
</p:sldLayout>
</file>

<file path=ppt/slideLayouts/slideLayout1355.xml><?xml version="1.0" encoding="utf-8"?>
<p:sldLayout xmlns:a="http://schemas.openxmlformats.org/drawingml/2006/main" xmlns:r="http://schemas.openxmlformats.org/officeDocument/2006/relationships" xmlns:p="http://schemas.openxmlformats.org/presentationml/2006/main" type="blank" preserve="1">
  <p:cSld name="3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59090932"/>
      </p:ext>
    </p:extLst>
  </p:cSld>
  <p:clrMapOvr>
    <a:masterClrMapping/>
  </p:clrMapOvr>
</p:sldLayout>
</file>

<file path=ppt/slideLayouts/slideLayout1356.xml><?xml version="1.0" encoding="utf-8"?>
<p:sldLayout xmlns:a="http://schemas.openxmlformats.org/drawingml/2006/main" xmlns:r="http://schemas.openxmlformats.org/officeDocument/2006/relationships" xmlns:p="http://schemas.openxmlformats.org/presentationml/2006/main" type="obj" preserve="1">
  <p:cSld name="8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24930165"/>
      </p:ext>
    </p:extLst>
  </p:cSld>
  <p:clrMapOvr>
    <a:masterClrMapping/>
  </p:clrMapOvr>
</p:sldLayout>
</file>

<file path=ppt/slideLayouts/slideLayout1357.xml><?xml version="1.0" encoding="utf-8"?>
<p:sldLayout xmlns:a="http://schemas.openxmlformats.org/drawingml/2006/main" xmlns:r="http://schemas.openxmlformats.org/officeDocument/2006/relationships" xmlns:p="http://schemas.openxmlformats.org/presentationml/2006/main" type="obj" preserve="1">
  <p:cSld name="8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99968619"/>
      </p:ext>
    </p:extLst>
  </p:cSld>
  <p:clrMapOvr>
    <a:masterClrMapping/>
  </p:clrMapOvr>
</p:sldLayout>
</file>

<file path=ppt/slideLayouts/slideLayout1358.xml><?xml version="1.0" encoding="utf-8"?>
<p:sldLayout xmlns:a="http://schemas.openxmlformats.org/drawingml/2006/main" xmlns:r="http://schemas.openxmlformats.org/officeDocument/2006/relationships" xmlns:p="http://schemas.openxmlformats.org/presentationml/2006/main" type="obj" preserve="1">
  <p:cSld name="8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07410212"/>
      </p:ext>
    </p:extLst>
  </p:cSld>
  <p:clrMapOvr>
    <a:masterClrMapping/>
  </p:clrMapOvr>
</p:sldLayout>
</file>

<file path=ppt/slideLayouts/slideLayout1359.xml><?xml version="1.0" encoding="utf-8"?>
<p:sldLayout xmlns:a="http://schemas.openxmlformats.org/drawingml/2006/main" xmlns:r="http://schemas.openxmlformats.org/officeDocument/2006/relationships" xmlns:p="http://schemas.openxmlformats.org/presentationml/2006/main" type="obj" preserve="1">
  <p:cSld name="8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9174548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59532752"/>
      </p:ext>
    </p:extLst>
  </p:cSld>
  <p:clrMapOvr>
    <a:masterClrMapping/>
  </p:clrMapOvr>
</p:sldLayout>
</file>

<file path=ppt/slideLayouts/slideLayout1360.xml><?xml version="1.0" encoding="utf-8"?>
<p:sldLayout xmlns:a="http://schemas.openxmlformats.org/drawingml/2006/main" xmlns:r="http://schemas.openxmlformats.org/officeDocument/2006/relationships" xmlns:p="http://schemas.openxmlformats.org/presentationml/2006/main" preserve="1" userDrawn="1">
  <p:cSld name="3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33155475"/>
      </p:ext>
    </p:extLst>
  </p:cSld>
  <p:clrMapOvr>
    <a:masterClrMapping/>
  </p:clrMapOvr>
</p:sldLayout>
</file>

<file path=ppt/slideLayouts/slideLayout1361.xml><?xml version="1.0" encoding="utf-8"?>
<p:sldLayout xmlns:a="http://schemas.openxmlformats.org/drawingml/2006/main" xmlns:r="http://schemas.openxmlformats.org/officeDocument/2006/relationships" xmlns:p="http://schemas.openxmlformats.org/presentationml/2006/main" preserve="1" userDrawn="1">
  <p:cSld name="3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89673356"/>
      </p:ext>
    </p:extLst>
  </p:cSld>
  <p:clrMapOvr>
    <a:masterClrMapping/>
  </p:clrMapOvr>
</p:sldLayout>
</file>

<file path=ppt/slideLayouts/slideLayout1362.xml><?xml version="1.0" encoding="utf-8"?>
<p:sldLayout xmlns:a="http://schemas.openxmlformats.org/drawingml/2006/main" xmlns:r="http://schemas.openxmlformats.org/officeDocument/2006/relationships" xmlns:p="http://schemas.openxmlformats.org/presentationml/2006/main" preserve="1" userDrawn="1">
  <p:cSld name="3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865134740"/>
      </p:ext>
    </p:extLst>
  </p:cSld>
  <p:clrMapOvr>
    <a:masterClrMapping/>
  </p:clrMapOvr>
</p:sldLayout>
</file>

<file path=ppt/slideLayouts/slideLayout1363.xml><?xml version="1.0" encoding="utf-8"?>
<p:sldLayout xmlns:a="http://schemas.openxmlformats.org/drawingml/2006/main" xmlns:r="http://schemas.openxmlformats.org/officeDocument/2006/relationships" xmlns:p="http://schemas.openxmlformats.org/presentationml/2006/main" type="obj" preserve="1">
  <p:cSld name="8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776129"/>
      </p:ext>
    </p:extLst>
  </p:cSld>
  <p:clrMapOvr>
    <a:masterClrMapping/>
  </p:clrMapOvr>
</p:sldLayout>
</file>

<file path=ppt/slideLayouts/slideLayout1364.xml><?xml version="1.0" encoding="utf-8"?>
<p:sldLayout xmlns:a="http://schemas.openxmlformats.org/drawingml/2006/main" xmlns:r="http://schemas.openxmlformats.org/officeDocument/2006/relationships" xmlns:p="http://schemas.openxmlformats.org/presentationml/2006/main" type="obj" preserve="1">
  <p:cSld name="5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00255712"/>
      </p:ext>
    </p:extLst>
  </p:cSld>
  <p:clrMapOvr>
    <a:masterClrMapping/>
  </p:clrMapOvr>
</p:sldLayout>
</file>

<file path=ppt/slideLayouts/slideLayout1365.xml><?xml version="1.0" encoding="utf-8"?>
<p:sldLayout xmlns:a="http://schemas.openxmlformats.org/drawingml/2006/main" xmlns:r="http://schemas.openxmlformats.org/officeDocument/2006/relationships" xmlns:p="http://schemas.openxmlformats.org/presentationml/2006/main" type="twoObj" preserve="1">
  <p:cSld name="3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27216607"/>
      </p:ext>
    </p:extLst>
  </p:cSld>
  <p:clrMapOvr>
    <a:masterClrMapping/>
  </p:clrMapOvr>
</p:sldLayout>
</file>

<file path=ppt/slideLayouts/slideLayout1366.xml><?xml version="1.0" encoding="utf-8"?>
<p:sldLayout xmlns:a="http://schemas.openxmlformats.org/drawingml/2006/main" xmlns:r="http://schemas.openxmlformats.org/officeDocument/2006/relationships" xmlns:p="http://schemas.openxmlformats.org/presentationml/2006/main" type="twoTxTwoObj" preserve="1">
  <p:cSld name="3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89800594"/>
      </p:ext>
    </p:extLst>
  </p:cSld>
  <p:clrMapOvr>
    <a:masterClrMapping/>
  </p:clrMapOvr>
</p:sldLayout>
</file>

<file path=ppt/slideLayouts/slideLayout1367.xml><?xml version="1.0" encoding="utf-8"?>
<p:sldLayout xmlns:a="http://schemas.openxmlformats.org/drawingml/2006/main" xmlns:r="http://schemas.openxmlformats.org/officeDocument/2006/relationships" xmlns:p="http://schemas.openxmlformats.org/presentationml/2006/main" type="titleOnly" preserve="1">
  <p:cSld name="3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64387289"/>
      </p:ext>
    </p:extLst>
  </p:cSld>
  <p:clrMapOvr>
    <a:masterClrMapping/>
  </p:clrMapOvr>
</p:sldLayout>
</file>

<file path=ppt/slideLayouts/slideLayout1368.xml><?xml version="1.0" encoding="utf-8"?>
<p:sldLayout xmlns:a="http://schemas.openxmlformats.org/drawingml/2006/main" xmlns:r="http://schemas.openxmlformats.org/officeDocument/2006/relationships" xmlns:p="http://schemas.openxmlformats.org/presentationml/2006/main" preserve="1" userDrawn="1">
  <p:cSld name="3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42711815"/>
      </p:ext>
    </p:extLst>
  </p:cSld>
  <p:clrMapOvr>
    <a:masterClrMapping/>
  </p:clrMapOvr>
</p:sldLayout>
</file>

<file path=ppt/slideLayouts/slideLayout1369.xml><?xml version="1.0" encoding="utf-8"?>
<p:sldLayout xmlns:a="http://schemas.openxmlformats.org/drawingml/2006/main" xmlns:r="http://schemas.openxmlformats.org/officeDocument/2006/relationships" xmlns:p="http://schemas.openxmlformats.org/presentationml/2006/main" type="blank" preserve="1">
  <p:cSld name="3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57821396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59463894"/>
      </p:ext>
    </p:extLst>
  </p:cSld>
  <p:clrMapOvr>
    <a:masterClrMapping/>
  </p:clrMapOvr>
</p:sldLayout>
</file>

<file path=ppt/slideLayouts/slideLayout1370.xml><?xml version="1.0" encoding="utf-8"?>
<p:sldLayout xmlns:a="http://schemas.openxmlformats.org/drawingml/2006/main" xmlns:r="http://schemas.openxmlformats.org/officeDocument/2006/relationships" xmlns:p="http://schemas.openxmlformats.org/presentationml/2006/main" preserve="1" userDrawn="1">
  <p:cSld name="3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93765961"/>
      </p:ext>
    </p:extLst>
  </p:cSld>
  <p:clrMapOvr>
    <a:masterClrMapping/>
  </p:clrMapOvr>
</p:sldLayout>
</file>

<file path=ppt/slideLayouts/slideLayout1371.xml><?xml version="1.0" encoding="utf-8"?>
<p:sldLayout xmlns:a="http://schemas.openxmlformats.org/drawingml/2006/main" xmlns:r="http://schemas.openxmlformats.org/officeDocument/2006/relationships" xmlns:p="http://schemas.openxmlformats.org/presentationml/2006/main" preserve="1" userDrawn="1">
  <p:cSld name="3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37836905"/>
      </p:ext>
    </p:extLst>
  </p:cSld>
  <p:clrMapOvr>
    <a:masterClrMapping/>
  </p:clrMapOvr>
</p:sldLayout>
</file>

<file path=ppt/slideLayouts/slideLayout1372.xml><?xml version="1.0" encoding="utf-8"?>
<p:sldLayout xmlns:a="http://schemas.openxmlformats.org/drawingml/2006/main" xmlns:r="http://schemas.openxmlformats.org/officeDocument/2006/relationships" xmlns:p="http://schemas.openxmlformats.org/presentationml/2006/main" preserve="1" userDrawn="1">
  <p:cSld name="3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241727339"/>
      </p:ext>
    </p:extLst>
  </p:cSld>
  <p:clrMapOvr>
    <a:masterClrMapping/>
  </p:clrMapOvr>
</p:sldLayout>
</file>

<file path=ppt/slideLayouts/slideLayout1373.xml><?xml version="1.0" encoding="utf-8"?>
<p:sldLayout xmlns:a="http://schemas.openxmlformats.org/drawingml/2006/main" xmlns:r="http://schemas.openxmlformats.org/officeDocument/2006/relationships" xmlns:p="http://schemas.openxmlformats.org/presentationml/2006/main" type="obj" preserve="1">
  <p:cSld name="9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3180606"/>
      </p:ext>
    </p:extLst>
  </p:cSld>
  <p:clrMapOvr>
    <a:masterClrMapping/>
  </p:clrMapOvr>
</p:sldLayout>
</file>

<file path=ppt/slideLayouts/slideLayout1374.xml><?xml version="1.0" encoding="utf-8"?>
<p:sldLayout xmlns:a="http://schemas.openxmlformats.org/drawingml/2006/main" xmlns:r="http://schemas.openxmlformats.org/officeDocument/2006/relationships" xmlns:p="http://schemas.openxmlformats.org/presentationml/2006/main" type="obj" preserve="1">
  <p:cSld name="5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8795183"/>
      </p:ext>
    </p:extLst>
  </p:cSld>
  <p:clrMapOvr>
    <a:masterClrMapping/>
  </p:clrMapOvr>
</p:sldLayout>
</file>

<file path=ppt/slideLayouts/slideLayout1375.xml><?xml version="1.0" encoding="utf-8"?>
<p:sldLayout xmlns:a="http://schemas.openxmlformats.org/drawingml/2006/main" xmlns:r="http://schemas.openxmlformats.org/officeDocument/2006/relationships" xmlns:p="http://schemas.openxmlformats.org/presentationml/2006/main" type="twoObj" preserve="1">
  <p:cSld name="3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05350785"/>
      </p:ext>
    </p:extLst>
  </p:cSld>
  <p:clrMapOvr>
    <a:masterClrMapping/>
  </p:clrMapOvr>
</p:sldLayout>
</file>

<file path=ppt/slideLayouts/slideLayout1376.xml><?xml version="1.0" encoding="utf-8"?>
<p:sldLayout xmlns:a="http://schemas.openxmlformats.org/drawingml/2006/main" xmlns:r="http://schemas.openxmlformats.org/officeDocument/2006/relationships" xmlns:p="http://schemas.openxmlformats.org/presentationml/2006/main" type="twoTxTwoObj" preserve="1">
  <p:cSld name="3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1912704"/>
      </p:ext>
    </p:extLst>
  </p:cSld>
  <p:clrMapOvr>
    <a:masterClrMapping/>
  </p:clrMapOvr>
</p:sldLayout>
</file>

<file path=ppt/slideLayouts/slideLayout1377.xml><?xml version="1.0" encoding="utf-8"?>
<p:sldLayout xmlns:a="http://schemas.openxmlformats.org/drawingml/2006/main" xmlns:r="http://schemas.openxmlformats.org/officeDocument/2006/relationships" xmlns:p="http://schemas.openxmlformats.org/presentationml/2006/main" type="titleOnly" preserve="1">
  <p:cSld name="3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88970817"/>
      </p:ext>
    </p:extLst>
  </p:cSld>
  <p:clrMapOvr>
    <a:masterClrMapping/>
  </p:clrMapOvr>
</p:sldLayout>
</file>

<file path=ppt/slideLayouts/slideLayout1378.xml><?xml version="1.0" encoding="utf-8"?>
<p:sldLayout xmlns:a="http://schemas.openxmlformats.org/drawingml/2006/main" xmlns:r="http://schemas.openxmlformats.org/officeDocument/2006/relationships" xmlns:p="http://schemas.openxmlformats.org/presentationml/2006/main" preserve="1" userDrawn="1">
  <p:cSld name="3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25178456"/>
      </p:ext>
    </p:extLst>
  </p:cSld>
  <p:clrMapOvr>
    <a:masterClrMapping/>
  </p:clrMapOvr>
</p:sldLayout>
</file>

<file path=ppt/slideLayouts/slideLayout1379.xml><?xml version="1.0" encoding="utf-8"?>
<p:sldLayout xmlns:a="http://schemas.openxmlformats.org/drawingml/2006/main" xmlns:r="http://schemas.openxmlformats.org/officeDocument/2006/relationships" xmlns:p="http://schemas.openxmlformats.org/presentationml/2006/main" type="blank" preserve="1">
  <p:cSld name="3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75145091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2727692"/>
      </p:ext>
    </p:extLst>
  </p:cSld>
  <p:clrMapOvr>
    <a:masterClrMapping/>
  </p:clrMapOvr>
</p:sldLayout>
</file>

<file path=ppt/slideLayouts/slideLayout1380.xml><?xml version="1.0" encoding="utf-8"?>
<p:sldLayout xmlns:a="http://schemas.openxmlformats.org/drawingml/2006/main" xmlns:r="http://schemas.openxmlformats.org/officeDocument/2006/relationships" xmlns:p="http://schemas.openxmlformats.org/presentationml/2006/main" type="obj" preserve="1">
  <p:cSld name="9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00227486"/>
      </p:ext>
    </p:extLst>
  </p:cSld>
  <p:clrMapOvr>
    <a:masterClrMapping/>
  </p:clrMapOvr>
</p:sldLayout>
</file>

<file path=ppt/slideLayouts/slideLayout1381.xml><?xml version="1.0" encoding="utf-8"?>
<p:sldLayout xmlns:a="http://schemas.openxmlformats.org/drawingml/2006/main" xmlns:r="http://schemas.openxmlformats.org/officeDocument/2006/relationships" xmlns:p="http://schemas.openxmlformats.org/presentationml/2006/main" preserve="1" userDrawn="1">
  <p:cSld name="3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63048501"/>
      </p:ext>
    </p:extLst>
  </p:cSld>
  <p:clrMapOvr>
    <a:masterClrMapping/>
  </p:clrMapOvr>
</p:sldLayout>
</file>

<file path=ppt/slideLayouts/slideLayout1382.xml><?xml version="1.0" encoding="utf-8"?>
<p:sldLayout xmlns:a="http://schemas.openxmlformats.org/drawingml/2006/main" xmlns:r="http://schemas.openxmlformats.org/officeDocument/2006/relationships" xmlns:p="http://schemas.openxmlformats.org/presentationml/2006/main" preserve="1" userDrawn="1">
  <p:cSld name="3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70496402"/>
      </p:ext>
    </p:extLst>
  </p:cSld>
  <p:clrMapOvr>
    <a:masterClrMapping/>
  </p:clrMapOvr>
</p:sldLayout>
</file>

<file path=ppt/slideLayouts/slideLayout1383.xml><?xml version="1.0" encoding="utf-8"?>
<p:sldLayout xmlns:a="http://schemas.openxmlformats.org/drawingml/2006/main" xmlns:r="http://schemas.openxmlformats.org/officeDocument/2006/relationships" xmlns:p="http://schemas.openxmlformats.org/presentationml/2006/main" preserve="1" userDrawn="1">
  <p:cSld name="4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969582405"/>
      </p:ext>
    </p:extLst>
  </p:cSld>
  <p:clrMapOvr>
    <a:masterClrMapping/>
  </p:clrMapOvr>
</p:sldLayout>
</file>

<file path=ppt/slideLayouts/slideLayout1384.xml><?xml version="1.0" encoding="utf-8"?>
<p:sldLayout xmlns:a="http://schemas.openxmlformats.org/drawingml/2006/main" xmlns:r="http://schemas.openxmlformats.org/officeDocument/2006/relationships" xmlns:p="http://schemas.openxmlformats.org/presentationml/2006/main" type="obj" preserve="1">
  <p:cSld name="9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49250648"/>
      </p:ext>
    </p:extLst>
  </p:cSld>
  <p:clrMapOvr>
    <a:masterClrMapping/>
  </p:clrMapOvr>
</p:sldLayout>
</file>

<file path=ppt/slideLayouts/slideLayout1385.xml><?xml version="1.0" encoding="utf-8"?>
<p:sldLayout xmlns:a="http://schemas.openxmlformats.org/drawingml/2006/main" xmlns:r="http://schemas.openxmlformats.org/officeDocument/2006/relationships" xmlns:p="http://schemas.openxmlformats.org/presentationml/2006/main" type="obj" preserve="1">
  <p:cSld name="5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51597973"/>
      </p:ext>
    </p:extLst>
  </p:cSld>
  <p:clrMapOvr>
    <a:masterClrMapping/>
  </p:clrMapOvr>
</p:sldLayout>
</file>

<file path=ppt/slideLayouts/slideLayout1386.xml><?xml version="1.0" encoding="utf-8"?>
<p:sldLayout xmlns:a="http://schemas.openxmlformats.org/drawingml/2006/main" xmlns:r="http://schemas.openxmlformats.org/officeDocument/2006/relationships" xmlns:p="http://schemas.openxmlformats.org/presentationml/2006/main" type="twoObj" preserve="1">
  <p:cSld name="3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08645114"/>
      </p:ext>
    </p:extLst>
  </p:cSld>
  <p:clrMapOvr>
    <a:masterClrMapping/>
  </p:clrMapOvr>
</p:sldLayout>
</file>

<file path=ppt/slideLayouts/slideLayout1387.xml><?xml version="1.0" encoding="utf-8"?>
<p:sldLayout xmlns:a="http://schemas.openxmlformats.org/drawingml/2006/main" xmlns:r="http://schemas.openxmlformats.org/officeDocument/2006/relationships" xmlns:p="http://schemas.openxmlformats.org/presentationml/2006/main" type="twoTxTwoObj" preserve="1">
  <p:cSld name="3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88484098"/>
      </p:ext>
    </p:extLst>
  </p:cSld>
  <p:clrMapOvr>
    <a:masterClrMapping/>
  </p:clrMapOvr>
</p:sldLayout>
</file>

<file path=ppt/slideLayouts/slideLayout1388.xml><?xml version="1.0" encoding="utf-8"?>
<p:sldLayout xmlns:a="http://schemas.openxmlformats.org/drawingml/2006/main" xmlns:r="http://schemas.openxmlformats.org/officeDocument/2006/relationships" xmlns:p="http://schemas.openxmlformats.org/presentationml/2006/main" type="titleOnly" preserve="1">
  <p:cSld name="3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4286648"/>
      </p:ext>
    </p:extLst>
  </p:cSld>
  <p:clrMapOvr>
    <a:masterClrMapping/>
  </p:clrMapOvr>
</p:sldLayout>
</file>

<file path=ppt/slideLayouts/slideLayout1389.xml><?xml version="1.0" encoding="utf-8"?>
<p:sldLayout xmlns:a="http://schemas.openxmlformats.org/drawingml/2006/main" xmlns:r="http://schemas.openxmlformats.org/officeDocument/2006/relationships" xmlns:p="http://schemas.openxmlformats.org/presentationml/2006/main" preserve="1" userDrawn="1">
  <p:cSld name="3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1491923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6647170"/>
      </p:ext>
    </p:extLst>
  </p:cSld>
  <p:clrMapOvr>
    <a:masterClrMapping/>
  </p:clrMapOvr>
</p:sldLayout>
</file>

<file path=ppt/slideLayouts/slideLayout1390.xml><?xml version="1.0" encoding="utf-8"?>
<p:sldLayout xmlns:a="http://schemas.openxmlformats.org/drawingml/2006/main" xmlns:r="http://schemas.openxmlformats.org/officeDocument/2006/relationships" xmlns:p="http://schemas.openxmlformats.org/presentationml/2006/main" type="blank" preserve="1">
  <p:cSld name="3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20678726"/>
      </p:ext>
    </p:extLst>
  </p:cSld>
  <p:clrMapOvr>
    <a:masterClrMapping/>
  </p:clrMapOvr>
</p:sldLayout>
</file>

<file path=ppt/slideLayouts/slideLayout1391.xml><?xml version="1.0" encoding="utf-8"?>
<p:sldLayout xmlns:a="http://schemas.openxmlformats.org/drawingml/2006/main" xmlns:r="http://schemas.openxmlformats.org/officeDocument/2006/relationships" xmlns:p="http://schemas.openxmlformats.org/presentationml/2006/main" type="obj" preserve="1">
  <p:cSld name="9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05027241"/>
      </p:ext>
    </p:extLst>
  </p:cSld>
  <p:clrMapOvr>
    <a:masterClrMapping/>
  </p:clrMapOvr>
</p:sldLayout>
</file>

<file path=ppt/slideLayouts/slideLayout1392.xml><?xml version="1.0" encoding="utf-8"?>
<p:sldLayout xmlns:a="http://schemas.openxmlformats.org/drawingml/2006/main" xmlns:r="http://schemas.openxmlformats.org/officeDocument/2006/relationships" xmlns:p="http://schemas.openxmlformats.org/presentationml/2006/main" type="obj" preserve="1">
  <p:cSld name="9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35718643"/>
      </p:ext>
    </p:extLst>
  </p:cSld>
  <p:clrMapOvr>
    <a:masterClrMapping/>
  </p:clrMapOvr>
</p:sldLayout>
</file>

<file path=ppt/slideLayouts/slideLayout1393.xml><?xml version="1.0" encoding="utf-8"?>
<p:sldLayout xmlns:a="http://schemas.openxmlformats.org/drawingml/2006/main" xmlns:r="http://schemas.openxmlformats.org/officeDocument/2006/relationships" xmlns:p="http://schemas.openxmlformats.org/presentationml/2006/main" type="obj" preserve="1">
  <p:cSld name="9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95223882"/>
      </p:ext>
    </p:extLst>
  </p:cSld>
  <p:clrMapOvr>
    <a:masterClrMapping/>
  </p:clrMapOvr>
</p:sldLayout>
</file>

<file path=ppt/slideLayouts/slideLayout1394.xml><?xml version="1.0" encoding="utf-8"?>
<p:sldLayout xmlns:a="http://schemas.openxmlformats.org/drawingml/2006/main" xmlns:r="http://schemas.openxmlformats.org/officeDocument/2006/relationships" xmlns:p="http://schemas.openxmlformats.org/presentationml/2006/main" type="title">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662291614"/>
      </p:ext>
    </p:extLst>
  </p:cSld>
  <p:clrMapOvr>
    <a:masterClrMapping/>
  </p:clrMapOvr>
</p:sldLayout>
</file>

<file path=ppt/slideLayouts/slideLayout1395.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855819518"/>
      </p:ext>
    </p:extLst>
  </p:cSld>
  <p:clrMapOvr>
    <a:masterClrMapping/>
  </p:clrMapOvr>
</p:sldLayout>
</file>

<file path=ppt/slideLayouts/slideLayout1396.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796826123"/>
      </p:ext>
    </p:extLst>
  </p:cSld>
  <p:clrMapOvr>
    <a:masterClrMapping/>
  </p:clrMapOvr>
</p:sldLayout>
</file>

<file path=ppt/slideLayouts/slideLayout1397.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77016840"/>
      </p:ext>
    </p:extLst>
  </p:cSld>
  <p:clrMapOvr>
    <a:masterClrMapping/>
  </p:clrMapOvr>
</p:sldLayout>
</file>

<file path=ppt/slideLayouts/slideLayout1398.xml><?xml version="1.0" encoding="utf-8"?>
<p:sldLayout xmlns:a="http://schemas.openxmlformats.org/drawingml/2006/main" xmlns:r="http://schemas.openxmlformats.org/officeDocument/2006/relationships" xmlns:p="http://schemas.openxmlformats.org/presentationml/2006/main">
  <p:cSld name="5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148044567"/>
      </p:ext>
    </p:extLst>
  </p:cSld>
  <p:clrMapOvr>
    <a:masterClrMapping/>
  </p:clrMapOvr>
</p:sldLayout>
</file>

<file path=ppt/slideLayouts/slideLayout1399.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11602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8279891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26791542"/>
      </p:ext>
    </p:extLst>
  </p:cSld>
  <p:clrMapOvr>
    <a:masterClrMapping/>
  </p:clrMapOvr>
</p:sldLayout>
</file>

<file path=ppt/slideLayouts/slideLayout1400.xml><?xml version="1.0" encoding="utf-8"?>
<p:sldLayout xmlns:a="http://schemas.openxmlformats.org/drawingml/2006/main" xmlns:r="http://schemas.openxmlformats.org/officeDocument/2006/relationships" xmlns:p="http://schemas.openxmlformats.org/presentationml/2006/main" userDrawn="1">
  <p:cSld name="1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121985038"/>
      </p:ext>
    </p:extLst>
  </p:cSld>
  <p:clrMapOvr>
    <a:masterClrMapping/>
  </p:clrMapOvr>
</p:sldLayout>
</file>

<file path=ppt/slideLayouts/slideLayout1401.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01186227"/>
      </p:ext>
    </p:extLst>
  </p:cSld>
  <p:clrMapOvr>
    <a:masterClrMapping/>
  </p:clrMapOvr>
</p:sldLayout>
</file>

<file path=ppt/slideLayouts/slideLayout1402.xml><?xml version="1.0" encoding="utf-8"?>
<p:sldLayout xmlns:a="http://schemas.openxmlformats.org/drawingml/2006/main" xmlns:r="http://schemas.openxmlformats.org/officeDocument/2006/relationships" xmlns:p="http://schemas.openxmlformats.org/presentationml/2006/main">
  <p:cSld name="5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510668315"/>
      </p:ext>
    </p:extLst>
  </p:cSld>
  <p:clrMapOvr>
    <a:masterClrMapping/>
  </p:clrMapOvr>
</p:sldLayout>
</file>

<file path=ppt/slideLayouts/slideLayout1403.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00403344"/>
      </p:ext>
    </p:extLst>
  </p:cSld>
  <p:clrMapOvr>
    <a:masterClrMapping/>
  </p:clrMapOvr>
</p:sldLayout>
</file>

<file path=ppt/slideLayouts/slideLayout1404.xml><?xml version="1.0" encoding="utf-8"?>
<p:sldLayout xmlns:a="http://schemas.openxmlformats.org/drawingml/2006/main" xmlns:r="http://schemas.openxmlformats.org/officeDocument/2006/relationships" xmlns:p="http://schemas.openxmlformats.org/presentationml/2006/main" userDrawn="1">
  <p:cSld name="1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841739600"/>
      </p:ext>
    </p:extLst>
  </p:cSld>
  <p:clrMapOvr>
    <a:masterClrMapping/>
  </p:clrMapOvr>
</p:sldLayout>
</file>

<file path=ppt/slideLayouts/slideLayout1405.xml><?xml version="1.0" encoding="utf-8"?>
<p:sldLayout xmlns:a="http://schemas.openxmlformats.org/drawingml/2006/main" xmlns:r="http://schemas.openxmlformats.org/officeDocument/2006/relationships" xmlns:p="http://schemas.openxmlformats.org/presentationml/2006/main" userDrawn="1">
  <p:cSld name="1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770432828"/>
      </p:ext>
    </p:extLst>
  </p:cSld>
  <p:clrMapOvr>
    <a:masterClrMapping/>
  </p:clrMapOvr>
</p:sldLayout>
</file>

<file path=ppt/slideLayouts/slideLayout1406.xml><?xml version="1.0" encoding="utf-8"?>
<p:sldLayout xmlns:a="http://schemas.openxmlformats.org/drawingml/2006/main" xmlns:r="http://schemas.openxmlformats.org/officeDocument/2006/relationships" xmlns:p="http://schemas.openxmlformats.org/presentationml/2006/main" userDrawn="1">
  <p:cSld name="1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077810434"/>
      </p:ext>
    </p:extLst>
  </p:cSld>
  <p:clrMapOvr>
    <a:masterClrMapping/>
  </p:clrMapOvr>
</p:sldLayout>
</file>

<file path=ppt/slideLayouts/slideLayout1407.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81001042"/>
      </p:ext>
    </p:extLst>
  </p:cSld>
  <p:clrMapOvr>
    <a:masterClrMapping/>
  </p:clrMapOvr>
</p:sldLayout>
</file>

<file path=ppt/slideLayouts/slideLayout1408.xml><?xml version="1.0" encoding="utf-8"?>
<p:sldLayout xmlns:a="http://schemas.openxmlformats.org/drawingml/2006/main" xmlns:r="http://schemas.openxmlformats.org/officeDocument/2006/relationships" xmlns:p="http://schemas.openxmlformats.org/presentationml/2006/main">
  <p:cSld name="5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37838152"/>
      </p:ext>
    </p:extLst>
  </p:cSld>
  <p:clrMapOvr>
    <a:masterClrMapping/>
  </p:clrMapOvr>
</p:sldLayout>
</file>

<file path=ppt/slideLayouts/slideLayout1409.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8502240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69632276"/>
      </p:ext>
    </p:extLst>
  </p:cSld>
  <p:clrMapOvr>
    <a:masterClrMapping/>
  </p:clrMapOvr>
</p:sldLayout>
</file>

<file path=ppt/slideLayouts/slideLayout1410.xml><?xml version="1.0" encoding="utf-8"?>
<p:sldLayout xmlns:a="http://schemas.openxmlformats.org/drawingml/2006/main" xmlns:r="http://schemas.openxmlformats.org/officeDocument/2006/relationships" xmlns:p="http://schemas.openxmlformats.org/presentationml/2006/main" userDrawn="1">
  <p:cSld name="2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215911041"/>
      </p:ext>
    </p:extLst>
  </p:cSld>
  <p:clrMapOvr>
    <a:masterClrMapping/>
  </p:clrMapOvr>
</p:sldLayout>
</file>

<file path=ppt/slideLayouts/slideLayout1411.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28224431"/>
      </p:ext>
    </p:extLst>
  </p:cSld>
  <p:clrMapOvr>
    <a:masterClrMapping/>
  </p:clrMapOvr>
</p:sldLayout>
</file>

<file path=ppt/slideLayouts/slideLayout1412.xml><?xml version="1.0" encoding="utf-8"?>
<p:sldLayout xmlns:a="http://schemas.openxmlformats.org/drawingml/2006/main" xmlns:r="http://schemas.openxmlformats.org/officeDocument/2006/relationships" xmlns:p="http://schemas.openxmlformats.org/presentationml/2006/main">
  <p:cSld name="5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094869946"/>
      </p:ext>
    </p:extLst>
  </p:cSld>
  <p:clrMapOvr>
    <a:masterClrMapping/>
  </p:clrMapOvr>
</p:sldLayout>
</file>

<file path=ppt/slideLayouts/slideLayout1413.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34112234"/>
      </p:ext>
    </p:extLst>
  </p:cSld>
  <p:clrMapOvr>
    <a:masterClrMapping/>
  </p:clrMapOvr>
</p:sldLayout>
</file>

<file path=ppt/slideLayouts/slideLayout1414.xml><?xml version="1.0" encoding="utf-8"?>
<p:sldLayout xmlns:a="http://schemas.openxmlformats.org/drawingml/2006/main" xmlns:r="http://schemas.openxmlformats.org/officeDocument/2006/relationships" xmlns:p="http://schemas.openxmlformats.org/presentationml/2006/main" userDrawn="1">
  <p:cSld name="2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533192793"/>
      </p:ext>
    </p:extLst>
  </p:cSld>
  <p:clrMapOvr>
    <a:masterClrMapping/>
  </p:clrMapOvr>
</p:sldLayout>
</file>

<file path=ppt/slideLayouts/slideLayout1415.xml><?xml version="1.0" encoding="utf-8"?>
<p:sldLayout xmlns:a="http://schemas.openxmlformats.org/drawingml/2006/main" xmlns:r="http://schemas.openxmlformats.org/officeDocument/2006/relationships" xmlns:p="http://schemas.openxmlformats.org/presentationml/2006/main" userDrawn="1">
  <p:cSld name="2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472344358"/>
      </p:ext>
    </p:extLst>
  </p:cSld>
  <p:clrMapOvr>
    <a:masterClrMapping/>
  </p:clrMapOvr>
</p:sldLayout>
</file>

<file path=ppt/slideLayouts/slideLayout1416.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47891677"/>
      </p:ext>
    </p:extLst>
  </p:cSld>
  <p:clrMapOvr>
    <a:masterClrMapping/>
  </p:clrMapOvr>
</p:sldLayout>
</file>

<file path=ppt/slideLayouts/slideLayout1417.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563372495"/>
      </p:ext>
    </p:extLst>
  </p:cSld>
  <p:clrMapOvr>
    <a:masterClrMapping/>
  </p:clrMapOvr>
</p:sldLayout>
</file>

<file path=ppt/slideLayouts/slideLayout1418.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83532700"/>
      </p:ext>
    </p:extLst>
  </p:cSld>
  <p:clrMapOvr>
    <a:masterClrMapping/>
  </p:clrMapOvr>
</p:sldLayout>
</file>

<file path=ppt/slideLayouts/slideLayout1419.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2185085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543247745"/>
      </p:ext>
    </p:extLst>
  </p:cSld>
  <p:clrMapOvr>
    <a:masterClrMapping/>
  </p:clrMapOvr>
</p:sldLayout>
</file>

<file path=ppt/slideLayouts/slideLayout1420.xml><?xml version="1.0" encoding="utf-8"?>
<p:sldLayout xmlns:a="http://schemas.openxmlformats.org/drawingml/2006/main" xmlns:r="http://schemas.openxmlformats.org/officeDocument/2006/relationships" xmlns:p="http://schemas.openxmlformats.org/presentationml/2006/main">
  <p:cSld name="5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44253178"/>
      </p:ext>
    </p:extLst>
  </p:cSld>
  <p:clrMapOvr>
    <a:masterClrMapping/>
  </p:clrMapOvr>
</p:sldLayout>
</file>

<file path=ppt/slideLayouts/slideLayout1421.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69588142"/>
      </p:ext>
    </p:extLst>
  </p:cSld>
  <p:clrMapOvr>
    <a:masterClrMapping/>
  </p:clrMapOvr>
</p:sldLayout>
</file>

<file path=ppt/slideLayouts/slideLayout1422.xml><?xml version="1.0" encoding="utf-8"?>
<p:sldLayout xmlns:a="http://schemas.openxmlformats.org/drawingml/2006/main" xmlns:r="http://schemas.openxmlformats.org/officeDocument/2006/relationships" xmlns:p="http://schemas.openxmlformats.org/presentationml/2006/main" userDrawn="1">
  <p:cSld name="2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33206821"/>
      </p:ext>
    </p:extLst>
  </p:cSld>
  <p:clrMapOvr>
    <a:masterClrMapping/>
  </p:clrMapOvr>
</p:sldLayout>
</file>

<file path=ppt/slideLayouts/slideLayout1423.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26003530"/>
      </p:ext>
    </p:extLst>
  </p:cSld>
  <p:clrMapOvr>
    <a:masterClrMapping/>
  </p:clrMapOvr>
</p:sldLayout>
</file>

<file path=ppt/slideLayouts/slideLayout1424.xml><?xml version="1.0" encoding="utf-8"?>
<p:sldLayout xmlns:a="http://schemas.openxmlformats.org/drawingml/2006/main" xmlns:r="http://schemas.openxmlformats.org/officeDocument/2006/relationships" xmlns:p="http://schemas.openxmlformats.org/presentationml/2006/main">
  <p:cSld name="6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64508364"/>
      </p:ext>
    </p:extLst>
  </p:cSld>
  <p:clrMapOvr>
    <a:masterClrMapping/>
  </p:clrMapOvr>
</p:sldLayout>
</file>

<file path=ppt/slideLayouts/slideLayout1425.xml><?xml version="1.0" encoding="utf-8"?>
<p:sldLayout xmlns:a="http://schemas.openxmlformats.org/drawingml/2006/main" xmlns:r="http://schemas.openxmlformats.org/officeDocument/2006/relationships" xmlns:p="http://schemas.openxmlformats.org/presentationml/2006/main">
  <p:cSld name="1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05230887"/>
      </p:ext>
    </p:extLst>
  </p:cSld>
  <p:clrMapOvr>
    <a:masterClrMapping/>
  </p:clrMapOvr>
</p:sldLayout>
</file>

<file path=ppt/slideLayouts/slideLayout1426.xml><?xml version="1.0" encoding="utf-8"?>
<p:sldLayout xmlns:a="http://schemas.openxmlformats.org/drawingml/2006/main" xmlns:r="http://schemas.openxmlformats.org/officeDocument/2006/relationships" xmlns:p="http://schemas.openxmlformats.org/presentationml/2006/main" userDrawn="1">
  <p:cSld name="2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151706158"/>
      </p:ext>
    </p:extLst>
  </p:cSld>
  <p:clrMapOvr>
    <a:masterClrMapping/>
  </p:clrMapOvr>
</p:sldLayout>
</file>

<file path=ppt/slideLayouts/slideLayout1427.xml><?xml version="1.0" encoding="utf-8"?>
<p:sldLayout xmlns:a="http://schemas.openxmlformats.org/drawingml/2006/main" xmlns:r="http://schemas.openxmlformats.org/officeDocument/2006/relationships" xmlns:p="http://schemas.openxmlformats.org/presentationml/2006/main" userDrawn="1">
  <p:cSld name="1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62601060"/>
      </p:ext>
    </p:extLst>
  </p:cSld>
  <p:clrMapOvr>
    <a:masterClrMapping/>
  </p:clrMapOvr>
</p:sldLayout>
</file>

<file path=ppt/slideLayouts/slideLayout1428.xml><?xml version="1.0" encoding="utf-8"?>
<p:sldLayout xmlns:a="http://schemas.openxmlformats.org/drawingml/2006/main" xmlns:r="http://schemas.openxmlformats.org/officeDocument/2006/relationships" xmlns:p="http://schemas.openxmlformats.org/presentationml/2006/main">
  <p:cSld name="6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8655638"/>
      </p:ext>
    </p:extLst>
  </p:cSld>
  <p:clrMapOvr>
    <a:masterClrMapping/>
  </p:clrMapOvr>
</p:sldLayout>
</file>

<file path=ppt/slideLayouts/slideLayout1429.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3446080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47643842"/>
      </p:ext>
    </p:extLst>
  </p:cSld>
  <p:clrMapOvr>
    <a:masterClrMapping/>
  </p:clrMapOvr>
</p:sldLayout>
</file>

<file path=ppt/slideLayouts/slideLayout1430.xml><?xml version="1.0" encoding="utf-8"?>
<p:sldLayout xmlns:a="http://schemas.openxmlformats.org/drawingml/2006/main" xmlns:r="http://schemas.openxmlformats.org/officeDocument/2006/relationships" xmlns:p="http://schemas.openxmlformats.org/presentationml/2006/main" userDrawn="1">
  <p:cSld name="1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58445276"/>
      </p:ext>
    </p:extLst>
  </p:cSld>
  <p:clrMapOvr>
    <a:masterClrMapping/>
  </p:clrMapOvr>
</p:sldLayout>
</file>

<file path=ppt/slideLayouts/slideLayout1431.xml><?xml version="1.0" encoding="utf-8"?>
<p:sldLayout xmlns:a="http://schemas.openxmlformats.org/drawingml/2006/main" xmlns:r="http://schemas.openxmlformats.org/officeDocument/2006/relationships" xmlns:p="http://schemas.openxmlformats.org/presentationml/2006/main">
  <p:cSld name="6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510414366"/>
      </p:ext>
    </p:extLst>
  </p:cSld>
  <p:clrMapOvr>
    <a:masterClrMapping/>
  </p:clrMapOvr>
</p:sldLayout>
</file>

<file path=ppt/slideLayouts/slideLayout1432.xml><?xml version="1.0" encoding="utf-8"?>
<p:sldLayout xmlns:a="http://schemas.openxmlformats.org/drawingml/2006/main" xmlns:r="http://schemas.openxmlformats.org/officeDocument/2006/relationships" xmlns:p="http://schemas.openxmlformats.org/presentationml/2006/main">
  <p:cSld name="1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89423819"/>
      </p:ext>
    </p:extLst>
  </p:cSld>
  <p:clrMapOvr>
    <a:masterClrMapping/>
  </p:clrMapOvr>
</p:sldLayout>
</file>

<file path=ppt/slideLayouts/slideLayout1433.xml><?xml version="1.0" encoding="utf-8"?>
<p:sldLayout xmlns:a="http://schemas.openxmlformats.org/drawingml/2006/main" xmlns:r="http://schemas.openxmlformats.org/officeDocument/2006/relationships" xmlns:p="http://schemas.openxmlformats.org/presentationml/2006/main" userDrawn="1">
  <p:cSld name="1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90974035"/>
      </p:ext>
    </p:extLst>
  </p:cSld>
  <p:clrMapOvr>
    <a:masterClrMapping/>
  </p:clrMapOvr>
</p:sldLayout>
</file>

<file path=ppt/slideLayouts/slideLayout1434.xml><?xml version="1.0" encoding="utf-8"?>
<p:sldLayout xmlns:a="http://schemas.openxmlformats.org/drawingml/2006/main" xmlns:r="http://schemas.openxmlformats.org/officeDocument/2006/relationships" xmlns:p="http://schemas.openxmlformats.org/presentationml/2006/main">
  <p:cSld name="6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096043071"/>
      </p:ext>
    </p:extLst>
  </p:cSld>
  <p:clrMapOvr>
    <a:masterClrMapping/>
  </p:clrMapOvr>
</p:sldLayout>
</file>

<file path=ppt/slideLayouts/slideLayout1435.xml><?xml version="1.0" encoding="utf-8"?>
<p:sldLayout xmlns:a="http://schemas.openxmlformats.org/drawingml/2006/main" xmlns:r="http://schemas.openxmlformats.org/officeDocument/2006/relationships" xmlns:p="http://schemas.openxmlformats.org/presentationml/2006/main">
  <p:cSld name="1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83275561"/>
      </p:ext>
    </p:extLst>
  </p:cSld>
  <p:clrMapOvr>
    <a:masterClrMapping/>
  </p:clrMapOvr>
</p:sldLayout>
</file>

<file path=ppt/slideLayouts/slideLayout1436.xml><?xml version="1.0" encoding="utf-8"?>
<p:sldLayout xmlns:a="http://schemas.openxmlformats.org/drawingml/2006/main" xmlns:r="http://schemas.openxmlformats.org/officeDocument/2006/relationships" xmlns:p="http://schemas.openxmlformats.org/presentationml/2006/main" preserve="1" userDrawn="1">
  <p:cSld name="4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68597090"/>
      </p:ext>
    </p:extLst>
  </p:cSld>
  <p:clrMapOvr>
    <a:masterClrMapping/>
  </p:clrMapOvr>
</p:sldLayout>
</file>

<file path=ppt/slideLayouts/slideLayout1437.xml><?xml version="1.0" encoding="utf-8"?>
<p:sldLayout xmlns:a="http://schemas.openxmlformats.org/drawingml/2006/main" xmlns:r="http://schemas.openxmlformats.org/officeDocument/2006/relationships" xmlns:p="http://schemas.openxmlformats.org/presentationml/2006/main" preserve="1" userDrawn="1">
  <p:cSld name="4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88620854"/>
      </p:ext>
    </p:extLst>
  </p:cSld>
  <p:clrMapOvr>
    <a:masterClrMapping/>
  </p:clrMapOvr>
</p:sldLayout>
</file>

<file path=ppt/slideLayouts/slideLayout1438.xml><?xml version="1.0" encoding="utf-8"?>
<p:sldLayout xmlns:a="http://schemas.openxmlformats.org/drawingml/2006/main" xmlns:r="http://schemas.openxmlformats.org/officeDocument/2006/relationships" xmlns:p="http://schemas.openxmlformats.org/presentationml/2006/main" preserve="1" userDrawn="1">
  <p:cSld name="4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323112782"/>
      </p:ext>
    </p:extLst>
  </p:cSld>
  <p:clrMapOvr>
    <a:masterClrMapping/>
  </p:clrMapOvr>
</p:sldLayout>
</file>

<file path=ppt/slideLayouts/slideLayout1439.xml><?xml version="1.0" encoding="utf-8"?>
<p:sldLayout xmlns:a="http://schemas.openxmlformats.org/drawingml/2006/main" xmlns:r="http://schemas.openxmlformats.org/officeDocument/2006/relationships" xmlns:p="http://schemas.openxmlformats.org/presentationml/2006/main" type="obj" preserve="1">
  <p:cSld name="9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4299646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63663494"/>
      </p:ext>
    </p:extLst>
  </p:cSld>
  <p:clrMapOvr>
    <a:masterClrMapping/>
  </p:clrMapOvr>
</p:sldLayout>
</file>

<file path=ppt/slideLayouts/slideLayout1440.xml><?xml version="1.0" encoding="utf-8"?>
<p:sldLayout xmlns:a="http://schemas.openxmlformats.org/drawingml/2006/main" xmlns:r="http://schemas.openxmlformats.org/officeDocument/2006/relationships" xmlns:p="http://schemas.openxmlformats.org/presentationml/2006/main" type="obj" preserve="1">
  <p:cSld name="6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2807618"/>
      </p:ext>
    </p:extLst>
  </p:cSld>
  <p:clrMapOvr>
    <a:masterClrMapping/>
  </p:clrMapOvr>
</p:sldLayout>
</file>

<file path=ppt/slideLayouts/slideLayout1441.xml><?xml version="1.0" encoding="utf-8"?>
<p:sldLayout xmlns:a="http://schemas.openxmlformats.org/drawingml/2006/main" xmlns:r="http://schemas.openxmlformats.org/officeDocument/2006/relationships" xmlns:p="http://schemas.openxmlformats.org/presentationml/2006/main" type="twoObj" preserve="1">
  <p:cSld name="4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46251"/>
      </p:ext>
    </p:extLst>
  </p:cSld>
  <p:clrMapOvr>
    <a:masterClrMapping/>
  </p:clrMapOvr>
</p:sldLayout>
</file>

<file path=ppt/slideLayouts/slideLayout1442.xml><?xml version="1.0" encoding="utf-8"?>
<p:sldLayout xmlns:a="http://schemas.openxmlformats.org/drawingml/2006/main" xmlns:r="http://schemas.openxmlformats.org/officeDocument/2006/relationships" xmlns:p="http://schemas.openxmlformats.org/presentationml/2006/main" type="twoTxTwoObj" preserve="1">
  <p:cSld name="3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17771846"/>
      </p:ext>
    </p:extLst>
  </p:cSld>
  <p:clrMapOvr>
    <a:masterClrMapping/>
  </p:clrMapOvr>
</p:sldLayout>
</file>

<file path=ppt/slideLayouts/slideLayout1443.xml><?xml version="1.0" encoding="utf-8"?>
<p:sldLayout xmlns:a="http://schemas.openxmlformats.org/drawingml/2006/main" xmlns:r="http://schemas.openxmlformats.org/officeDocument/2006/relationships" xmlns:p="http://schemas.openxmlformats.org/presentationml/2006/main" type="titleOnly" preserve="1">
  <p:cSld name="3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59758248"/>
      </p:ext>
    </p:extLst>
  </p:cSld>
  <p:clrMapOvr>
    <a:masterClrMapping/>
  </p:clrMapOvr>
</p:sldLayout>
</file>

<file path=ppt/slideLayouts/slideLayout1444.xml><?xml version="1.0" encoding="utf-8"?>
<p:sldLayout xmlns:a="http://schemas.openxmlformats.org/drawingml/2006/main" xmlns:r="http://schemas.openxmlformats.org/officeDocument/2006/relationships" xmlns:p="http://schemas.openxmlformats.org/presentationml/2006/main" preserve="1" userDrawn="1">
  <p:cSld name="4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85240274"/>
      </p:ext>
    </p:extLst>
  </p:cSld>
  <p:clrMapOvr>
    <a:masterClrMapping/>
  </p:clrMapOvr>
</p:sldLayout>
</file>

<file path=ppt/slideLayouts/slideLayout1445.xml><?xml version="1.0" encoding="utf-8"?>
<p:sldLayout xmlns:a="http://schemas.openxmlformats.org/drawingml/2006/main" xmlns:r="http://schemas.openxmlformats.org/officeDocument/2006/relationships" xmlns:p="http://schemas.openxmlformats.org/presentationml/2006/main" type="blank" preserve="1">
  <p:cSld name="3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48909687"/>
      </p:ext>
    </p:extLst>
  </p:cSld>
  <p:clrMapOvr>
    <a:masterClrMapping/>
  </p:clrMapOvr>
</p:sldLayout>
</file>

<file path=ppt/slideLayouts/slideLayout1446.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807848033"/>
      </p:ext>
    </p:extLst>
  </p:cSld>
  <p:clrMapOvr>
    <a:masterClrMapping/>
  </p:clrMapOvr>
</p:sldLayout>
</file>

<file path=ppt/slideLayouts/slideLayout1447.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5307353"/>
      </p:ext>
    </p:extLst>
  </p:cSld>
  <p:clrMapOvr>
    <a:masterClrMapping/>
  </p:clrMapOvr>
</p:sldLayout>
</file>

<file path=ppt/slideLayouts/slideLayout1448.xml><?xml version="1.0" encoding="utf-8"?>
<p:sldLayout xmlns:a="http://schemas.openxmlformats.org/drawingml/2006/main" xmlns:r="http://schemas.openxmlformats.org/officeDocument/2006/relationships" xmlns:p="http://schemas.openxmlformats.org/presentationml/2006/main" matchingName="Title and Content">
  <p:cSld name="65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5502705"/>
      </p:ext>
    </p:extLst>
  </p:cSld>
  <p:clrMapOvr>
    <a:masterClrMapping/>
  </p:clrMapOvr>
</p:sldLayout>
</file>

<file path=ppt/slideLayouts/slideLayout1449.xml><?xml version="1.0" encoding="utf-8"?>
<p:sldLayout xmlns:a="http://schemas.openxmlformats.org/drawingml/2006/main" xmlns:r="http://schemas.openxmlformats.org/officeDocument/2006/relationships" xmlns:p="http://schemas.openxmlformats.org/presentationml/2006/main" matchingName="Photo Slide">
  <p:cSld name="42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06126156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97839732"/>
      </p:ext>
    </p:extLst>
  </p:cSld>
  <p:clrMapOvr>
    <a:masterClrMapping/>
  </p:clrMapOvr>
</p:sldLayout>
</file>

<file path=ppt/slideLayouts/slideLayout1450.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3233093275"/>
      </p:ext>
    </p:extLst>
  </p:cSld>
  <p:clrMapOvr>
    <a:masterClrMapping/>
  </p:clrMapOvr>
</p:sldLayout>
</file>

<file path=ppt/slideLayouts/slideLayout1451.xml><?xml version="1.0" encoding="utf-8"?>
<p:sldLayout xmlns:a="http://schemas.openxmlformats.org/drawingml/2006/main" xmlns:r="http://schemas.openxmlformats.org/officeDocument/2006/relationships" xmlns:p="http://schemas.openxmlformats.org/presentationml/2006/main" userDrawn="1">
  <p:cSld name="65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9094741"/>
      </p:ext>
    </p:extLst>
  </p:cSld>
  <p:clrMapOvr>
    <a:masterClrMapping/>
  </p:clrMapOvr>
</p:sldLayout>
</file>

<file path=ppt/slideLayouts/slideLayout1452.xml><?xml version="1.0" encoding="utf-8"?>
<p:sldLayout xmlns:a="http://schemas.openxmlformats.org/drawingml/2006/main" xmlns:r="http://schemas.openxmlformats.org/officeDocument/2006/relationships" xmlns:p="http://schemas.openxmlformats.org/presentationml/2006/main" userDrawn="1">
  <p:cSld name="6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5204548"/>
      </p:ext>
    </p:extLst>
  </p:cSld>
  <p:clrMapOvr>
    <a:masterClrMapping/>
  </p:clrMapOvr>
</p:sldLayout>
</file>

<file path=ppt/slideLayouts/slideLayout1453.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727773"/>
      </p:ext>
    </p:extLst>
  </p:cSld>
  <p:clrMapOvr>
    <a:masterClrMapping/>
  </p:clrMapOvr>
</p:sldLayout>
</file>

<file path=ppt/slideLayouts/slideLayout1454.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628766939"/>
      </p:ext>
    </p:extLst>
  </p:cSld>
  <p:clrMapOvr>
    <a:masterClrMapping/>
  </p:clrMapOvr>
</p:sldLayout>
</file>

<file path=ppt/slideLayouts/slideLayout1455.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650427507"/>
      </p:ext>
    </p:extLst>
  </p:cSld>
  <p:clrMapOvr>
    <a:masterClrMapping/>
  </p:clrMapOvr>
</p:sldLayout>
</file>

<file path=ppt/slideLayouts/slideLayout1456.xml><?xml version="1.0" encoding="utf-8"?>
<p:sldLayout xmlns:a="http://schemas.openxmlformats.org/drawingml/2006/main" xmlns:r="http://schemas.openxmlformats.org/officeDocument/2006/relationships" xmlns:p="http://schemas.openxmlformats.org/presentationml/2006/main" userDrawn="1">
  <p:cSld name="2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853171108"/>
      </p:ext>
    </p:extLst>
  </p:cSld>
  <p:clrMapOvr>
    <a:masterClrMapping/>
  </p:clrMapOvr>
</p:sldLayout>
</file>

<file path=ppt/slideLayouts/slideLayout1457.xml><?xml version="1.0" encoding="utf-8"?>
<p:sldLayout xmlns:a="http://schemas.openxmlformats.org/drawingml/2006/main" xmlns:r="http://schemas.openxmlformats.org/officeDocument/2006/relationships" xmlns:p="http://schemas.openxmlformats.org/presentationml/2006/main" userDrawn="1">
  <p:cSld name="67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4805973"/>
      </p:ext>
    </p:extLst>
  </p:cSld>
  <p:clrMapOvr>
    <a:masterClrMapping/>
  </p:clrMapOvr>
</p:sldLayout>
</file>

<file path=ppt/slideLayouts/slideLayout1458.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356728087"/>
      </p:ext>
    </p:extLst>
  </p:cSld>
  <p:clrMapOvr>
    <a:masterClrMapping/>
  </p:clrMapOvr>
</p:sldLayout>
</file>

<file path=ppt/slideLayouts/slideLayout1459.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83663957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2783045463"/>
      </p:ext>
    </p:extLst>
  </p:cSld>
  <p:clrMapOvr>
    <a:masterClrMapping/>
  </p:clrMapOvr>
</p:sldLayout>
</file>

<file path=ppt/slideLayouts/slideLayout1460.xml><?xml version="1.0" encoding="utf-8"?>
<p:sldLayout xmlns:a="http://schemas.openxmlformats.org/drawingml/2006/main" xmlns:r="http://schemas.openxmlformats.org/officeDocument/2006/relationships" xmlns:p="http://schemas.openxmlformats.org/presentationml/2006/main" matchingName="Title and Content">
  <p:cSld name="68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26728638"/>
      </p:ext>
    </p:extLst>
  </p:cSld>
  <p:clrMapOvr>
    <a:masterClrMapping/>
  </p:clrMapOvr>
</p:sldLayout>
</file>

<file path=ppt/slideLayouts/slideLayout1461.xml><?xml version="1.0" encoding="utf-8"?>
<p:sldLayout xmlns:a="http://schemas.openxmlformats.org/drawingml/2006/main" xmlns:r="http://schemas.openxmlformats.org/officeDocument/2006/relationships" xmlns:p="http://schemas.openxmlformats.org/presentationml/2006/main" matchingName="Photo Slide">
  <p:cSld name="42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638350718"/>
      </p:ext>
    </p:extLst>
  </p:cSld>
  <p:clrMapOvr>
    <a:masterClrMapping/>
  </p:clrMapOvr>
</p:sldLayout>
</file>

<file path=ppt/slideLayouts/slideLayout1462.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727605722"/>
      </p:ext>
    </p:extLst>
  </p:cSld>
  <p:clrMapOvr>
    <a:masterClrMapping/>
  </p:clrMapOvr>
</p:sldLayout>
</file>

<file path=ppt/slideLayouts/slideLayout1463.xml><?xml version="1.0" encoding="utf-8"?>
<p:sldLayout xmlns:a="http://schemas.openxmlformats.org/drawingml/2006/main" xmlns:r="http://schemas.openxmlformats.org/officeDocument/2006/relationships" xmlns:p="http://schemas.openxmlformats.org/presentationml/2006/main" userDrawn="1">
  <p:cSld name="2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6163365"/>
      </p:ext>
    </p:extLst>
  </p:cSld>
  <p:clrMapOvr>
    <a:masterClrMapping/>
  </p:clrMapOvr>
</p:sldLayout>
</file>

<file path=ppt/slideLayouts/slideLayout1464.xml><?xml version="1.0" encoding="utf-8"?>
<p:sldLayout xmlns:a="http://schemas.openxmlformats.org/drawingml/2006/main" xmlns:r="http://schemas.openxmlformats.org/officeDocument/2006/relationships" xmlns:p="http://schemas.openxmlformats.org/presentationml/2006/main" showMasterSp="0" userDrawn="1">
  <p:cSld name="9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819422645"/>
      </p:ext>
    </p:extLst>
  </p:cSld>
  <p:clrMapOvr>
    <a:masterClrMapping/>
  </p:clrMapOvr>
</p:sldLayout>
</file>

<file path=ppt/slideLayouts/slideLayout1465.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4738164"/>
      </p:ext>
    </p:extLst>
  </p:cSld>
  <p:clrMapOvr>
    <a:masterClrMapping/>
  </p:clrMapOvr>
</p:sldLayout>
</file>

<file path=ppt/slideLayouts/slideLayout1466.xml><?xml version="1.0" encoding="utf-8"?>
<p:sldLayout xmlns:a="http://schemas.openxmlformats.org/drawingml/2006/main" xmlns:r="http://schemas.openxmlformats.org/officeDocument/2006/relationships" xmlns:p="http://schemas.openxmlformats.org/presentationml/2006/main" preserve="1" userDrawn="1">
  <p:cSld name="4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64324874"/>
      </p:ext>
    </p:extLst>
  </p:cSld>
  <p:clrMapOvr>
    <a:masterClrMapping/>
  </p:clrMapOvr>
</p:sldLayout>
</file>

<file path=ppt/slideLayouts/slideLayout1467.xml><?xml version="1.0" encoding="utf-8"?>
<p:sldLayout xmlns:a="http://schemas.openxmlformats.org/drawingml/2006/main" xmlns:r="http://schemas.openxmlformats.org/officeDocument/2006/relationships" xmlns:p="http://schemas.openxmlformats.org/presentationml/2006/main" preserve="1" userDrawn="1">
  <p:cSld name="4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63531789"/>
      </p:ext>
    </p:extLst>
  </p:cSld>
  <p:clrMapOvr>
    <a:masterClrMapping/>
  </p:clrMapOvr>
</p:sldLayout>
</file>

<file path=ppt/slideLayouts/slideLayout1468.xml><?xml version="1.0" encoding="utf-8"?>
<p:sldLayout xmlns:a="http://schemas.openxmlformats.org/drawingml/2006/main" xmlns:r="http://schemas.openxmlformats.org/officeDocument/2006/relationships" xmlns:p="http://schemas.openxmlformats.org/presentationml/2006/main" preserve="1" userDrawn="1">
  <p:cSld name="4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563791230"/>
      </p:ext>
    </p:extLst>
  </p:cSld>
  <p:clrMapOvr>
    <a:masterClrMapping/>
  </p:clrMapOvr>
</p:sldLayout>
</file>

<file path=ppt/slideLayouts/slideLayout1469.xml><?xml version="1.0" encoding="utf-8"?>
<p:sldLayout xmlns:a="http://schemas.openxmlformats.org/drawingml/2006/main" xmlns:r="http://schemas.openxmlformats.org/officeDocument/2006/relationships" xmlns:p="http://schemas.openxmlformats.org/presentationml/2006/main" type="blank" preserve="1">
  <p:cSld name="4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62566672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02931972"/>
      </p:ext>
    </p:extLst>
  </p:cSld>
  <p:clrMapOvr>
    <a:masterClrMapping/>
  </p:clrMapOvr>
</p:sldLayout>
</file>

<file path=ppt/slideLayouts/slideLayout1470.xml><?xml version="1.0" encoding="utf-8"?>
<p:sldLayout xmlns:a="http://schemas.openxmlformats.org/drawingml/2006/main" xmlns:r="http://schemas.openxmlformats.org/officeDocument/2006/relationships" xmlns:p="http://schemas.openxmlformats.org/presentationml/2006/main" type="obj" preserve="1">
  <p:cSld name="9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37516824"/>
      </p:ext>
    </p:extLst>
  </p:cSld>
  <p:clrMapOvr>
    <a:masterClrMapping/>
  </p:clrMapOvr>
</p:sldLayout>
</file>

<file path=ppt/slideLayouts/slideLayout1471.xml><?xml version="1.0" encoding="utf-8"?>
<p:sldLayout xmlns:a="http://schemas.openxmlformats.org/drawingml/2006/main" xmlns:r="http://schemas.openxmlformats.org/officeDocument/2006/relationships" xmlns:p="http://schemas.openxmlformats.org/presentationml/2006/main" type="obj" preserve="1">
  <p:cSld name="6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80746712"/>
      </p:ext>
    </p:extLst>
  </p:cSld>
  <p:clrMapOvr>
    <a:masterClrMapping/>
  </p:clrMapOvr>
</p:sldLayout>
</file>

<file path=ppt/slideLayouts/slideLayout1472.xml><?xml version="1.0" encoding="utf-8"?>
<p:sldLayout xmlns:a="http://schemas.openxmlformats.org/drawingml/2006/main" xmlns:r="http://schemas.openxmlformats.org/officeDocument/2006/relationships" xmlns:p="http://schemas.openxmlformats.org/presentationml/2006/main" type="twoObj" preserve="1">
  <p:cSld name="4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92597929"/>
      </p:ext>
    </p:extLst>
  </p:cSld>
  <p:clrMapOvr>
    <a:masterClrMapping/>
  </p:clrMapOvr>
</p:sldLayout>
</file>

<file path=ppt/slideLayouts/slideLayout1473.xml><?xml version="1.0" encoding="utf-8"?>
<p:sldLayout xmlns:a="http://schemas.openxmlformats.org/drawingml/2006/main" xmlns:r="http://schemas.openxmlformats.org/officeDocument/2006/relationships" xmlns:p="http://schemas.openxmlformats.org/presentationml/2006/main" type="twoTxTwoObj" preserve="1">
  <p:cSld name="4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42091233"/>
      </p:ext>
    </p:extLst>
  </p:cSld>
  <p:clrMapOvr>
    <a:masterClrMapping/>
  </p:clrMapOvr>
</p:sldLayout>
</file>

<file path=ppt/slideLayouts/slideLayout1474.xml><?xml version="1.0" encoding="utf-8"?>
<p:sldLayout xmlns:a="http://schemas.openxmlformats.org/drawingml/2006/main" xmlns:r="http://schemas.openxmlformats.org/officeDocument/2006/relationships" xmlns:p="http://schemas.openxmlformats.org/presentationml/2006/main" type="titleOnly" preserve="1">
  <p:cSld name="4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11113065"/>
      </p:ext>
    </p:extLst>
  </p:cSld>
  <p:clrMapOvr>
    <a:masterClrMapping/>
  </p:clrMapOvr>
</p:sldLayout>
</file>

<file path=ppt/slideLayouts/slideLayout1475.xml><?xml version="1.0" encoding="utf-8"?>
<p:sldLayout xmlns:a="http://schemas.openxmlformats.org/drawingml/2006/main" xmlns:r="http://schemas.openxmlformats.org/officeDocument/2006/relationships" xmlns:p="http://schemas.openxmlformats.org/presentationml/2006/main" preserve="1" userDrawn="1">
  <p:cSld name="4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59846461"/>
      </p:ext>
    </p:extLst>
  </p:cSld>
  <p:clrMapOvr>
    <a:masterClrMapping/>
  </p:clrMapOvr>
</p:sldLayout>
</file>

<file path=ppt/slideLayouts/slideLayout1476.xml><?xml version="1.0" encoding="utf-8"?>
<p:sldLayout xmlns:a="http://schemas.openxmlformats.org/drawingml/2006/main" xmlns:r="http://schemas.openxmlformats.org/officeDocument/2006/relationships" xmlns:p="http://schemas.openxmlformats.org/presentationml/2006/main" type="blank" preserve="1">
  <p:cSld name="4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45553691"/>
      </p:ext>
    </p:extLst>
  </p:cSld>
  <p:clrMapOvr>
    <a:masterClrMapping/>
  </p:clrMapOvr>
</p:sldLayout>
</file>

<file path=ppt/slideLayouts/slideLayout1477.xml><?xml version="1.0" encoding="utf-8"?>
<p:sldLayout xmlns:a="http://schemas.openxmlformats.org/drawingml/2006/main" xmlns:r="http://schemas.openxmlformats.org/officeDocument/2006/relationships" xmlns:p="http://schemas.openxmlformats.org/presentationml/2006/main" userDrawn="1">
  <p:cSld name="2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65017117"/>
      </p:ext>
    </p:extLst>
  </p:cSld>
  <p:clrMapOvr>
    <a:masterClrMapping/>
  </p:clrMapOvr>
</p:sldLayout>
</file>

<file path=ppt/slideLayouts/slideLayout1478.xml><?xml version="1.0" encoding="utf-8"?>
<p:sldLayout xmlns:a="http://schemas.openxmlformats.org/drawingml/2006/main" xmlns:r="http://schemas.openxmlformats.org/officeDocument/2006/relationships" xmlns:p="http://schemas.openxmlformats.org/presentationml/2006/main">
  <p:cSld name="6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05887763"/>
      </p:ext>
    </p:extLst>
  </p:cSld>
  <p:clrMapOvr>
    <a:masterClrMapping/>
  </p:clrMapOvr>
</p:sldLayout>
</file>

<file path=ppt/slideLayouts/slideLayout1479.xml><?xml version="1.0" encoding="utf-8"?>
<p:sldLayout xmlns:a="http://schemas.openxmlformats.org/drawingml/2006/main" xmlns:r="http://schemas.openxmlformats.org/officeDocument/2006/relationships" xmlns:p="http://schemas.openxmlformats.org/presentationml/2006/main">
  <p:cSld name="2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5186166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1024431"/>
      </p:ext>
    </p:extLst>
  </p:cSld>
  <p:clrMapOvr>
    <a:masterClrMapping/>
  </p:clrMapOvr>
</p:sldLayout>
</file>

<file path=ppt/slideLayouts/slideLayout1480.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021598"/>
      </p:ext>
    </p:extLst>
  </p:cSld>
  <p:clrMapOvr>
    <a:masterClrMapping/>
  </p:clrMapOvr>
</p:sldLayout>
</file>

<file path=ppt/slideLayouts/slideLayout148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1/20/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8725819"/>
      </p:ext>
    </p:extLst>
  </p:cSld>
  <p:clrMapOvr>
    <a:masterClrMapping/>
  </p:clrMapOvr>
</p:sldLayout>
</file>

<file path=ppt/slideLayouts/slideLayout1482.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1/20/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4046506546"/>
      </p:ext>
    </p:extLst>
  </p:cSld>
  <p:clrMapOvr>
    <a:masterClrMapping/>
  </p:clrMapOvr>
</p:sldLayout>
</file>

<file path=ppt/slideLayouts/slideLayout1483.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293011989"/>
      </p:ext>
    </p:extLst>
  </p:cSld>
  <p:clrMapOvr>
    <a:masterClrMapping/>
  </p:clrMapOvr>
</p:sldLayout>
</file>

<file path=ppt/slideLayouts/slideLayout1484.xml><?xml version="1.0" encoding="utf-8"?>
<p:sldLayout xmlns:a="http://schemas.openxmlformats.org/drawingml/2006/main" xmlns:r="http://schemas.openxmlformats.org/officeDocument/2006/relationships" xmlns:p="http://schemas.openxmlformats.org/presentationml/2006/main" matchingName="Title and Content">
  <p:cSld name="7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84335826"/>
      </p:ext>
    </p:extLst>
  </p:cSld>
  <p:clrMapOvr>
    <a:masterClrMapping/>
  </p:clrMapOvr>
</p:sldLayout>
</file>

<file path=ppt/slideLayouts/slideLayout1485.xml><?xml version="1.0" encoding="utf-8"?>
<p:sldLayout xmlns:a="http://schemas.openxmlformats.org/drawingml/2006/main" xmlns:r="http://schemas.openxmlformats.org/officeDocument/2006/relationships" xmlns:p="http://schemas.openxmlformats.org/presentationml/2006/main" matchingName="Photo Slide">
  <p:cSld name="43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429734232"/>
      </p:ext>
    </p:extLst>
  </p:cSld>
  <p:clrMapOvr>
    <a:masterClrMapping/>
  </p:clrMapOvr>
</p:sldLayout>
</file>

<file path=ppt/slideLayouts/slideLayout1486.xml><?xml version="1.0" encoding="utf-8"?>
<p:sldLayout xmlns:a="http://schemas.openxmlformats.org/drawingml/2006/main" xmlns:r="http://schemas.openxmlformats.org/officeDocument/2006/relationships" xmlns:p="http://schemas.openxmlformats.org/presentationml/2006/main" matchingName="Photo Slide">
  <p:cSld name="43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948400681"/>
      </p:ext>
    </p:extLst>
  </p:cSld>
  <p:clrMapOvr>
    <a:masterClrMapping/>
  </p:clrMapOvr>
</p:sldLayout>
</file>

<file path=ppt/slideLayouts/slideLayout1487.xml><?xml version="1.0" encoding="utf-8"?>
<p:sldLayout xmlns:a="http://schemas.openxmlformats.org/drawingml/2006/main" xmlns:r="http://schemas.openxmlformats.org/officeDocument/2006/relationships" xmlns:p="http://schemas.openxmlformats.org/presentationml/2006/main" userDrawn="1">
  <p:cSld name="2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5" y="4178330"/>
            <a:ext cx="4395959" cy="1140163"/>
          </a:xfrm>
          <a:prstGeom prst="rect">
            <a:avLst/>
          </a:prstGeom>
        </p:spPr>
      </p:pic>
    </p:spTree>
    <p:extLst>
      <p:ext uri="{BB962C8B-B14F-4D97-AF65-F5344CB8AC3E}">
        <p14:creationId xmlns:p14="http://schemas.microsoft.com/office/powerpoint/2010/main" val="2991475842"/>
      </p:ext>
    </p:extLst>
  </p:cSld>
  <p:clrMapOvr>
    <a:masterClrMapping/>
  </p:clrMapOvr>
</p:sldLayout>
</file>

<file path=ppt/slideLayouts/slideLayout1488.xml><?xml version="1.0" encoding="utf-8"?>
<p:sldLayout xmlns:a="http://schemas.openxmlformats.org/drawingml/2006/main" xmlns:r="http://schemas.openxmlformats.org/officeDocument/2006/relationships" xmlns:p="http://schemas.openxmlformats.org/presentationml/2006/main" userDrawn="1">
  <p:cSld name="2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482281156"/>
      </p:ext>
    </p:extLst>
  </p:cSld>
  <p:clrMapOvr>
    <a:masterClrMapping/>
  </p:clrMapOvr>
</p:sldLayout>
</file>

<file path=ppt/slideLayouts/slideLayout1489.xml><?xml version="1.0" encoding="utf-8"?>
<p:sldLayout xmlns:a="http://schemas.openxmlformats.org/drawingml/2006/main" xmlns:r="http://schemas.openxmlformats.org/officeDocument/2006/relationships" xmlns:p="http://schemas.openxmlformats.org/presentationml/2006/main">
  <p:cSld name="7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34371060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5505364"/>
      </p:ext>
    </p:extLst>
  </p:cSld>
  <p:clrMapOvr>
    <a:masterClrMapping/>
  </p:clrMapOvr>
</p:sldLayout>
</file>

<file path=ppt/slideLayouts/slideLayout1490.xml><?xml version="1.0" encoding="utf-8"?>
<p:sldLayout xmlns:a="http://schemas.openxmlformats.org/drawingml/2006/main" xmlns:r="http://schemas.openxmlformats.org/officeDocument/2006/relationships" xmlns:p="http://schemas.openxmlformats.org/presentationml/2006/main">
  <p:cSld name="2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884895618"/>
      </p:ext>
    </p:extLst>
  </p:cSld>
  <p:clrMapOvr>
    <a:masterClrMapping/>
  </p:clrMapOvr>
</p:sldLayout>
</file>

<file path=ppt/slideLayouts/slideLayout1491.xml><?xml version="1.0" encoding="utf-8"?>
<p:sldLayout xmlns:a="http://schemas.openxmlformats.org/drawingml/2006/main" xmlns:r="http://schemas.openxmlformats.org/officeDocument/2006/relationships" xmlns:p="http://schemas.openxmlformats.org/presentationml/2006/main" matchingName="Photo Slide">
  <p:cSld name="43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38939846"/>
      </p:ext>
    </p:extLst>
  </p:cSld>
  <p:clrMapOvr>
    <a:masterClrMapping/>
  </p:clrMapOvr>
</p:sldLayout>
</file>

<file path=ppt/slideLayouts/slideLayout1492.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096714355"/>
      </p:ext>
    </p:extLst>
  </p:cSld>
  <p:clrMapOvr>
    <a:masterClrMapping/>
  </p:clrMapOvr>
</p:sldLayout>
</file>

<file path=ppt/slideLayouts/slideLayout1493.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749013803"/>
      </p:ext>
    </p:extLst>
  </p:cSld>
  <p:clrMapOvr>
    <a:masterClrMapping/>
  </p:clrMapOvr>
</p:sldLayout>
</file>

<file path=ppt/slideLayouts/slideLayout1494.xml><?xml version="1.0" encoding="utf-8"?>
<p:sldLayout xmlns:a="http://schemas.openxmlformats.org/drawingml/2006/main" xmlns:r="http://schemas.openxmlformats.org/officeDocument/2006/relationships" xmlns:p="http://schemas.openxmlformats.org/presentationml/2006/main" type="obj" preserve="1">
  <p:cSld name="9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48261280"/>
      </p:ext>
    </p:extLst>
  </p:cSld>
  <p:clrMapOvr>
    <a:masterClrMapping/>
  </p:clrMapOvr>
</p:sldLayout>
</file>

<file path=ppt/slideLayouts/slideLayout1495.xml><?xml version="1.0" encoding="utf-8"?>
<p:sldLayout xmlns:a="http://schemas.openxmlformats.org/drawingml/2006/main" xmlns:r="http://schemas.openxmlformats.org/officeDocument/2006/relationships" xmlns:p="http://schemas.openxmlformats.org/presentationml/2006/main" type="obj" preserve="1">
  <p:cSld name="9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34032743"/>
      </p:ext>
    </p:extLst>
  </p:cSld>
  <p:clrMapOvr>
    <a:masterClrMapping/>
  </p:clrMapOvr>
</p:sldLayout>
</file>

<file path=ppt/slideLayouts/slideLayout1496.xml><?xml version="1.0" encoding="utf-8"?>
<p:sldLayout xmlns:a="http://schemas.openxmlformats.org/drawingml/2006/main" xmlns:r="http://schemas.openxmlformats.org/officeDocument/2006/relationships" xmlns:p="http://schemas.openxmlformats.org/presentationml/2006/main" type="obj" preserve="1">
  <p:cSld name="10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49094909"/>
      </p:ext>
    </p:extLst>
  </p:cSld>
  <p:clrMapOvr>
    <a:masterClrMapping/>
  </p:clrMapOvr>
</p:sldLayout>
</file>

<file path=ppt/slideLayouts/slideLayout1497.xml><?xml version="1.0" encoding="utf-8"?>
<p:sldLayout xmlns:a="http://schemas.openxmlformats.org/drawingml/2006/main" xmlns:r="http://schemas.openxmlformats.org/officeDocument/2006/relationships" xmlns:p="http://schemas.openxmlformats.org/presentationml/2006/main" type="obj" preserve="1">
  <p:cSld name="10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06275345"/>
      </p:ext>
    </p:extLst>
  </p:cSld>
  <p:clrMapOvr>
    <a:masterClrMapping/>
  </p:clrMapOvr>
</p:sldLayout>
</file>

<file path=ppt/slideLayouts/slideLayout1498.xml><?xml version="1.0" encoding="utf-8"?>
<p:sldLayout xmlns:a="http://schemas.openxmlformats.org/drawingml/2006/main" xmlns:r="http://schemas.openxmlformats.org/officeDocument/2006/relationships" xmlns:p="http://schemas.openxmlformats.org/presentationml/2006/main" preserve="1" userDrawn="1">
  <p:cSld name="4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94765439"/>
      </p:ext>
    </p:extLst>
  </p:cSld>
  <p:clrMapOvr>
    <a:masterClrMapping/>
  </p:clrMapOvr>
</p:sldLayout>
</file>

<file path=ppt/slideLayouts/slideLayout1499.xml><?xml version="1.0" encoding="utf-8"?>
<p:sldLayout xmlns:a="http://schemas.openxmlformats.org/drawingml/2006/main" xmlns:r="http://schemas.openxmlformats.org/officeDocument/2006/relationships" xmlns:p="http://schemas.openxmlformats.org/presentationml/2006/main" preserve="1" userDrawn="1">
  <p:cSld name="4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632255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17177196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860285631"/>
      </p:ext>
    </p:extLst>
  </p:cSld>
  <p:clrMapOvr>
    <a:masterClrMapping/>
  </p:clrMapOvr>
</p:sldLayout>
</file>

<file path=ppt/slideLayouts/slideLayout1500.xml><?xml version="1.0" encoding="utf-8"?>
<p:sldLayout xmlns:a="http://schemas.openxmlformats.org/drawingml/2006/main" xmlns:r="http://schemas.openxmlformats.org/officeDocument/2006/relationships" xmlns:p="http://schemas.openxmlformats.org/presentationml/2006/main" preserve="1" userDrawn="1">
  <p:cSld name="4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72085743"/>
      </p:ext>
    </p:extLst>
  </p:cSld>
  <p:clrMapOvr>
    <a:masterClrMapping/>
  </p:clrMapOvr>
</p:sldLayout>
</file>

<file path=ppt/slideLayouts/slideLayout1501.xml><?xml version="1.0" encoding="utf-8"?>
<p:sldLayout xmlns:a="http://schemas.openxmlformats.org/drawingml/2006/main" xmlns:r="http://schemas.openxmlformats.org/officeDocument/2006/relationships" xmlns:p="http://schemas.openxmlformats.org/presentationml/2006/main" type="obj" preserve="1">
  <p:cSld name="10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95745974"/>
      </p:ext>
    </p:extLst>
  </p:cSld>
  <p:clrMapOvr>
    <a:masterClrMapping/>
  </p:clrMapOvr>
</p:sldLayout>
</file>

<file path=ppt/slideLayouts/slideLayout1502.xml><?xml version="1.0" encoding="utf-8"?>
<p:sldLayout xmlns:a="http://schemas.openxmlformats.org/drawingml/2006/main" xmlns:r="http://schemas.openxmlformats.org/officeDocument/2006/relationships" xmlns:p="http://schemas.openxmlformats.org/presentationml/2006/main" type="obj" preserve="1">
  <p:cSld name="10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98209444"/>
      </p:ext>
    </p:extLst>
  </p:cSld>
  <p:clrMapOvr>
    <a:masterClrMapping/>
  </p:clrMapOvr>
</p:sldLayout>
</file>

<file path=ppt/slideLayouts/slideLayout1503.xml><?xml version="1.0" encoding="utf-8"?>
<p:sldLayout xmlns:a="http://schemas.openxmlformats.org/drawingml/2006/main" xmlns:r="http://schemas.openxmlformats.org/officeDocument/2006/relationships" xmlns:p="http://schemas.openxmlformats.org/presentationml/2006/main" type="obj" preserve="1">
  <p:cSld name="10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79542393"/>
      </p:ext>
    </p:extLst>
  </p:cSld>
  <p:clrMapOvr>
    <a:masterClrMapping/>
  </p:clrMapOvr>
</p:sldLayout>
</file>

<file path=ppt/slideLayouts/slideLayout1504.xml><?xml version="1.0" encoding="utf-8"?>
<p:sldLayout xmlns:a="http://schemas.openxmlformats.org/drawingml/2006/main" xmlns:r="http://schemas.openxmlformats.org/officeDocument/2006/relationships" xmlns:p="http://schemas.openxmlformats.org/presentationml/2006/main" type="obj" preserve="1">
  <p:cSld name="10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49647863"/>
      </p:ext>
    </p:extLst>
  </p:cSld>
  <p:clrMapOvr>
    <a:masterClrMapping/>
  </p:clrMapOvr>
</p:sldLayout>
</file>

<file path=ppt/slideLayouts/slideLayout1505.xml><?xml version="1.0" encoding="utf-8"?>
<p:sldLayout xmlns:a="http://schemas.openxmlformats.org/drawingml/2006/main" xmlns:r="http://schemas.openxmlformats.org/officeDocument/2006/relationships" xmlns:p="http://schemas.openxmlformats.org/presentationml/2006/main" type="obj" preserve="1">
  <p:cSld name="7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1262265"/>
      </p:ext>
    </p:extLst>
  </p:cSld>
  <p:clrMapOvr>
    <a:masterClrMapping/>
  </p:clrMapOvr>
</p:sldLayout>
</file>

<file path=ppt/slideLayouts/slideLayout1506.xml><?xml version="1.0" encoding="utf-8"?>
<p:sldLayout xmlns:a="http://schemas.openxmlformats.org/drawingml/2006/main" xmlns:r="http://schemas.openxmlformats.org/officeDocument/2006/relationships" xmlns:p="http://schemas.openxmlformats.org/presentationml/2006/main" type="twoObj" preserve="1">
  <p:cSld name="4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07680179"/>
      </p:ext>
    </p:extLst>
  </p:cSld>
  <p:clrMapOvr>
    <a:masterClrMapping/>
  </p:clrMapOvr>
</p:sldLayout>
</file>

<file path=ppt/slideLayouts/slideLayout1507.xml><?xml version="1.0" encoding="utf-8"?>
<p:sldLayout xmlns:a="http://schemas.openxmlformats.org/drawingml/2006/main" xmlns:r="http://schemas.openxmlformats.org/officeDocument/2006/relationships" xmlns:p="http://schemas.openxmlformats.org/presentationml/2006/main" type="twoTxTwoObj" preserve="1">
  <p:cSld name="4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713722"/>
      </p:ext>
    </p:extLst>
  </p:cSld>
  <p:clrMapOvr>
    <a:masterClrMapping/>
  </p:clrMapOvr>
</p:sldLayout>
</file>

<file path=ppt/slideLayouts/slideLayout1508.xml><?xml version="1.0" encoding="utf-8"?>
<p:sldLayout xmlns:a="http://schemas.openxmlformats.org/drawingml/2006/main" xmlns:r="http://schemas.openxmlformats.org/officeDocument/2006/relationships" xmlns:p="http://schemas.openxmlformats.org/presentationml/2006/main" type="titleOnly" preserve="1">
  <p:cSld name="4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5501239"/>
      </p:ext>
    </p:extLst>
  </p:cSld>
  <p:clrMapOvr>
    <a:masterClrMapping/>
  </p:clrMapOvr>
</p:sldLayout>
</file>

<file path=ppt/slideLayouts/slideLayout1509.xml><?xml version="1.0" encoding="utf-8"?>
<p:sldLayout xmlns:a="http://schemas.openxmlformats.org/drawingml/2006/main" xmlns:r="http://schemas.openxmlformats.org/officeDocument/2006/relationships" xmlns:p="http://schemas.openxmlformats.org/presentationml/2006/main" preserve="1" userDrawn="1">
  <p:cSld name="4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297268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8619597"/>
      </p:ext>
    </p:extLst>
  </p:cSld>
  <p:clrMapOvr>
    <a:masterClrMapping/>
  </p:clrMapOvr>
</p:sldLayout>
</file>

<file path=ppt/slideLayouts/slideLayout1510.xml><?xml version="1.0" encoding="utf-8"?>
<p:sldLayout xmlns:a="http://schemas.openxmlformats.org/drawingml/2006/main" xmlns:r="http://schemas.openxmlformats.org/officeDocument/2006/relationships" xmlns:p="http://schemas.openxmlformats.org/presentationml/2006/main" type="blank" preserve="1">
  <p:cSld name="4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96280440"/>
      </p:ext>
    </p:extLst>
  </p:cSld>
  <p:clrMapOvr>
    <a:masterClrMapping/>
  </p:clrMapOvr>
</p:sldLayout>
</file>

<file path=ppt/slideLayouts/slideLayout1511.xml><?xml version="1.0" encoding="utf-8"?>
<p:sldLayout xmlns:a="http://schemas.openxmlformats.org/drawingml/2006/main" xmlns:r="http://schemas.openxmlformats.org/officeDocument/2006/relationships" xmlns:p="http://schemas.openxmlformats.org/presentationml/2006/main" matchingName="Title and Content">
  <p:cSld name="7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02437044"/>
      </p:ext>
    </p:extLst>
  </p:cSld>
  <p:clrMapOvr>
    <a:masterClrMapping/>
  </p:clrMapOvr>
</p:sldLayout>
</file>

<file path=ppt/slideLayouts/slideLayout1512.xml><?xml version="1.0" encoding="utf-8"?>
<p:sldLayout xmlns:a="http://schemas.openxmlformats.org/drawingml/2006/main" xmlns:r="http://schemas.openxmlformats.org/officeDocument/2006/relationships" xmlns:p="http://schemas.openxmlformats.org/presentationml/2006/main" matchingName="Photo Slide">
  <p:cSld name="4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741909214"/>
      </p:ext>
    </p:extLst>
  </p:cSld>
  <p:clrMapOvr>
    <a:masterClrMapping/>
  </p:clrMapOvr>
</p:sldLayout>
</file>

<file path=ppt/slideLayouts/slideLayout1513.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2908379509"/>
      </p:ext>
    </p:extLst>
  </p:cSld>
  <p:clrMapOvr>
    <a:masterClrMapping/>
  </p:clrMapOvr>
</p:sldLayout>
</file>

<file path=ppt/slideLayouts/slideLayout1514.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1670361"/>
      </p:ext>
    </p:extLst>
  </p:cSld>
  <p:clrMapOvr>
    <a:masterClrMapping/>
  </p:clrMapOvr>
</p:sldLayout>
</file>

<file path=ppt/slideLayouts/slideLayout1515.xml><?xml version="1.0" encoding="utf-8"?>
<p:sldLayout xmlns:a="http://schemas.openxmlformats.org/drawingml/2006/main" xmlns:r="http://schemas.openxmlformats.org/officeDocument/2006/relationships" xmlns:p="http://schemas.openxmlformats.org/presentationml/2006/main" userDrawn="1">
  <p:cSld name="4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44353" t="41308" r="41308" b="44537"/>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628262214"/>
      </p:ext>
    </p:extLst>
  </p:cSld>
  <p:clrMapOvr>
    <a:masterClrMapping/>
  </p:clrMapOvr>
</p:sldLayout>
</file>

<file path=ppt/slideLayouts/slideLayout1516.xml><?xml version="1.0" encoding="utf-8"?>
<p:sldLayout xmlns:a="http://schemas.openxmlformats.org/drawingml/2006/main" xmlns:r="http://schemas.openxmlformats.org/officeDocument/2006/relationships" xmlns:p="http://schemas.openxmlformats.org/presentationml/2006/main" userDrawn="1">
  <p:cSld name="5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58101283"/>
      </p:ext>
    </p:extLst>
  </p:cSld>
  <p:clrMapOvr>
    <a:masterClrMapping/>
  </p:clrMapOvr>
</p:sldLayout>
</file>

<file path=ppt/slideLayouts/slideLayout1517.xml><?xml version="1.0" encoding="utf-8"?>
<p:sldLayout xmlns:a="http://schemas.openxmlformats.org/drawingml/2006/main" xmlns:r="http://schemas.openxmlformats.org/officeDocument/2006/relationships" xmlns:p="http://schemas.openxmlformats.org/presentationml/2006/main" userDrawn="1">
  <p:cSld name="7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1577054"/>
      </p:ext>
    </p:extLst>
  </p:cSld>
  <p:clrMapOvr>
    <a:masterClrMapping/>
  </p:clrMapOvr>
</p:sldLayout>
</file>

<file path=ppt/slideLayouts/slideLayout1518.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2566016949"/>
      </p:ext>
    </p:extLst>
  </p:cSld>
  <p:clrMapOvr>
    <a:masterClrMapping/>
  </p:clrMapOvr>
</p:sldLayout>
</file>

<file path=ppt/slideLayouts/slideLayout1519.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170484596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29198981"/>
      </p:ext>
    </p:extLst>
  </p:cSld>
  <p:clrMapOvr>
    <a:masterClrMapping/>
  </p:clrMapOvr>
</p:sldLayout>
</file>

<file path=ppt/slideLayouts/slideLayout1520.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570458450"/>
      </p:ext>
    </p:extLst>
  </p:cSld>
  <p:clrMapOvr>
    <a:masterClrMapping/>
  </p:clrMapOvr>
</p:sldLayout>
</file>

<file path=ppt/slideLayouts/slideLayout1521.xml><?xml version="1.0" encoding="utf-8"?>
<p:sldLayout xmlns:a="http://schemas.openxmlformats.org/drawingml/2006/main" xmlns:r="http://schemas.openxmlformats.org/officeDocument/2006/relationships" xmlns:p="http://schemas.openxmlformats.org/presentationml/2006/main" userDrawn="1">
  <p:cSld name="73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8110439"/>
      </p:ext>
    </p:extLst>
  </p:cSld>
  <p:clrMapOvr>
    <a:masterClrMapping/>
  </p:clrMapOvr>
</p:sldLayout>
</file>

<file path=ppt/slideLayouts/slideLayout1522.xml><?xml version="1.0" encoding="utf-8"?>
<p:sldLayout xmlns:a="http://schemas.openxmlformats.org/drawingml/2006/main" xmlns:r="http://schemas.openxmlformats.org/officeDocument/2006/relationships" xmlns:p="http://schemas.openxmlformats.org/presentationml/2006/main" userDrawn="1">
  <p:cSld name="2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865129"/>
      </p:ext>
    </p:extLst>
  </p:cSld>
  <p:clrMapOvr>
    <a:masterClrMapping/>
  </p:clrMapOvr>
</p:sldLayout>
</file>

<file path=ppt/slideLayouts/slideLayout1523.xml><?xml version="1.0" encoding="utf-8"?>
<p:sldLayout xmlns:a="http://schemas.openxmlformats.org/drawingml/2006/main" xmlns:r="http://schemas.openxmlformats.org/officeDocument/2006/relationships" xmlns:p="http://schemas.openxmlformats.org/presentationml/2006/main" userDrawn="1">
  <p:cSld name="6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063965082"/>
      </p:ext>
    </p:extLst>
  </p:cSld>
  <p:clrMapOvr>
    <a:masterClrMapping/>
  </p:clrMapOvr>
</p:sldLayout>
</file>

<file path=ppt/slideLayouts/slideLayout1524.xml><?xml version="1.0" encoding="utf-8"?>
<p:sldLayout xmlns:a="http://schemas.openxmlformats.org/drawingml/2006/main" xmlns:r="http://schemas.openxmlformats.org/officeDocument/2006/relationships" xmlns:p="http://schemas.openxmlformats.org/presentationml/2006/main" userDrawn="1">
  <p:cSld name="74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9845704"/>
      </p:ext>
    </p:extLst>
  </p:cSld>
  <p:clrMapOvr>
    <a:masterClrMapping/>
  </p:clrMapOvr>
</p:sldLayout>
</file>

<file path=ppt/slideLayouts/slideLayout1525.xml><?xml version="1.0" encoding="utf-8"?>
<p:sldLayout xmlns:a="http://schemas.openxmlformats.org/drawingml/2006/main" xmlns:r="http://schemas.openxmlformats.org/officeDocument/2006/relationships" xmlns:p="http://schemas.openxmlformats.org/presentationml/2006/main" userDrawn="1">
  <p:cSld name="2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788744383"/>
      </p:ext>
    </p:extLst>
  </p:cSld>
  <p:clrMapOvr>
    <a:masterClrMapping/>
  </p:clrMapOvr>
</p:sldLayout>
</file>

<file path=ppt/slideLayouts/slideLayout1526.xml><?xml version="1.0" encoding="utf-8"?>
<p:sldLayout xmlns:a="http://schemas.openxmlformats.org/drawingml/2006/main" xmlns:r="http://schemas.openxmlformats.org/officeDocument/2006/relationships" xmlns:p="http://schemas.openxmlformats.org/presentationml/2006/main" userDrawn="1">
  <p:cSld name="2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103370322"/>
      </p:ext>
    </p:extLst>
  </p:cSld>
  <p:clrMapOvr>
    <a:masterClrMapping/>
  </p:clrMapOvr>
</p:sldLayout>
</file>

<file path=ppt/slideLayouts/slideLayout1527.xml><?xml version="1.0" encoding="utf-8"?>
<p:sldLayout xmlns:a="http://schemas.openxmlformats.org/drawingml/2006/main" xmlns:r="http://schemas.openxmlformats.org/officeDocument/2006/relationships" xmlns:p="http://schemas.openxmlformats.org/presentationml/2006/main" userDrawn="1">
  <p:cSld name="1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729761666"/>
      </p:ext>
    </p:extLst>
  </p:cSld>
  <p:clrMapOvr>
    <a:masterClrMapping/>
  </p:clrMapOvr>
</p:sldLayout>
</file>

<file path=ppt/slideLayouts/slideLayout1528.xml><?xml version="1.0" encoding="utf-8"?>
<p:sldLayout xmlns:a="http://schemas.openxmlformats.org/drawingml/2006/main" xmlns:r="http://schemas.openxmlformats.org/officeDocument/2006/relationships" xmlns:p="http://schemas.openxmlformats.org/presentationml/2006/main" userDrawn="1">
  <p:cSld name="2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077053812"/>
      </p:ext>
    </p:extLst>
  </p:cSld>
  <p:clrMapOvr>
    <a:masterClrMapping/>
  </p:clrMapOvr>
</p:sldLayout>
</file>

<file path=ppt/slideLayouts/slideLayout1529.xml><?xml version="1.0" encoding="utf-8"?>
<p:sldLayout xmlns:a="http://schemas.openxmlformats.org/drawingml/2006/main" xmlns:r="http://schemas.openxmlformats.org/officeDocument/2006/relationships" xmlns:p="http://schemas.openxmlformats.org/presentationml/2006/main" showMasterSp="0" userDrawn="1">
  <p:cSld name="1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56234478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90579671"/>
      </p:ext>
    </p:extLst>
  </p:cSld>
  <p:clrMapOvr>
    <a:masterClrMapping/>
  </p:clrMapOvr>
</p:sldLayout>
</file>

<file path=ppt/slideLayouts/slideLayout1530.xml><?xml version="1.0" encoding="utf-8"?>
<p:sldLayout xmlns:a="http://schemas.openxmlformats.org/drawingml/2006/main" xmlns:r="http://schemas.openxmlformats.org/officeDocument/2006/relationships" xmlns:p="http://schemas.openxmlformats.org/presentationml/2006/main" showMasterSp="0" userDrawn="1">
  <p:cSld name="4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7444696"/>
      </p:ext>
    </p:extLst>
  </p:cSld>
  <p:clrMapOvr>
    <a:masterClrMapping/>
  </p:clrMapOvr>
</p:sldLayout>
</file>

<file path=ppt/slideLayouts/slideLayout1531.xml><?xml version="1.0" encoding="utf-8"?>
<p:sldLayout xmlns:a="http://schemas.openxmlformats.org/drawingml/2006/main" xmlns:r="http://schemas.openxmlformats.org/officeDocument/2006/relationships" xmlns:p="http://schemas.openxmlformats.org/presentationml/2006/main" userDrawn="1">
  <p:cSld name="2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1238268420"/>
      </p:ext>
    </p:extLst>
  </p:cSld>
  <p:clrMapOvr>
    <a:masterClrMapping/>
  </p:clrMapOvr>
</p:sldLayout>
</file>

<file path=ppt/slideLayouts/slideLayout1532.xml><?xml version="1.0" encoding="utf-8"?>
<p:sldLayout xmlns:a="http://schemas.openxmlformats.org/drawingml/2006/main" xmlns:r="http://schemas.openxmlformats.org/officeDocument/2006/relationships" xmlns:p="http://schemas.openxmlformats.org/presentationml/2006/main" userDrawn="1">
  <p:cSld name="2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518987221"/>
      </p:ext>
    </p:extLst>
  </p:cSld>
  <p:clrMapOvr>
    <a:masterClrMapping/>
  </p:clrMapOvr>
</p:sldLayout>
</file>

<file path=ppt/slideLayouts/slideLayout1533.xml><?xml version="1.0" encoding="utf-8"?>
<p:sldLayout xmlns:a="http://schemas.openxmlformats.org/drawingml/2006/main" xmlns:r="http://schemas.openxmlformats.org/officeDocument/2006/relationships" xmlns:p="http://schemas.openxmlformats.org/presentationml/2006/main">
  <p:cSld name="7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8751995"/>
      </p:ext>
    </p:extLst>
  </p:cSld>
  <p:clrMapOvr>
    <a:masterClrMapping/>
  </p:clrMapOvr>
</p:sldLayout>
</file>

<file path=ppt/slideLayouts/slideLayout1534.xml><?xml version="1.0" encoding="utf-8"?>
<p:sldLayout xmlns:a="http://schemas.openxmlformats.org/drawingml/2006/main" xmlns:r="http://schemas.openxmlformats.org/officeDocument/2006/relationships" xmlns:p="http://schemas.openxmlformats.org/presentationml/2006/main">
  <p:cSld name="2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1750207748"/>
      </p:ext>
    </p:extLst>
  </p:cSld>
  <p:clrMapOvr>
    <a:masterClrMapping/>
  </p:clrMapOvr>
</p:sldLayout>
</file>

<file path=ppt/slideLayouts/slideLayout1535.xml><?xml version="1.0" encoding="utf-8"?>
<p:sldLayout xmlns:a="http://schemas.openxmlformats.org/drawingml/2006/main" xmlns:r="http://schemas.openxmlformats.org/officeDocument/2006/relationships" xmlns:p="http://schemas.openxmlformats.org/presentationml/2006/main" userDrawn="1">
  <p:cSld name="2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65982951"/>
      </p:ext>
    </p:extLst>
  </p:cSld>
  <p:clrMapOvr>
    <a:masterClrMapping/>
  </p:clrMapOvr>
</p:sldLayout>
</file>

<file path=ppt/slideLayouts/slideLayout1536.xml><?xml version="1.0" encoding="utf-8"?>
<p:sldLayout xmlns:a="http://schemas.openxmlformats.org/drawingml/2006/main" xmlns:r="http://schemas.openxmlformats.org/officeDocument/2006/relationships" xmlns:p="http://schemas.openxmlformats.org/presentationml/2006/main">
  <p:cSld name="7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065007"/>
      </p:ext>
    </p:extLst>
  </p:cSld>
  <p:clrMapOvr>
    <a:masterClrMapping/>
  </p:clrMapOvr>
</p:sldLayout>
</file>

<file path=ppt/slideLayouts/slideLayout1537.xml><?xml version="1.0" encoding="utf-8"?>
<p:sldLayout xmlns:a="http://schemas.openxmlformats.org/drawingml/2006/main" xmlns:r="http://schemas.openxmlformats.org/officeDocument/2006/relationships" xmlns:p="http://schemas.openxmlformats.org/presentationml/2006/main">
  <p:cSld name="2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81792088"/>
      </p:ext>
    </p:extLst>
  </p:cSld>
  <p:clrMapOvr>
    <a:masterClrMapping/>
  </p:clrMapOvr>
</p:sldLayout>
</file>

<file path=ppt/slideLayouts/slideLayout1538.xml><?xml version="1.0" encoding="utf-8"?>
<p:sldLayout xmlns:a="http://schemas.openxmlformats.org/drawingml/2006/main" xmlns:r="http://schemas.openxmlformats.org/officeDocument/2006/relationships" xmlns:p="http://schemas.openxmlformats.org/presentationml/2006/main" showMasterSp="0" userDrawn="1">
  <p:cSld name="5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4242944"/>
      </p:ext>
    </p:extLst>
  </p:cSld>
  <p:clrMapOvr>
    <a:masterClrMapping/>
  </p:clrMapOvr>
</p:sldLayout>
</file>

<file path=ppt/slideLayouts/slideLayout1539.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1/20/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227157380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2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91955889"/>
      </p:ext>
    </p:extLst>
  </p:cSld>
  <p:clrMapOvr>
    <a:masterClrMapping/>
  </p:clrMapOvr>
</p:sldLayout>
</file>

<file path=ppt/slideLayouts/slideLayout1540.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1/20/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4174866711"/>
      </p:ext>
    </p:extLst>
  </p:cSld>
  <p:clrMapOvr>
    <a:masterClrMapping/>
  </p:clrMapOvr>
</p:sldLayout>
</file>

<file path=ppt/slideLayouts/slideLayout1541.xml><?xml version="1.0" encoding="utf-8"?>
<p:sldLayout xmlns:a="http://schemas.openxmlformats.org/drawingml/2006/main" xmlns:r="http://schemas.openxmlformats.org/officeDocument/2006/relationships" xmlns:p="http://schemas.openxmlformats.org/presentationml/2006/main" matchingName="Title and Content">
  <p:cSld name="77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64364310"/>
      </p:ext>
    </p:extLst>
  </p:cSld>
  <p:clrMapOvr>
    <a:masterClrMapping/>
  </p:clrMapOvr>
</p:sldLayout>
</file>

<file path=ppt/slideLayouts/slideLayout1542.xml><?xml version="1.0" encoding="utf-8"?>
<p:sldLayout xmlns:a="http://schemas.openxmlformats.org/drawingml/2006/main" xmlns:r="http://schemas.openxmlformats.org/officeDocument/2006/relationships" xmlns:p="http://schemas.openxmlformats.org/presentationml/2006/main" matchingName="Photo Slide">
  <p:cSld name="4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583842710"/>
      </p:ext>
    </p:extLst>
  </p:cSld>
  <p:clrMapOvr>
    <a:masterClrMapping/>
  </p:clrMapOvr>
</p:sldLayout>
</file>

<file path=ppt/slideLayouts/slideLayout1543.xml><?xml version="1.0" encoding="utf-8"?>
<p:sldLayout xmlns:a="http://schemas.openxmlformats.org/drawingml/2006/main" xmlns:r="http://schemas.openxmlformats.org/officeDocument/2006/relationships" xmlns:p="http://schemas.openxmlformats.org/presentationml/2006/main" matchingName="Photo Slide">
  <p:cSld name="4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883133330"/>
      </p:ext>
    </p:extLst>
  </p:cSld>
  <p:clrMapOvr>
    <a:masterClrMapping/>
  </p:clrMapOvr>
</p:sldLayout>
</file>

<file path=ppt/slideLayouts/slideLayout1544.xml><?xml version="1.0" encoding="utf-8"?>
<p:sldLayout xmlns:a="http://schemas.openxmlformats.org/drawingml/2006/main" xmlns:r="http://schemas.openxmlformats.org/officeDocument/2006/relationships" xmlns:p="http://schemas.openxmlformats.org/presentationml/2006/main" preserve="1" userDrawn="1">
  <p:cSld name="5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991890913"/>
      </p:ext>
    </p:extLst>
  </p:cSld>
  <p:clrMapOvr>
    <a:masterClrMapping/>
  </p:clrMapOvr>
</p:sldLayout>
</file>

<file path=ppt/slideLayouts/slideLayout1545.xml><?xml version="1.0" encoding="utf-8"?>
<p:sldLayout xmlns:a="http://schemas.openxmlformats.org/drawingml/2006/main" xmlns:r="http://schemas.openxmlformats.org/officeDocument/2006/relationships" xmlns:p="http://schemas.openxmlformats.org/presentationml/2006/main" preserve="1" userDrawn="1">
  <p:cSld name="4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89193353"/>
      </p:ext>
    </p:extLst>
  </p:cSld>
  <p:clrMapOvr>
    <a:masterClrMapping/>
  </p:clrMapOvr>
</p:sldLayout>
</file>

<file path=ppt/slideLayouts/slideLayout1546.xml><?xml version="1.0" encoding="utf-8"?>
<p:sldLayout xmlns:a="http://schemas.openxmlformats.org/drawingml/2006/main" xmlns:r="http://schemas.openxmlformats.org/officeDocument/2006/relationships" xmlns:p="http://schemas.openxmlformats.org/presentationml/2006/main" preserve="1" userDrawn="1">
  <p:cSld name="4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06056799"/>
      </p:ext>
    </p:extLst>
  </p:cSld>
  <p:clrMapOvr>
    <a:masterClrMapping/>
  </p:clrMapOvr>
</p:sldLayout>
</file>

<file path=ppt/slideLayouts/slideLayout1547.xml><?xml version="1.0" encoding="utf-8"?>
<p:sldLayout xmlns:a="http://schemas.openxmlformats.org/drawingml/2006/main" xmlns:r="http://schemas.openxmlformats.org/officeDocument/2006/relationships" xmlns:p="http://schemas.openxmlformats.org/presentationml/2006/main" preserve="1" userDrawn="1">
  <p:cSld name="4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97647485"/>
      </p:ext>
    </p:extLst>
  </p:cSld>
  <p:clrMapOvr>
    <a:masterClrMapping/>
  </p:clrMapOvr>
</p:sldLayout>
</file>

<file path=ppt/slideLayouts/slideLayout1548.xml><?xml version="1.0" encoding="utf-8"?>
<p:sldLayout xmlns:a="http://schemas.openxmlformats.org/drawingml/2006/main" xmlns:r="http://schemas.openxmlformats.org/officeDocument/2006/relationships" xmlns:p="http://schemas.openxmlformats.org/presentationml/2006/main" type="obj" preserve="1">
  <p:cSld name="10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5859587"/>
      </p:ext>
    </p:extLst>
  </p:cSld>
  <p:clrMapOvr>
    <a:masterClrMapping/>
  </p:clrMapOvr>
</p:sldLayout>
</file>

<file path=ppt/slideLayouts/slideLayout1549.xml><?xml version="1.0" encoding="utf-8"?>
<p:sldLayout xmlns:a="http://schemas.openxmlformats.org/drawingml/2006/main" xmlns:r="http://schemas.openxmlformats.org/officeDocument/2006/relationships" xmlns:p="http://schemas.openxmlformats.org/presentationml/2006/main" type="obj" preserve="1">
  <p:cSld name="7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260246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80582738"/>
      </p:ext>
    </p:extLst>
  </p:cSld>
  <p:clrMapOvr>
    <a:masterClrMapping/>
  </p:clrMapOvr>
</p:sldLayout>
</file>

<file path=ppt/slideLayouts/slideLayout1550.xml><?xml version="1.0" encoding="utf-8"?>
<p:sldLayout xmlns:a="http://schemas.openxmlformats.org/drawingml/2006/main" xmlns:r="http://schemas.openxmlformats.org/officeDocument/2006/relationships" xmlns:p="http://schemas.openxmlformats.org/presentationml/2006/main" type="twoObj" preserve="1">
  <p:cSld name="4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00290727"/>
      </p:ext>
    </p:extLst>
  </p:cSld>
  <p:clrMapOvr>
    <a:masterClrMapping/>
  </p:clrMapOvr>
</p:sldLayout>
</file>

<file path=ppt/slideLayouts/slideLayout1551.xml><?xml version="1.0" encoding="utf-8"?>
<p:sldLayout xmlns:a="http://schemas.openxmlformats.org/drawingml/2006/main" xmlns:r="http://schemas.openxmlformats.org/officeDocument/2006/relationships" xmlns:p="http://schemas.openxmlformats.org/presentationml/2006/main" type="twoTxTwoObj" preserve="1">
  <p:cSld name="4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92232004"/>
      </p:ext>
    </p:extLst>
  </p:cSld>
  <p:clrMapOvr>
    <a:masterClrMapping/>
  </p:clrMapOvr>
</p:sldLayout>
</file>

<file path=ppt/slideLayouts/slideLayout1552.xml><?xml version="1.0" encoding="utf-8"?>
<p:sldLayout xmlns:a="http://schemas.openxmlformats.org/drawingml/2006/main" xmlns:r="http://schemas.openxmlformats.org/officeDocument/2006/relationships" xmlns:p="http://schemas.openxmlformats.org/presentationml/2006/main" type="titleOnly" preserve="1">
  <p:cSld name="4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9189696"/>
      </p:ext>
    </p:extLst>
  </p:cSld>
  <p:clrMapOvr>
    <a:masterClrMapping/>
  </p:clrMapOvr>
</p:sldLayout>
</file>

<file path=ppt/slideLayouts/slideLayout1553.xml><?xml version="1.0" encoding="utf-8"?>
<p:sldLayout xmlns:a="http://schemas.openxmlformats.org/drawingml/2006/main" xmlns:r="http://schemas.openxmlformats.org/officeDocument/2006/relationships" xmlns:p="http://schemas.openxmlformats.org/presentationml/2006/main" preserve="1" userDrawn="1">
  <p:cSld name="4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07244606"/>
      </p:ext>
    </p:extLst>
  </p:cSld>
  <p:clrMapOvr>
    <a:masterClrMapping/>
  </p:clrMapOvr>
</p:sldLayout>
</file>

<file path=ppt/slideLayouts/slideLayout1554.xml><?xml version="1.0" encoding="utf-8"?>
<p:sldLayout xmlns:a="http://schemas.openxmlformats.org/drawingml/2006/main" xmlns:r="http://schemas.openxmlformats.org/officeDocument/2006/relationships" xmlns:p="http://schemas.openxmlformats.org/presentationml/2006/main" type="blank" preserve="1">
  <p:cSld name="4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10054707"/>
      </p:ext>
    </p:extLst>
  </p:cSld>
  <p:clrMapOvr>
    <a:masterClrMapping/>
  </p:clrMapOvr>
</p:sldLayout>
</file>

<file path=ppt/slideLayouts/slideLayout1555.xml><?xml version="1.0" encoding="utf-8"?>
<p:sldLayout xmlns:a="http://schemas.openxmlformats.org/drawingml/2006/main" xmlns:r="http://schemas.openxmlformats.org/officeDocument/2006/relationships" xmlns:p="http://schemas.openxmlformats.org/presentationml/2006/main" matchingName="Photo Slide">
  <p:cSld name="4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021330558"/>
      </p:ext>
    </p:extLst>
  </p:cSld>
  <p:clrMapOvr>
    <a:masterClrMapping/>
  </p:clrMapOvr>
</p:sldLayout>
</file>

<file path=ppt/slideLayouts/slideLayout1556.xml><?xml version="1.0" encoding="utf-8"?>
<p:sldLayout xmlns:a="http://schemas.openxmlformats.org/drawingml/2006/main" xmlns:r="http://schemas.openxmlformats.org/officeDocument/2006/relationships" xmlns:p="http://schemas.openxmlformats.org/presentationml/2006/main" showMasterSp="0" userDrawn="1">
  <p:cSld name="6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378702589"/>
      </p:ext>
    </p:extLst>
  </p:cSld>
  <p:clrMapOvr>
    <a:masterClrMapping/>
  </p:clrMapOvr>
</p:sldLayout>
</file>

<file path=ppt/slideLayouts/slideLayout1557.xml><?xml version="1.0" encoding="utf-8"?>
<p:sldLayout xmlns:a="http://schemas.openxmlformats.org/drawingml/2006/main" xmlns:r="http://schemas.openxmlformats.org/officeDocument/2006/relationships" xmlns:p="http://schemas.openxmlformats.org/presentationml/2006/main" showMasterSp="0" userDrawn="1">
  <p:cSld name="7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511791181"/>
      </p:ext>
    </p:extLst>
  </p:cSld>
  <p:clrMapOvr>
    <a:masterClrMapping/>
  </p:clrMapOvr>
</p:sldLayout>
</file>

<file path=ppt/slideLayouts/slideLayout1558.xml><?xml version="1.0" encoding="utf-8"?>
<p:sldLayout xmlns:a="http://schemas.openxmlformats.org/drawingml/2006/main" xmlns:r="http://schemas.openxmlformats.org/officeDocument/2006/relationships" xmlns:p="http://schemas.openxmlformats.org/presentationml/2006/main" type="obj" preserve="1">
  <p:cSld name="10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34808861"/>
      </p:ext>
    </p:extLst>
  </p:cSld>
  <p:clrMapOvr>
    <a:masterClrMapping/>
  </p:clrMapOvr>
</p:sldLayout>
</file>

<file path=ppt/slideLayouts/slideLayout1559.xml><?xml version="1.0" encoding="utf-8"?>
<p:sldLayout xmlns:a="http://schemas.openxmlformats.org/drawingml/2006/main" xmlns:r="http://schemas.openxmlformats.org/officeDocument/2006/relationships" xmlns:p="http://schemas.openxmlformats.org/presentationml/2006/main" type="obj" preserve="1">
  <p:cSld name="10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7104712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4587918"/>
      </p:ext>
    </p:extLst>
  </p:cSld>
  <p:clrMapOvr>
    <a:masterClrMapping/>
  </p:clrMapOvr>
</p:sldLayout>
</file>

<file path=ppt/slideLayouts/slideLayout1560.xml><?xml version="1.0" encoding="utf-8"?>
<p:sldLayout xmlns:a="http://schemas.openxmlformats.org/drawingml/2006/main" xmlns:r="http://schemas.openxmlformats.org/officeDocument/2006/relationships" xmlns:p="http://schemas.openxmlformats.org/presentationml/2006/main" type="obj" preserve="1">
  <p:cSld name="10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3668949"/>
      </p:ext>
    </p:extLst>
  </p:cSld>
  <p:clrMapOvr>
    <a:masterClrMapping/>
  </p:clrMapOvr>
</p:sldLayout>
</file>

<file path=ppt/slideLayouts/slideLayout1561.xml><?xml version="1.0" encoding="utf-8"?>
<p:sldLayout xmlns:a="http://schemas.openxmlformats.org/drawingml/2006/main" xmlns:r="http://schemas.openxmlformats.org/officeDocument/2006/relationships" xmlns:p="http://schemas.openxmlformats.org/presentationml/2006/main" type="obj" preserve="1">
  <p:cSld name="1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98356704"/>
      </p:ext>
    </p:extLst>
  </p:cSld>
  <p:clrMapOvr>
    <a:masterClrMapping/>
  </p:clrMapOvr>
</p:sldLayout>
</file>

<file path=ppt/slideLayouts/slideLayout1562.xml><?xml version="1.0" encoding="utf-8"?>
<p:sldLayout xmlns:a="http://schemas.openxmlformats.org/drawingml/2006/main" xmlns:r="http://schemas.openxmlformats.org/officeDocument/2006/relationships" xmlns:p="http://schemas.openxmlformats.org/presentationml/2006/main" preserve="1" userDrawn="1">
  <p:cSld name="4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40170108"/>
      </p:ext>
    </p:extLst>
  </p:cSld>
  <p:clrMapOvr>
    <a:masterClrMapping/>
  </p:clrMapOvr>
</p:sldLayout>
</file>

<file path=ppt/slideLayouts/slideLayout1563.xml><?xml version="1.0" encoding="utf-8"?>
<p:sldLayout xmlns:a="http://schemas.openxmlformats.org/drawingml/2006/main" xmlns:r="http://schemas.openxmlformats.org/officeDocument/2006/relationships" xmlns:p="http://schemas.openxmlformats.org/presentationml/2006/main" preserve="1" userDrawn="1">
  <p:cSld name="4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31152560"/>
      </p:ext>
    </p:extLst>
  </p:cSld>
  <p:clrMapOvr>
    <a:masterClrMapping/>
  </p:clrMapOvr>
</p:sldLayout>
</file>

<file path=ppt/slideLayouts/slideLayout1564.xml><?xml version="1.0" encoding="utf-8"?>
<p:sldLayout xmlns:a="http://schemas.openxmlformats.org/drawingml/2006/main" xmlns:r="http://schemas.openxmlformats.org/officeDocument/2006/relationships" xmlns:p="http://schemas.openxmlformats.org/presentationml/2006/main" preserve="1" userDrawn="1">
  <p:cSld name="4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856982923"/>
      </p:ext>
    </p:extLst>
  </p:cSld>
  <p:clrMapOvr>
    <a:masterClrMapping/>
  </p:clrMapOvr>
</p:sldLayout>
</file>

<file path=ppt/slideLayouts/slideLayout1565.xml><?xml version="1.0" encoding="utf-8"?>
<p:sldLayout xmlns:a="http://schemas.openxmlformats.org/drawingml/2006/main" xmlns:r="http://schemas.openxmlformats.org/officeDocument/2006/relationships" xmlns:p="http://schemas.openxmlformats.org/presentationml/2006/main" type="obj" preserve="1">
  <p:cSld name="1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07172192"/>
      </p:ext>
    </p:extLst>
  </p:cSld>
  <p:clrMapOvr>
    <a:masterClrMapping/>
  </p:clrMapOvr>
</p:sldLayout>
</file>

<file path=ppt/slideLayouts/slideLayout1566.xml><?xml version="1.0" encoding="utf-8"?>
<p:sldLayout xmlns:a="http://schemas.openxmlformats.org/drawingml/2006/main" xmlns:r="http://schemas.openxmlformats.org/officeDocument/2006/relationships" xmlns:p="http://schemas.openxmlformats.org/presentationml/2006/main" type="obj" preserve="1">
  <p:cSld name="1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0590534"/>
      </p:ext>
    </p:extLst>
  </p:cSld>
  <p:clrMapOvr>
    <a:masterClrMapping/>
  </p:clrMapOvr>
</p:sldLayout>
</file>

<file path=ppt/slideLayouts/slideLayout1567.xml><?xml version="1.0" encoding="utf-8"?>
<p:sldLayout xmlns:a="http://schemas.openxmlformats.org/drawingml/2006/main" xmlns:r="http://schemas.openxmlformats.org/officeDocument/2006/relationships" xmlns:p="http://schemas.openxmlformats.org/presentationml/2006/main" type="obj" preserve="1">
  <p:cSld name="1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6235462"/>
      </p:ext>
    </p:extLst>
  </p:cSld>
  <p:clrMapOvr>
    <a:masterClrMapping/>
  </p:clrMapOvr>
</p:sldLayout>
</file>

<file path=ppt/slideLayouts/slideLayout1568.xml><?xml version="1.0" encoding="utf-8"?>
<p:sldLayout xmlns:a="http://schemas.openxmlformats.org/drawingml/2006/main" xmlns:r="http://schemas.openxmlformats.org/officeDocument/2006/relationships" xmlns:p="http://schemas.openxmlformats.org/presentationml/2006/main" type="obj" preserve="1">
  <p:cSld name="1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01496934"/>
      </p:ext>
    </p:extLst>
  </p:cSld>
  <p:clrMapOvr>
    <a:masterClrMapping/>
  </p:clrMapOvr>
</p:sldLayout>
</file>

<file path=ppt/slideLayouts/slideLayout1569.xml><?xml version="1.0" encoding="utf-8"?>
<p:sldLayout xmlns:a="http://schemas.openxmlformats.org/drawingml/2006/main" xmlns:r="http://schemas.openxmlformats.org/officeDocument/2006/relationships" xmlns:p="http://schemas.openxmlformats.org/presentationml/2006/main" type="obj" preserve="1">
  <p:cSld name="7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9600907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09084614"/>
      </p:ext>
    </p:extLst>
  </p:cSld>
  <p:clrMapOvr>
    <a:masterClrMapping/>
  </p:clrMapOvr>
</p:sldLayout>
</file>

<file path=ppt/slideLayouts/slideLayout1570.xml><?xml version="1.0" encoding="utf-8"?>
<p:sldLayout xmlns:a="http://schemas.openxmlformats.org/drawingml/2006/main" xmlns:r="http://schemas.openxmlformats.org/officeDocument/2006/relationships" xmlns:p="http://schemas.openxmlformats.org/presentationml/2006/main" type="twoObj" preserve="1">
  <p:cSld name="4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69198842"/>
      </p:ext>
    </p:extLst>
  </p:cSld>
  <p:clrMapOvr>
    <a:masterClrMapping/>
  </p:clrMapOvr>
</p:sldLayout>
</file>

<file path=ppt/slideLayouts/slideLayout1571.xml><?xml version="1.0" encoding="utf-8"?>
<p:sldLayout xmlns:a="http://schemas.openxmlformats.org/drawingml/2006/main" xmlns:r="http://schemas.openxmlformats.org/officeDocument/2006/relationships" xmlns:p="http://schemas.openxmlformats.org/presentationml/2006/main" type="twoTxTwoObj" preserve="1">
  <p:cSld name="4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38456796"/>
      </p:ext>
    </p:extLst>
  </p:cSld>
  <p:clrMapOvr>
    <a:masterClrMapping/>
  </p:clrMapOvr>
</p:sldLayout>
</file>

<file path=ppt/slideLayouts/slideLayout1572.xml><?xml version="1.0" encoding="utf-8"?>
<p:sldLayout xmlns:a="http://schemas.openxmlformats.org/drawingml/2006/main" xmlns:r="http://schemas.openxmlformats.org/officeDocument/2006/relationships" xmlns:p="http://schemas.openxmlformats.org/presentationml/2006/main" type="titleOnly" preserve="1">
  <p:cSld name="4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95466743"/>
      </p:ext>
    </p:extLst>
  </p:cSld>
  <p:clrMapOvr>
    <a:masterClrMapping/>
  </p:clrMapOvr>
</p:sldLayout>
</file>

<file path=ppt/slideLayouts/slideLayout1573.xml><?xml version="1.0" encoding="utf-8"?>
<p:sldLayout xmlns:a="http://schemas.openxmlformats.org/drawingml/2006/main" xmlns:r="http://schemas.openxmlformats.org/officeDocument/2006/relationships" xmlns:p="http://schemas.openxmlformats.org/presentationml/2006/main" preserve="1" userDrawn="1">
  <p:cSld name="4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5509890"/>
      </p:ext>
    </p:extLst>
  </p:cSld>
  <p:clrMapOvr>
    <a:masterClrMapping/>
  </p:clrMapOvr>
</p:sldLayout>
</file>

<file path=ppt/slideLayouts/slideLayout1574.xml><?xml version="1.0" encoding="utf-8"?>
<p:sldLayout xmlns:a="http://schemas.openxmlformats.org/drawingml/2006/main" xmlns:r="http://schemas.openxmlformats.org/officeDocument/2006/relationships" xmlns:p="http://schemas.openxmlformats.org/presentationml/2006/main" type="blank" preserve="1">
  <p:cSld name="4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45015277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422117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32907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9119921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6941429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92632230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0339369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9258950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5348527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9587065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882524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9923806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4986218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638520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2951579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1373680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58418468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9943467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6805659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1943896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387178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6569449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7335050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9984913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8115956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843612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5697272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925165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192638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666927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092253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584172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1059617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31631518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100802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3937929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8327021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7509257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8871672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503774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600236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3985548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2182600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7549953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29141060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356164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52676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98543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1422887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7529749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57866321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077402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3459419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631527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131789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0028810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9637610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9288645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061593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4801549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8861694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4693841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48355057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22087704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6857427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3547192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827859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8940448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0347842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590980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96422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94527636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1802146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3998958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7586454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978282302"/>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710498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9537213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1782802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62764862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261225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371994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6205469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905529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8617126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8009053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792121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192097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3580442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058527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09666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567607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51515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3564941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55143226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8046120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7398495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2906630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242847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4870216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5771306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980540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161796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181078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49333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67497762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34355322"/>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900145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188074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978609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916879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811283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363513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723601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7827438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3925697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61763865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0764009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8876459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reserve="1">
  <p:cSld name="2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1980005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1158550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2274610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65694009"/>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5402952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90592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08841809"/>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304868132"/>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079294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9783795"/>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73097338"/>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6829663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46385496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323186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78744679"/>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637647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43775063"/>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34956318"/>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878642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18415549"/>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521326"/>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71903"/>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374324019"/>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3686679"/>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9041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4450066"/>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1/20/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1/20/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13001559"/>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5481949"/>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4801019"/>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07914573"/>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10812348"/>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02775852"/>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47288010"/>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25519462"/>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98032396"/>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04125666"/>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5845292"/>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30356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756388239"/>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670630771"/>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68412230"/>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707651266"/>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18896833"/>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2089770"/>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57758517"/>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23406442"/>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7243743"/>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680660955"/>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65875377"/>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matchingName="Title and Content">
  <p:cSld name="3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4467406"/>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matchingName="Photo Slide">
  <p:cSld name="20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45677796"/>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1248361"/>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251683148"/>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876612349"/>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1684694"/>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22325930"/>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5729815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4216092"/>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2479938"/>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66296709"/>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70922304"/>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type="obj" preserve="1">
  <p:cSld name="3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55432313"/>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9056666"/>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1967696"/>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6446465"/>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10798543"/>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48675539"/>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230117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44886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991876091"/>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36372206"/>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92031328"/>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0270537"/>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1/20/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914610509"/>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1/20/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650515904"/>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853644344"/>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30798206"/>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122990995"/>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matchingName="Title and Content">
  <p:cSld name="36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8653374"/>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2248345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1815734"/>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543003970"/>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5" y="4178330"/>
            <a:ext cx="4395959" cy="1140163"/>
          </a:xfrm>
          <a:prstGeom prst="rect">
            <a:avLst/>
          </a:prstGeom>
        </p:spPr>
      </p:pic>
    </p:spTree>
    <p:extLst>
      <p:ext uri="{BB962C8B-B14F-4D97-AF65-F5344CB8AC3E}">
        <p14:creationId xmlns:p14="http://schemas.microsoft.com/office/powerpoint/2010/main" val="1817355230"/>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251400287"/>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cSld name="3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98946972"/>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1751562560"/>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126479413"/>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489622913"/>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7336188"/>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8520332"/>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2848929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5213743"/>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5040569"/>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21105823"/>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5772397"/>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251901327"/>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352467"/>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2305507"/>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45177511"/>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26909929"/>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8498237"/>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63658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14809"/>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08656322"/>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30473943"/>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35550117"/>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05824695"/>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42248109"/>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cSld name="3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28249061"/>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15655145"/>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538390"/>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44353" t="41308" r="41308" b="44537"/>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8810016"/>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47740735"/>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582254879"/>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95849402"/>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62217939"/>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2" y="1"/>
            <a:ext cx="5000459" cy="1425992"/>
            <a:chOff x="7191542" y="1"/>
            <a:chExt cx="5000459" cy="1425992"/>
          </a:xfrm>
        </p:grpSpPr>
        <p:pic>
          <p:nvPicPr>
            <p:cNvPr id="72" name="Google Shape;72;p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16851664"/>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1/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1/2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1/2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1/2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629127"/>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14"/>
        <p:cNvGrpSpPr/>
        <p:nvPr/>
      </p:nvGrpSpPr>
      <p:grpSpPr>
        <a:xfrm>
          <a:off x="0" y="0"/>
          <a:ext cx="0" cy="0"/>
          <a:chOff x="0" y="0"/>
          <a:chExt cx="0" cy="0"/>
        </a:xfrm>
      </p:grpSpPr>
      <p:sp>
        <p:nvSpPr>
          <p:cNvPr id="15" name="Google Shape;15;p3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 name="Google Shape;16;p3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3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35"/>
          <p:cNvSpPr>
            <a:spLocks noGrp="1"/>
          </p:cNvSpPr>
          <p:nvPr>
            <p:ph type="pic" idx="2"/>
          </p:nvPr>
        </p:nvSpPr>
        <p:spPr>
          <a:xfrm>
            <a:off x="7118684" y="233915"/>
            <a:ext cx="5073316" cy="5943600"/>
          </a:xfrm>
          <a:prstGeom prst="rect">
            <a:avLst/>
          </a:prstGeom>
          <a:noFill/>
          <a:ln>
            <a:noFill/>
          </a:ln>
        </p:spPr>
      </p:sp>
      <p:grpSp>
        <p:nvGrpSpPr>
          <p:cNvPr id="19" name="Google Shape;19;p35"/>
          <p:cNvGrpSpPr/>
          <p:nvPr/>
        </p:nvGrpSpPr>
        <p:grpSpPr>
          <a:xfrm>
            <a:off x="0" y="5020348"/>
            <a:ext cx="12192000" cy="1837653"/>
            <a:chOff x="0" y="5020348"/>
            <a:chExt cx="12192000" cy="1837653"/>
          </a:xfrm>
        </p:grpSpPr>
        <p:sp>
          <p:nvSpPr>
            <p:cNvPr id="20" name="Google Shape;20;p3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 name="Google Shape;21;p3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2" name="Google Shape;22;p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3"/>
        <p:cNvGrpSpPr/>
        <p:nvPr/>
      </p:nvGrpSpPr>
      <p:grpSpPr>
        <a:xfrm>
          <a:off x="0" y="0"/>
          <a:ext cx="0" cy="0"/>
          <a:chOff x="0" y="0"/>
          <a:chExt cx="0" cy="0"/>
        </a:xfrm>
      </p:grpSpPr>
      <p:grpSp>
        <p:nvGrpSpPr>
          <p:cNvPr id="24" name="Google Shape;24;p36"/>
          <p:cNvGrpSpPr/>
          <p:nvPr/>
        </p:nvGrpSpPr>
        <p:grpSpPr>
          <a:xfrm>
            <a:off x="7191542" y="1"/>
            <a:ext cx="5000459" cy="1425992"/>
            <a:chOff x="7191542" y="1"/>
            <a:chExt cx="5000459" cy="1425992"/>
          </a:xfrm>
        </p:grpSpPr>
        <p:pic>
          <p:nvPicPr>
            <p:cNvPr id="25" name="Google Shape;25;p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 name="Google Shape;26;p36"/>
            <p:cNvGrpSpPr/>
            <p:nvPr/>
          </p:nvGrpSpPr>
          <p:grpSpPr>
            <a:xfrm>
              <a:off x="7191542" y="1"/>
              <a:ext cx="5000459" cy="1425992"/>
              <a:chOff x="7186272" y="0"/>
              <a:chExt cx="5005729" cy="1427495"/>
            </a:xfrm>
          </p:grpSpPr>
          <p:sp>
            <p:nvSpPr>
              <p:cNvPr id="27" name="Google Shape;27;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 name="Google Shape;28;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9" name="Google Shape;29;p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3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 name="Google Shape;31;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 name="Google Shape;32;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 name="Google Shape;33;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34"/>
        <p:cNvGrpSpPr/>
        <p:nvPr/>
      </p:nvGrpSpPr>
      <p:grpSpPr>
        <a:xfrm>
          <a:off x="0" y="0"/>
          <a:ext cx="0" cy="0"/>
          <a:chOff x="0" y="0"/>
          <a:chExt cx="0" cy="0"/>
        </a:xfrm>
      </p:grpSpPr>
      <p:grpSp>
        <p:nvGrpSpPr>
          <p:cNvPr id="35" name="Google Shape;35;p37"/>
          <p:cNvGrpSpPr/>
          <p:nvPr/>
        </p:nvGrpSpPr>
        <p:grpSpPr>
          <a:xfrm>
            <a:off x="0" y="5020347"/>
            <a:ext cx="12192000" cy="1837653"/>
            <a:chOff x="0" y="5020347"/>
            <a:chExt cx="12192000" cy="1837653"/>
          </a:xfrm>
        </p:grpSpPr>
        <p:sp>
          <p:nvSpPr>
            <p:cNvPr id="36" name="Google Shape;36;p3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7" name="Google Shape;37;p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8" name="Google Shape;38;p3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9" name="Google Shape;39;p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0" name="Google Shape;40;p3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3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2"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matchingName="Title and Content">
  <p:cSld name="Title and Content 2">
    <p:spTree>
      <p:nvGrpSpPr>
        <p:cNvPr id="1" name="Shape 53"/>
        <p:cNvGrpSpPr/>
        <p:nvPr/>
      </p:nvGrpSpPr>
      <p:grpSpPr>
        <a:xfrm>
          <a:off x="0" y="0"/>
          <a:ext cx="0" cy="0"/>
          <a:chOff x="0" y="0"/>
          <a:chExt cx="0" cy="0"/>
        </a:xfrm>
      </p:grpSpPr>
      <p:grpSp>
        <p:nvGrpSpPr>
          <p:cNvPr id="54" name="Google Shape;54;p39"/>
          <p:cNvGrpSpPr/>
          <p:nvPr/>
        </p:nvGrpSpPr>
        <p:grpSpPr>
          <a:xfrm>
            <a:off x="7191542" y="1"/>
            <a:ext cx="5000459" cy="1425992"/>
            <a:chOff x="7191542" y="1"/>
            <a:chExt cx="5000459" cy="1425992"/>
          </a:xfrm>
        </p:grpSpPr>
        <p:pic>
          <p:nvPicPr>
            <p:cNvPr id="55" name="Google Shape;55;p3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6" name="Google Shape;56;p39"/>
            <p:cNvGrpSpPr/>
            <p:nvPr/>
          </p:nvGrpSpPr>
          <p:grpSpPr>
            <a:xfrm>
              <a:off x="7191542" y="1"/>
              <a:ext cx="5000459" cy="1425992"/>
              <a:chOff x="7186272" y="0"/>
              <a:chExt cx="5005729" cy="1427495"/>
            </a:xfrm>
          </p:grpSpPr>
          <p:sp>
            <p:nvSpPr>
              <p:cNvPr id="57" name="Google Shape;57;p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8" name="Google Shape;58;p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9" name="Google Shape;59;p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 name="Google Shape;60;p3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 name="Google Shape;61;p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 name="Google Shape;62;p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 name="Google Shape;63;p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64"/>
        <p:cNvGrpSpPr/>
        <p:nvPr/>
      </p:nvGrpSpPr>
      <p:grpSpPr>
        <a:xfrm>
          <a:off x="0" y="0"/>
          <a:ext cx="0" cy="0"/>
          <a:chOff x="0" y="0"/>
          <a:chExt cx="0" cy="0"/>
        </a:xfrm>
      </p:grpSpPr>
      <p:grpSp>
        <p:nvGrpSpPr>
          <p:cNvPr id="65" name="Google Shape;65;p40"/>
          <p:cNvGrpSpPr/>
          <p:nvPr/>
        </p:nvGrpSpPr>
        <p:grpSpPr>
          <a:xfrm>
            <a:off x="7191542" y="1"/>
            <a:ext cx="5000459" cy="1425992"/>
            <a:chOff x="7191542" y="1"/>
            <a:chExt cx="5000459" cy="1425992"/>
          </a:xfrm>
        </p:grpSpPr>
        <p:pic>
          <p:nvPicPr>
            <p:cNvPr id="66" name="Google Shape;66;p4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7" name="Google Shape;67;p40"/>
            <p:cNvGrpSpPr/>
            <p:nvPr/>
          </p:nvGrpSpPr>
          <p:grpSpPr>
            <a:xfrm>
              <a:off x="7191542" y="1"/>
              <a:ext cx="5000459" cy="1425992"/>
              <a:chOff x="7186272" y="0"/>
              <a:chExt cx="5005729" cy="1427495"/>
            </a:xfrm>
          </p:grpSpPr>
          <p:sp>
            <p:nvSpPr>
              <p:cNvPr id="68" name="Google Shape;68;p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9" name="Google Shape;69;p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0" name="Google Shape;70;p4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 name="Google Shape;71;p4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 name="Google Shape;72;p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 name="Google Shape;73;p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 name="Google Shape;74;p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423891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32741348"/>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94"/>
        <p:cNvGrpSpPr/>
        <p:nvPr/>
      </p:nvGrpSpPr>
      <p:grpSpPr>
        <a:xfrm>
          <a:off x="0" y="0"/>
          <a:ext cx="0" cy="0"/>
          <a:chOff x="0" y="0"/>
          <a:chExt cx="0" cy="0"/>
        </a:xfrm>
      </p:grpSpPr>
      <p:sp>
        <p:nvSpPr>
          <p:cNvPr id="95" name="Google Shape;95;p4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 name="Google Shape;96;p4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 name="Google Shape;97;p4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8" name="Google Shape;98;p48"/>
          <p:cNvSpPr>
            <a:spLocks noGrp="1"/>
          </p:cNvSpPr>
          <p:nvPr>
            <p:ph type="pic" idx="2"/>
          </p:nvPr>
        </p:nvSpPr>
        <p:spPr>
          <a:xfrm>
            <a:off x="7118684" y="233915"/>
            <a:ext cx="5073316" cy="5943600"/>
          </a:xfrm>
          <a:prstGeom prst="rect">
            <a:avLst/>
          </a:prstGeom>
          <a:noFill/>
          <a:ln>
            <a:noFill/>
          </a:ln>
        </p:spPr>
      </p:sp>
      <p:grpSp>
        <p:nvGrpSpPr>
          <p:cNvPr id="99" name="Google Shape;99;p48"/>
          <p:cNvGrpSpPr/>
          <p:nvPr/>
        </p:nvGrpSpPr>
        <p:grpSpPr>
          <a:xfrm>
            <a:off x="0" y="5020348"/>
            <a:ext cx="12192000" cy="1837653"/>
            <a:chOff x="0" y="5020348"/>
            <a:chExt cx="12192000" cy="1837653"/>
          </a:xfrm>
        </p:grpSpPr>
        <p:sp>
          <p:nvSpPr>
            <p:cNvPr id="100" name="Google Shape;100;p4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1" name="Google Shape;101;p4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2" name="Google Shape;102;p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03"/>
        <p:cNvGrpSpPr/>
        <p:nvPr/>
      </p:nvGrpSpPr>
      <p:grpSpPr>
        <a:xfrm>
          <a:off x="0" y="0"/>
          <a:ext cx="0" cy="0"/>
          <a:chOff x="0" y="0"/>
          <a:chExt cx="0" cy="0"/>
        </a:xfrm>
      </p:grpSpPr>
      <p:sp>
        <p:nvSpPr>
          <p:cNvPr id="104" name="Google Shape;104;p4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 name="Google Shape;105;p4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 name="Google Shape;106;p4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 name="Google Shape;107;p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8" name="Google Shape;108;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9" name="Google Shape;109;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0" name="Google Shape;110;p49"/>
          <p:cNvGrpSpPr/>
          <p:nvPr/>
        </p:nvGrpSpPr>
        <p:grpSpPr>
          <a:xfrm>
            <a:off x="7191542" y="1"/>
            <a:ext cx="5000459" cy="1425992"/>
            <a:chOff x="7191542" y="1"/>
            <a:chExt cx="5000459" cy="1425992"/>
          </a:xfrm>
        </p:grpSpPr>
        <p:pic>
          <p:nvPicPr>
            <p:cNvPr id="111" name="Google Shape;111;p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2" name="Google Shape;112;p49"/>
            <p:cNvGrpSpPr/>
            <p:nvPr/>
          </p:nvGrpSpPr>
          <p:grpSpPr>
            <a:xfrm>
              <a:off x="7191542" y="1"/>
              <a:ext cx="5000459" cy="1425992"/>
              <a:chOff x="7186272" y="0"/>
              <a:chExt cx="5005729" cy="1427495"/>
            </a:xfrm>
          </p:grpSpPr>
          <p:sp>
            <p:nvSpPr>
              <p:cNvPr id="113" name="Google Shape;113;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4" name="Google Shape;114;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5" name="Google Shape;115;p4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116"/>
        <p:cNvGrpSpPr/>
        <p:nvPr/>
      </p:nvGrpSpPr>
      <p:grpSpPr>
        <a:xfrm>
          <a:off x="0" y="0"/>
          <a:ext cx="0" cy="0"/>
          <a:chOff x="0" y="0"/>
          <a:chExt cx="0" cy="0"/>
        </a:xfrm>
      </p:grpSpPr>
      <p:sp>
        <p:nvSpPr>
          <p:cNvPr id="117" name="Google Shape;117;p5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8" name="Google Shape;118;p5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9" name="Google Shape;119;p5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 name="Google Shape;120;p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1" name="Google Shape;121;p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 name="Google Shape;122;p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3" name="Google Shape;123;p50"/>
          <p:cNvGrpSpPr/>
          <p:nvPr/>
        </p:nvGrpSpPr>
        <p:grpSpPr>
          <a:xfrm>
            <a:off x="7191542" y="1"/>
            <a:ext cx="5000459" cy="1425992"/>
            <a:chOff x="7191542" y="1"/>
            <a:chExt cx="5000459" cy="1425992"/>
          </a:xfrm>
        </p:grpSpPr>
        <p:pic>
          <p:nvPicPr>
            <p:cNvPr id="124" name="Google Shape;124;p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25" name="Google Shape;125;p50"/>
            <p:cNvGrpSpPr/>
            <p:nvPr/>
          </p:nvGrpSpPr>
          <p:grpSpPr>
            <a:xfrm>
              <a:off x="7191542" y="1"/>
              <a:ext cx="5000459" cy="1425992"/>
              <a:chOff x="7186272" y="0"/>
              <a:chExt cx="5005729" cy="1427495"/>
            </a:xfrm>
          </p:grpSpPr>
          <p:sp>
            <p:nvSpPr>
              <p:cNvPr id="126" name="Google Shape;126;p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7" name="Google Shape;127;p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8" name="Google Shape;128;p5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29"/>
        <p:cNvGrpSpPr/>
        <p:nvPr/>
      </p:nvGrpSpPr>
      <p:grpSpPr>
        <a:xfrm>
          <a:off x="0" y="0"/>
          <a:ext cx="0" cy="0"/>
          <a:chOff x="0" y="0"/>
          <a:chExt cx="0" cy="0"/>
        </a:xfrm>
      </p:grpSpPr>
      <p:grpSp>
        <p:nvGrpSpPr>
          <p:cNvPr id="130" name="Google Shape;130;p52"/>
          <p:cNvGrpSpPr/>
          <p:nvPr/>
        </p:nvGrpSpPr>
        <p:grpSpPr>
          <a:xfrm>
            <a:off x="7191542" y="1"/>
            <a:ext cx="5000459" cy="1425992"/>
            <a:chOff x="7191542" y="1"/>
            <a:chExt cx="5000459" cy="1425992"/>
          </a:xfrm>
        </p:grpSpPr>
        <p:pic>
          <p:nvPicPr>
            <p:cNvPr id="131" name="Google Shape;131;p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32" name="Google Shape;132;p52"/>
            <p:cNvGrpSpPr/>
            <p:nvPr/>
          </p:nvGrpSpPr>
          <p:grpSpPr>
            <a:xfrm>
              <a:off x="7191542" y="1"/>
              <a:ext cx="5000459" cy="1425992"/>
              <a:chOff x="7186272" y="0"/>
              <a:chExt cx="5005729" cy="1427495"/>
            </a:xfrm>
          </p:grpSpPr>
          <p:sp>
            <p:nvSpPr>
              <p:cNvPr id="133" name="Google Shape;133;p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4" name="Google Shape;134;p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35" name="Google Shape;135;p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 name="Google Shape;136;p5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7" name="Google Shape;137;p5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 name="Google Shape;138;p5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9" name="Google Shape;139;p5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 name="Google Shape;140;p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1" name="Google Shape;141;p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 name="Google Shape;142;p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143"/>
        <p:cNvGrpSpPr/>
        <p:nvPr/>
      </p:nvGrpSpPr>
      <p:grpSpPr>
        <a:xfrm>
          <a:off x="0" y="0"/>
          <a:ext cx="0" cy="0"/>
          <a:chOff x="0" y="0"/>
          <a:chExt cx="0" cy="0"/>
        </a:xfrm>
      </p:grpSpPr>
      <p:grpSp>
        <p:nvGrpSpPr>
          <p:cNvPr id="144" name="Google Shape;144;p53"/>
          <p:cNvGrpSpPr/>
          <p:nvPr/>
        </p:nvGrpSpPr>
        <p:grpSpPr>
          <a:xfrm>
            <a:off x="0" y="5020347"/>
            <a:ext cx="12192000" cy="1837653"/>
            <a:chOff x="0" y="5020347"/>
            <a:chExt cx="12192000" cy="1837653"/>
          </a:xfrm>
        </p:grpSpPr>
        <p:sp>
          <p:nvSpPr>
            <p:cNvPr id="145" name="Google Shape;145;p5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6" name="Google Shape;146;p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7" name="Google Shape;147;p5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8" name="Google Shape;148;p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9" name="Google Shape;149;p5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0" name="Google Shape;150;p5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151"/>
        <p:cNvGrpSpPr/>
        <p:nvPr/>
      </p:nvGrpSpPr>
      <p:grpSpPr>
        <a:xfrm>
          <a:off x="0" y="0"/>
          <a:ext cx="0" cy="0"/>
          <a:chOff x="0" y="0"/>
          <a:chExt cx="0" cy="0"/>
        </a:xfrm>
      </p:grpSpPr>
      <p:sp>
        <p:nvSpPr>
          <p:cNvPr id="152" name="Google Shape;152;p5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3" name="Google Shape;153;p5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4" name="Google Shape;154;p54"/>
          <p:cNvGrpSpPr/>
          <p:nvPr/>
        </p:nvGrpSpPr>
        <p:grpSpPr>
          <a:xfrm>
            <a:off x="0" y="5379426"/>
            <a:ext cx="2807368" cy="753891"/>
            <a:chOff x="0" y="5379426"/>
            <a:chExt cx="2807368" cy="753891"/>
          </a:xfrm>
        </p:grpSpPr>
        <p:sp>
          <p:nvSpPr>
            <p:cNvPr id="155" name="Google Shape;155;p5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6" name="Google Shape;156;p5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57" name="Google Shape;157;p54"/>
          <p:cNvSpPr>
            <a:spLocks noGrp="1"/>
          </p:cNvSpPr>
          <p:nvPr>
            <p:ph type="pic" idx="2"/>
          </p:nvPr>
        </p:nvSpPr>
        <p:spPr>
          <a:xfrm>
            <a:off x="2807368" y="457202"/>
            <a:ext cx="8915400" cy="5943598"/>
          </a:xfrm>
          <a:prstGeom prst="rect">
            <a:avLst/>
          </a:prstGeom>
          <a:noFill/>
          <a:ln>
            <a:noFill/>
          </a:ln>
        </p:spPr>
      </p:sp>
      <p:pic>
        <p:nvPicPr>
          <p:cNvPr id="158" name="Google Shape;158;p5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159"/>
        <p:cNvGrpSpPr/>
        <p:nvPr/>
      </p:nvGrpSpPr>
      <p:grpSpPr>
        <a:xfrm>
          <a:off x="0" y="0"/>
          <a:ext cx="0" cy="0"/>
          <a:chOff x="0" y="0"/>
          <a:chExt cx="0" cy="0"/>
        </a:xfrm>
      </p:grpSpPr>
      <p:sp>
        <p:nvSpPr>
          <p:cNvPr id="160" name="Google Shape;160;p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1" name="Google Shape;161;p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 name="Google Shape;162;p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 name="Google Shape;163;p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4" name="Google Shape;164;p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5" name="Google Shape;165;p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 name="Google Shape;166;p55"/>
          <p:cNvGrpSpPr/>
          <p:nvPr/>
        </p:nvGrpSpPr>
        <p:grpSpPr>
          <a:xfrm>
            <a:off x="7191542" y="1"/>
            <a:ext cx="5000459" cy="1425992"/>
            <a:chOff x="7191542" y="1"/>
            <a:chExt cx="5000459" cy="1425992"/>
          </a:xfrm>
        </p:grpSpPr>
        <p:pic>
          <p:nvPicPr>
            <p:cNvPr id="167" name="Google Shape;167;p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8" name="Google Shape;168;p55"/>
            <p:cNvGrpSpPr/>
            <p:nvPr/>
          </p:nvGrpSpPr>
          <p:grpSpPr>
            <a:xfrm>
              <a:off x="7191542" y="1"/>
              <a:ext cx="5000459" cy="1425992"/>
              <a:chOff x="7186272" y="0"/>
              <a:chExt cx="5005729" cy="1427495"/>
            </a:xfrm>
          </p:grpSpPr>
          <p:sp>
            <p:nvSpPr>
              <p:cNvPr id="169" name="Google Shape;169;p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0" name="Google Shape;170;p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71" name="Google Shape;171;p5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172"/>
        <p:cNvGrpSpPr/>
        <p:nvPr/>
      </p:nvGrpSpPr>
      <p:grpSpPr>
        <a:xfrm>
          <a:off x="0" y="0"/>
          <a:ext cx="0" cy="0"/>
          <a:chOff x="0" y="0"/>
          <a:chExt cx="0" cy="0"/>
        </a:xfrm>
      </p:grpSpPr>
      <p:sp>
        <p:nvSpPr>
          <p:cNvPr id="173" name="Google Shape;173;p5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4" name="Google Shape;174;p5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 name="Google Shape;175;p5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 name="Google Shape;176;p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7" name="Google Shape;177;p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 name="Google Shape;178;p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9" name="Google Shape;179;p56"/>
          <p:cNvGrpSpPr/>
          <p:nvPr/>
        </p:nvGrpSpPr>
        <p:grpSpPr>
          <a:xfrm>
            <a:off x="7191542" y="1"/>
            <a:ext cx="5000459" cy="1425992"/>
            <a:chOff x="7191542" y="1"/>
            <a:chExt cx="5000459" cy="1425992"/>
          </a:xfrm>
        </p:grpSpPr>
        <p:pic>
          <p:nvPicPr>
            <p:cNvPr id="180" name="Google Shape;180;p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1" name="Google Shape;181;p56"/>
            <p:cNvGrpSpPr/>
            <p:nvPr/>
          </p:nvGrpSpPr>
          <p:grpSpPr>
            <a:xfrm>
              <a:off x="7191542" y="1"/>
              <a:ext cx="5000459" cy="1425992"/>
              <a:chOff x="7186272" y="0"/>
              <a:chExt cx="5005729" cy="1427495"/>
            </a:xfrm>
          </p:grpSpPr>
          <p:sp>
            <p:nvSpPr>
              <p:cNvPr id="182" name="Google Shape;182;p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3" name="Google Shape;183;p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4" name="Google Shape;184;p5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85"/>
        <p:cNvGrpSpPr/>
        <p:nvPr/>
      </p:nvGrpSpPr>
      <p:grpSpPr>
        <a:xfrm>
          <a:off x="0" y="0"/>
          <a:ext cx="0" cy="0"/>
          <a:chOff x="0" y="0"/>
          <a:chExt cx="0" cy="0"/>
        </a:xfrm>
      </p:grpSpPr>
      <p:sp>
        <p:nvSpPr>
          <p:cNvPr id="186" name="Google Shape;186;p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7" name="Google Shape;187;p5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8" name="Google Shape;188;p57"/>
          <p:cNvGrpSpPr/>
          <p:nvPr/>
        </p:nvGrpSpPr>
        <p:grpSpPr>
          <a:xfrm>
            <a:off x="7191542" y="1"/>
            <a:ext cx="5000459" cy="1425992"/>
            <a:chOff x="7191542" y="1"/>
            <a:chExt cx="5000459" cy="1425992"/>
          </a:xfrm>
        </p:grpSpPr>
        <p:pic>
          <p:nvPicPr>
            <p:cNvPr id="189" name="Google Shape;189;p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 name="Google Shape;190;p57"/>
            <p:cNvGrpSpPr/>
            <p:nvPr/>
          </p:nvGrpSpPr>
          <p:grpSpPr>
            <a:xfrm>
              <a:off x="7191542" y="1"/>
              <a:ext cx="5000459" cy="1425992"/>
              <a:chOff x="7186272" y="0"/>
              <a:chExt cx="5005729" cy="1427495"/>
            </a:xfrm>
          </p:grpSpPr>
          <p:sp>
            <p:nvSpPr>
              <p:cNvPr id="191" name="Google Shape;191;p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 name="Google Shape;192;p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3" name="Google Shape;193;p5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 name="Google Shape;194;p5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 name="Google Shape;195;p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 name="Google Shape;196;p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42047047"/>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197"/>
        <p:cNvGrpSpPr/>
        <p:nvPr/>
      </p:nvGrpSpPr>
      <p:grpSpPr>
        <a:xfrm>
          <a:off x="0" y="0"/>
          <a:ext cx="0" cy="0"/>
          <a:chOff x="0" y="0"/>
          <a:chExt cx="0" cy="0"/>
        </a:xfrm>
      </p:grpSpPr>
      <p:grpSp>
        <p:nvGrpSpPr>
          <p:cNvPr id="198" name="Google Shape;198;p58"/>
          <p:cNvGrpSpPr/>
          <p:nvPr/>
        </p:nvGrpSpPr>
        <p:grpSpPr>
          <a:xfrm>
            <a:off x="7191542" y="1"/>
            <a:ext cx="5000459" cy="1425992"/>
            <a:chOff x="7191542" y="1"/>
            <a:chExt cx="5000459" cy="1425992"/>
          </a:xfrm>
        </p:grpSpPr>
        <p:pic>
          <p:nvPicPr>
            <p:cNvPr id="199" name="Google Shape;199;p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 name="Google Shape;200;p58"/>
            <p:cNvGrpSpPr/>
            <p:nvPr/>
          </p:nvGrpSpPr>
          <p:grpSpPr>
            <a:xfrm>
              <a:off x="7191542" y="1"/>
              <a:ext cx="5000459" cy="1425992"/>
              <a:chOff x="7186272" y="0"/>
              <a:chExt cx="5005729" cy="1427495"/>
            </a:xfrm>
          </p:grpSpPr>
          <p:sp>
            <p:nvSpPr>
              <p:cNvPr id="201" name="Google Shape;201;p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2" name="Google Shape;202;p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03" name="Google Shape;203;p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 name="Google Shape;204;p5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5" name="Google Shape;205;p5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 name="Google Shape;206;p5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7" name="Google Shape;207;p5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 name="Google Shape;208;p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9" name="Google Shape;209;p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0" name="Google Shape;210;p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11"/>
        <p:cNvGrpSpPr/>
        <p:nvPr/>
      </p:nvGrpSpPr>
      <p:grpSpPr>
        <a:xfrm>
          <a:off x="0" y="0"/>
          <a:ext cx="0" cy="0"/>
          <a:chOff x="0" y="0"/>
          <a:chExt cx="0" cy="0"/>
        </a:xfrm>
      </p:grpSpPr>
      <p:grpSp>
        <p:nvGrpSpPr>
          <p:cNvPr id="212" name="Google Shape;212;p59"/>
          <p:cNvGrpSpPr/>
          <p:nvPr/>
        </p:nvGrpSpPr>
        <p:grpSpPr>
          <a:xfrm>
            <a:off x="7191542" y="1"/>
            <a:ext cx="5000459" cy="1425992"/>
            <a:chOff x="7191542" y="1"/>
            <a:chExt cx="5000459" cy="1425992"/>
          </a:xfrm>
        </p:grpSpPr>
        <p:pic>
          <p:nvPicPr>
            <p:cNvPr id="213" name="Google Shape;213;p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4" name="Google Shape;214;p59"/>
            <p:cNvGrpSpPr/>
            <p:nvPr/>
          </p:nvGrpSpPr>
          <p:grpSpPr>
            <a:xfrm>
              <a:off x="7191542" y="1"/>
              <a:ext cx="5000459" cy="1425992"/>
              <a:chOff x="7186272" y="0"/>
              <a:chExt cx="5005729" cy="1427495"/>
            </a:xfrm>
          </p:grpSpPr>
          <p:sp>
            <p:nvSpPr>
              <p:cNvPr id="215" name="Google Shape;215;p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6" name="Google Shape;216;p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17" name="Google Shape;217;p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8" name="Google Shape;218;p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9" name="Google Shape;219;p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0" name="Google Shape;220;p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21"/>
        <p:cNvGrpSpPr/>
        <p:nvPr/>
      </p:nvGrpSpPr>
      <p:grpSpPr>
        <a:xfrm>
          <a:off x="0" y="0"/>
          <a:ext cx="0" cy="0"/>
          <a:chOff x="0" y="0"/>
          <a:chExt cx="0" cy="0"/>
        </a:xfrm>
      </p:grpSpPr>
      <p:grpSp>
        <p:nvGrpSpPr>
          <p:cNvPr id="222" name="Google Shape;222;p60"/>
          <p:cNvGrpSpPr/>
          <p:nvPr/>
        </p:nvGrpSpPr>
        <p:grpSpPr>
          <a:xfrm>
            <a:off x="0" y="0"/>
            <a:ext cx="12192000" cy="2148830"/>
            <a:chOff x="0" y="0"/>
            <a:chExt cx="12192000" cy="2148830"/>
          </a:xfrm>
        </p:grpSpPr>
        <p:sp>
          <p:nvSpPr>
            <p:cNvPr id="223" name="Google Shape;223;p6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4" name="Google Shape;224;p6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25" name="Google Shape;225;p6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6" name="Google Shape;226;p6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 name="Google Shape;227;p6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28" name="Google Shape;228;p6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29" name="Google Shape;229;p6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30"/>
        <p:cNvGrpSpPr/>
        <p:nvPr/>
      </p:nvGrpSpPr>
      <p:grpSpPr>
        <a:xfrm>
          <a:off x="0" y="0"/>
          <a:ext cx="0" cy="0"/>
          <a:chOff x="0" y="0"/>
          <a:chExt cx="0" cy="0"/>
        </a:xfrm>
      </p:grpSpPr>
      <p:sp>
        <p:nvSpPr>
          <p:cNvPr id="231" name="Google Shape;231;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2" name="Google Shape;232;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3" name="Google Shape;233;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34" name="Google Shape;234;p61"/>
          <p:cNvGrpSpPr/>
          <p:nvPr/>
        </p:nvGrpSpPr>
        <p:grpSpPr>
          <a:xfrm>
            <a:off x="7191542" y="1"/>
            <a:ext cx="5000459" cy="1425992"/>
            <a:chOff x="7191542" y="1"/>
            <a:chExt cx="5000459" cy="1425992"/>
          </a:xfrm>
        </p:grpSpPr>
        <p:pic>
          <p:nvPicPr>
            <p:cNvPr id="235" name="Google Shape;235;p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6" name="Google Shape;236;p61"/>
            <p:cNvGrpSpPr/>
            <p:nvPr/>
          </p:nvGrpSpPr>
          <p:grpSpPr>
            <a:xfrm>
              <a:off x="7191542" y="1"/>
              <a:ext cx="5000459" cy="1425992"/>
              <a:chOff x="7186272" y="0"/>
              <a:chExt cx="5005729" cy="1427495"/>
            </a:xfrm>
          </p:grpSpPr>
          <p:sp>
            <p:nvSpPr>
              <p:cNvPr id="237" name="Google Shape;237;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8" name="Google Shape;238;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239"/>
        <p:cNvGrpSpPr/>
        <p:nvPr/>
      </p:nvGrpSpPr>
      <p:grpSpPr>
        <a:xfrm>
          <a:off x="0" y="0"/>
          <a:ext cx="0" cy="0"/>
          <a:chOff x="0" y="0"/>
          <a:chExt cx="0" cy="0"/>
        </a:xfrm>
      </p:grpSpPr>
      <p:sp>
        <p:nvSpPr>
          <p:cNvPr id="240" name="Google Shape;240;p6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1" name="Google Shape;241;p6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2" name="Google Shape;242;p6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43" name="Google Shape;243;p62"/>
          <p:cNvSpPr>
            <a:spLocks noGrp="1"/>
          </p:cNvSpPr>
          <p:nvPr>
            <p:ph type="pic" idx="2"/>
          </p:nvPr>
        </p:nvSpPr>
        <p:spPr>
          <a:xfrm>
            <a:off x="7118684" y="233915"/>
            <a:ext cx="5073316" cy="5943600"/>
          </a:xfrm>
          <a:prstGeom prst="rect">
            <a:avLst/>
          </a:prstGeom>
          <a:noFill/>
          <a:ln>
            <a:noFill/>
          </a:ln>
        </p:spPr>
      </p:sp>
      <p:grpSp>
        <p:nvGrpSpPr>
          <p:cNvPr id="244" name="Google Shape;244;p62"/>
          <p:cNvGrpSpPr/>
          <p:nvPr/>
        </p:nvGrpSpPr>
        <p:grpSpPr>
          <a:xfrm>
            <a:off x="0" y="5020348"/>
            <a:ext cx="12192000" cy="1837653"/>
            <a:chOff x="0" y="5020348"/>
            <a:chExt cx="12192000" cy="1837653"/>
          </a:xfrm>
        </p:grpSpPr>
        <p:sp>
          <p:nvSpPr>
            <p:cNvPr id="245" name="Google Shape;245;p6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6" name="Google Shape;246;p6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47" name="Google Shape;247;p6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248"/>
        <p:cNvGrpSpPr/>
        <p:nvPr/>
      </p:nvGrpSpPr>
      <p:grpSpPr>
        <a:xfrm>
          <a:off x="0" y="0"/>
          <a:ext cx="0" cy="0"/>
          <a:chOff x="0" y="0"/>
          <a:chExt cx="0" cy="0"/>
        </a:xfrm>
      </p:grpSpPr>
      <p:grpSp>
        <p:nvGrpSpPr>
          <p:cNvPr id="249" name="Google Shape;249;p63"/>
          <p:cNvGrpSpPr/>
          <p:nvPr/>
        </p:nvGrpSpPr>
        <p:grpSpPr>
          <a:xfrm>
            <a:off x="0" y="5020347"/>
            <a:ext cx="12192000" cy="1837653"/>
            <a:chOff x="0" y="5020347"/>
            <a:chExt cx="12192000" cy="1837653"/>
          </a:xfrm>
        </p:grpSpPr>
        <p:sp>
          <p:nvSpPr>
            <p:cNvPr id="250" name="Google Shape;250;p6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1" name="Google Shape;251;p6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2" name="Google Shape;252;p6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53" name="Google Shape;253;p6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54" name="Google Shape;254;p6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5" name="Google Shape;255;p6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256"/>
        <p:cNvGrpSpPr/>
        <p:nvPr/>
      </p:nvGrpSpPr>
      <p:grpSpPr>
        <a:xfrm>
          <a:off x="0" y="0"/>
          <a:ext cx="0" cy="0"/>
          <a:chOff x="0" y="0"/>
          <a:chExt cx="0" cy="0"/>
        </a:xfrm>
      </p:grpSpPr>
      <p:sp>
        <p:nvSpPr>
          <p:cNvPr id="257" name="Google Shape;257;p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8" name="Google Shape;258;p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9" name="Google Shape;259;p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0" name="Google Shape;260;p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1" name="Google Shape;261;p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2" name="Google Shape;262;p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63" name="Google Shape;263;p64"/>
          <p:cNvGrpSpPr/>
          <p:nvPr/>
        </p:nvGrpSpPr>
        <p:grpSpPr>
          <a:xfrm>
            <a:off x="7191542" y="1"/>
            <a:ext cx="5000459" cy="1425992"/>
            <a:chOff x="7191542" y="1"/>
            <a:chExt cx="5000459" cy="1425992"/>
          </a:xfrm>
        </p:grpSpPr>
        <p:pic>
          <p:nvPicPr>
            <p:cNvPr id="264" name="Google Shape;264;p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5" name="Google Shape;265;p64"/>
            <p:cNvGrpSpPr/>
            <p:nvPr/>
          </p:nvGrpSpPr>
          <p:grpSpPr>
            <a:xfrm>
              <a:off x="7191542" y="1"/>
              <a:ext cx="5000459" cy="1425992"/>
              <a:chOff x="7186272" y="0"/>
              <a:chExt cx="5005729" cy="1427495"/>
            </a:xfrm>
          </p:grpSpPr>
          <p:sp>
            <p:nvSpPr>
              <p:cNvPr id="266" name="Google Shape;266;p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7" name="Google Shape;267;p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68" name="Google Shape;268;p6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matchingName="Title and Content">
  <p:cSld name="Title and Content 6">
    <p:spTree>
      <p:nvGrpSpPr>
        <p:cNvPr id="1" name="Shape 269"/>
        <p:cNvGrpSpPr/>
        <p:nvPr/>
      </p:nvGrpSpPr>
      <p:grpSpPr>
        <a:xfrm>
          <a:off x="0" y="0"/>
          <a:ext cx="0" cy="0"/>
          <a:chOff x="0" y="0"/>
          <a:chExt cx="0" cy="0"/>
        </a:xfrm>
      </p:grpSpPr>
      <p:grpSp>
        <p:nvGrpSpPr>
          <p:cNvPr id="270" name="Google Shape;270;p65"/>
          <p:cNvGrpSpPr/>
          <p:nvPr/>
        </p:nvGrpSpPr>
        <p:grpSpPr>
          <a:xfrm>
            <a:off x="7191542" y="1"/>
            <a:ext cx="5000459" cy="1425992"/>
            <a:chOff x="7191542" y="1"/>
            <a:chExt cx="5000459" cy="1425992"/>
          </a:xfrm>
        </p:grpSpPr>
        <p:pic>
          <p:nvPicPr>
            <p:cNvPr id="271" name="Google Shape;271;p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2" name="Google Shape;272;p65"/>
            <p:cNvGrpSpPr/>
            <p:nvPr/>
          </p:nvGrpSpPr>
          <p:grpSpPr>
            <a:xfrm>
              <a:off x="7191542" y="1"/>
              <a:ext cx="5000459" cy="1425992"/>
              <a:chOff x="7186272" y="0"/>
              <a:chExt cx="5005729" cy="1427495"/>
            </a:xfrm>
          </p:grpSpPr>
          <p:sp>
            <p:nvSpPr>
              <p:cNvPr id="273" name="Google Shape;273;p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4" name="Google Shape;274;p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75" name="Google Shape;275;p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6" name="Google Shape;276;p6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7" name="Google Shape;277;p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8" name="Google Shape;278;p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9" name="Google Shape;279;p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280"/>
        <p:cNvGrpSpPr/>
        <p:nvPr/>
      </p:nvGrpSpPr>
      <p:grpSpPr>
        <a:xfrm>
          <a:off x="0" y="0"/>
          <a:ext cx="0" cy="0"/>
          <a:chOff x="0" y="0"/>
          <a:chExt cx="0" cy="0"/>
        </a:xfrm>
      </p:grpSpPr>
      <p:sp>
        <p:nvSpPr>
          <p:cNvPr id="281" name="Google Shape;281;p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2" name="Google Shape;282;p6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83" name="Google Shape;283;p66"/>
          <p:cNvGrpSpPr/>
          <p:nvPr/>
        </p:nvGrpSpPr>
        <p:grpSpPr>
          <a:xfrm>
            <a:off x="7191542" y="1"/>
            <a:ext cx="5000459" cy="1425992"/>
            <a:chOff x="7191542" y="1"/>
            <a:chExt cx="5000459" cy="1425992"/>
          </a:xfrm>
        </p:grpSpPr>
        <p:pic>
          <p:nvPicPr>
            <p:cNvPr id="284" name="Google Shape;284;p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5" name="Google Shape;285;p66"/>
            <p:cNvGrpSpPr/>
            <p:nvPr/>
          </p:nvGrpSpPr>
          <p:grpSpPr>
            <a:xfrm>
              <a:off x="7191542" y="1"/>
              <a:ext cx="5000459" cy="1425992"/>
              <a:chOff x="7186272" y="0"/>
              <a:chExt cx="5005729" cy="1427495"/>
            </a:xfrm>
          </p:grpSpPr>
          <p:sp>
            <p:nvSpPr>
              <p:cNvPr id="286" name="Google Shape;286;p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7" name="Google Shape;287;p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88" name="Google Shape;288;p6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9" name="Google Shape;289;p6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0" name="Google Shape;290;p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1" name="Google Shape;291;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292"/>
        <p:cNvGrpSpPr/>
        <p:nvPr/>
      </p:nvGrpSpPr>
      <p:grpSpPr>
        <a:xfrm>
          <a:off x="0" y="0"/>
          <a:ext cx="0" cy="0"/>
          <a:chOff x="0" y="0"/>
          <a:chExt cx="0" cy="0"/>
        </a:xfrm>
      </p:grpSpPr>
      <p:grpSp>
        <p:nvGrpSpPr>
          <p:cNvPr id="293" name="Google Shape;293;p67"/>
          <p:cNvGrpSpPr/>
          <p:nvPr/>
        </p:nvGrpSpPr>
        <p:grpSpPr>
          <a:xfrm>
            <a:off x="7191542" y="1"/>
            <a:ext cx="5000459" cy="1425992"/>
            <a:chOff x="7191542" y="1"/>
            <a:chExt cx="5000459" cy="1425992"/>
          </a:xfrm>
        </p:grpSpPr>
        <p:pic>
          <p:nvPicPr>
            <p:cNvPr id="294" name="Google Shape;294;p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5" name="Google Shape;295;p67"/>
            <p:cNvGrpSpPr/>
            <p:nvPr/>
          </p:nvGrpSpPr>
          <p:grpSpPr>
            <a:xfrm>
              <a:off x="7191542" y="1"/>
              <a:ext cx="5000459" cy="1425992"/>
              <a:chOff x="7186272" y="0"/>
              <a:chExt cx="5005729" cy="1427495"/>
            </a:xfrm>
          </p:grpSpPr>
          <p:sp>
            <p:nvSpPr>
              <p:cNvPr id="296" name="Google Shape;296;p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7" name="Google Shape;297;p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98" name="Google Shape;298;p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9" name="Google Shape;299;p6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00" name="Google Shape;300;p6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1" name="Google Shape;301;p6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02" name="Google Shape;302;p6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3" name="Google Shape;303;p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4" name="Google Shape;304;p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5" name="Google Shape;305;p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1446120"/>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306"/>
        <p:cNvGrpSpPr/>
        <p:nvPr/>
      </p:nvGrpSpPr>
      <p:grpSpPr>
        <a:xfrm>
          <a:off x="0" y="0"/>
          <a:ext cx="0" cy="0"/>
          <a:chOff x="0" y="0"/>
          <a:chExt cx="0" cy="0"/>
        </a:xfrm>
      </p:grpSpPr>
      <p:sp>
        <p:nvSpPr>
          <p:cNvPr id="307" name="Google Shape;307;p6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08" name="Google Shape;308;p6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09" name="Google Shape;309;p68"/>
          <p:cNvGrpSpPr/>
          <p:nvPr/>
        </p:nvGrpSpPr>
        <p:grpSpPr>
          <a:xfrm>
            <a:off x="0" y="5379426"/>
            <a:ext cx="2807368" cy="753891"/>
            <a:chOff x="0" y="5379426"/>
            <a:chExt cx="2807368" cy="753891"/>
          </a:xfrm>
        </p:grpSpPr>
        <p:sp>
          <p:nvSpPr>
            <p:cNvPr id="310" name="Google Shape;310;p6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11" name="Google Shape;311;p6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312" name="Google Shape;312;p68"/>
          <p:cNvSpPr>
            <a:spLocks noGrp="1"/>
          </p:cNvSpPr>
          <p:nvPr>
            <p:ph type="pic" idx="2"/>
          </p:nvPr>
        </p:nvSpPr>
        <p:spPr>
          <a:xfrm>
            <a:off x="2807368" y="457202"/>
            <a:ext cx="8915400" cy="5943598"/>
          </a:xfrm>
          <a:prstGeom prst="rect">
            <a:avLst/>
          </a:prstGeom>
          <a:noFill/>
          <a:ln>
            <a:noFill/>
          </a:ln>
        </p:spPr>
      </p:sp>
      <p:pic>
        <p:nvPicPr>
          <p:cNvPr id="313" name="Google Shape;313;p6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314"/>
        <p:cNvGrpSpPr/>
        <p:nvPr/>
      </p:nvGrpSpPr>
      <p:grpSpPr>
        <a:xfrm>
          <a:off x="0" y="0"/>
          <a:ext cx="0" cy="0"/>
          <a:chOff x="0" y="0"/>
          <a:chExt cx="0" cy="0"/>
        </a:xfrm>
      </p:grpSpPr>
      <p:grpSp>
        <p:nvGrpSpPr>
          <p:cNvPr id="315" name="Google Shape;315;p69"/>
          <p:cNvGrpSpPr/>
          <p:nvPr/>
        </p:nvGrpSpPr>
        <p:grpSpPr>
          <a:xfrm>
            <a:off x="0" y="0"/>
            <a:ext cx="12192000" cy="2148830"/>
            <a:chOff x="0" y="0"/>
            <a:chExt cx="12192000" cy="2148830"/>
          </a:xfrm>
        </p:grpSpPr>
        <p:sp>
          <p:nvSpPr>
            <p:cNvPr id="316" name="Google Shape;316;p6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7" name="Google Shape;317;p6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18" name="Google Shape;318;p6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19" name="Google Shape;319;p6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0" name="Google Shape;320;p6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21" name="Google Shape;321;p6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22" name="Google Shape;322;p6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323"/>
        <p:cNvGrpSpPr/>
        <p:nvPr/>
      </p:nvGrpSpPr>
      <p:grpSpPr>
        <a:xfrm>
          <a:off x="0" y="0"/>
          <a:ext cx="0" cy="0"/>
          <a:chOff x="0" y="0"/>
          <a:chExt cx="0" cy="0"/>
        </a:xfrm>
      </p:grpSpPr>
      <p:sp>
        <p:nvSpPr>
          <p:cNvPr id="324" name="Google Shape;324;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5" name="Google Shape;325;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6" name="Google Shape;326;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27" name="Google Shape;327;p70"/>
          <p:cNvGrpSpPr/>
          <p:nvPr/>
        </p:nvGrpSpPr>
        <p:grpSpPr>
          <a:xfrm>
            <a:off x="7191542" y="1"/>
            <a:ext cx="5000459" cy="1425992"/>
            <a:chOff x="7191542" y="1"/>
            <a:chExt cx="5000459" cy="1425992"/>
          </a:xfrm>
        </p:grpSpPr>
        <p:pic>
          <p:nvPicPr>
            <p:cNvPr id="328" name="Google Shape;328;p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9" name="Google Shape;329;p70"/>
            <p:cNvGrpSpPr/>
            <p:nvPr/>
          </p:nvGrpSpPr>
          <p:grpSpPr>
            <a:xfrm>
              <a:off x="7191542" y="1"/>
              <a:ext cx="5000459" cy="1425992"/>
              <a:chOff x="7186272" y="0"/>
              <a:chExt cx="5005729" cy="1427495"/>
            </a:xfrm>
          </p:grpSpPr>
          <p:sp>
            <p:nvSpPr>
              <p:cNvPr id="330" name="Google Shape;330;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1" name="Google Shape;331;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32"/>
        <p:cNvGrpSpPr/>
        <p:nvPr/>
      </p:nvGrpSpPr>
      <p:grpSpPr>
        <a:xfrm>
          <a:off x="0" y="0"/>
          <a:ext cx="0" cy="0"/>
          <a:chOff x="0" y="0"/>
          <a:chExt cx="0" cy="0"/>
        </a:xfrm>
      </p:grpSpPr>
      <p:grpSp>
        <p:nvGrpSpPr>
          <p:cNvPr id="333" name="Google Shape;333;p71"/>
          <p:cNvGrpSpPr/>
          <p:nvPr/>
        </p:nvGrpSpPr>
        <p:grpSpPr>
          <a:xfrm>
            <a:off x="7191542" y="1"/>
            <a:ext cx="5000459" cy="1425992"/>
            <a:chOff x="7191542" y="1"/>
            <a:chExt cx="5000459" cy="1425992"/>
          </a:xfrm>
        </p:grpSpPr>
        <p:pic>
          <p:nvPicPr>
            <p:cNvPr id="334" name="Google Shape;334;p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5" name="Google Shape;335;p71"/>
            <p:cNvGrpSpPr/>
            <p:nvPr/>
          </p:nvGrpSpPr>
          <p:grpSpPr>
            <a:xfrm>
              <a:off x="7191542" y="1"/>
              <a:ext cx="5000459" cy="1425992"/>
              <a:chOff x="7186272" y="0"/>
              <a:chExt cx="5005729" cy="1427495"/>
            </a:xfrm>
          </p:grpSpPr>
          <p:sp>
            <p:nvSpPr>
              <p:cNvPr id="336" name="Google Shape;336;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7" name="Google Shape;337;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38" name="Google Shape;338;p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9" name="Google Shape;339;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0" name="Google Shape;340;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1" name="Google Shape;341;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342"/>
        <p:cNvGrpSpPr/>
        <p:nvPr/>
      </p:nvGrpSpPr>
      <p:grpSpPr>
        <a:xfrm>
          <a:off x="0" y="0"/>
          <a:ext cx="0" cy="0"/>
          <a:chOff x="0" y="0"/>
          <a:chExt cx="0" cy="0"/>
        </a:xfrm>
      </p:grpSpPr>
      <p:sp>
        <p:nvSpPr>
          <p:cNvPr id="343" name="Google Shape;343;p7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4" name="Google Shape;344;p7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5" name="Google Shape;345;p7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46" name="Google Shape;346;p72"/>
          <p:cNvSpPr>
            <a:spLocks noGrp="1"/>
          </p:cNvSpPr>
          <p:nvPr>
            <p:ph type="pic" idx="2"/>
          </p:nvPr>
        </p:nvSpPr>
        <p:spPr>
          <a:xfrm>
            <a:off x="7118684" y="233915"/>
            <a:ext cx="5073316" cy="5943600"/>
          </a:xfrm>
          <a:prstGeom prst="rect">
            <a:avLst/>
          </a:prstGeom>
          <a:noFill/>
          <a:ln>
            <a:noFill/>
          </a:ln>
        </p:spPr>
      </p:sp>
      <p:grpSp>
        <p:nvGrpSpPr>
          <p:cNvPr id="347" name="Google Shape;347;p72"/>
          <p:cNvGrpSpPr/>
          <p:nvPr/>
        </p:nvGrpSpPr>
        <p:grpSpPr>
          <a:xfrm>
            <a:off x="0" y="5020348"/>
            <a:ext cx="12192000" cy="1837653"/>
            <a:chOff x="0" y="5020348"/>
            <a:chExt cx="12192000" cy="1837653"/>
          </a:xfrm>
        </p:grpSpPr>
        <p:sp>
          <p:nvSpPr>
            <p:cNvPr id="348" name="Google Shape;348;p7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9" name="Google Shape;349;p7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50" name="Google Shape;350;p7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matchingName="Divider">
  <p:cSld name="Divider 4">
    <p:bg>
      <p:bgPr>
        <a:solidFill>
          <a:schemeClr val="lt2"/>
        </a:solidFill>
        <a:effectLst/>
      </p:bgPr>
    </p:bg>
    <p:spTree>
      <p:nvGrpSpPr>
        <p:cNvPr id="1" name="Shape 351"/>
        <p:cNvGrpSpPr/>
        <p:nvPr/>
      </p:nvGrpSpPr>
      <p:grpSpPr>
        <a:xfrm>
          <a:off x="0" y="0"/>
          <a:ext cx="0" cy="0"/>
          <a:chOff x="0" y="0"/>
          <a:chExt cx="0" cy="0"/>
        </a:xfrm>
      </p:grpSpPr>
      <p:grpSp>
        <p:nvGrpSpPr>
          <p:cNvPr id="352" name="Google Shape;352;p73"/>
          <p:cNvGrpSpPr/>
          <p:nvPr/>
        </p:nvGrpSpPr>
        <p:grpSpPr>
          <a:xfrm>
            <a:off x="0" y="5020347"/>
            <a:ext cx="12192000" cy="1837653"/>
            <a:chOff x="0" y="5020347"/>
            <a:chExt cx="12192000" cy="1837653"/>
          </a:xfrm>
        </p:grpSpPr>
        <p:sp>
          <p:nvSpPr>
            <p:cNvPr id="353" name="Google Shape;353;p7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4" name="Google Shape;354;p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5" name="Google Shape;355;p7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56" name="Google Shape;356;p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57" name="Google Shape;357;p7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8" name="Google Shape;358;p7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359"/>
        <p:cNvGrpSpPr/>
        <p:nvPr/>
      </p:nvGrpSpPr>
      <p:grpSpPr>
        <a:xfrm>
          <a:off x="0" y="0"/>
          <a:ext cx="0" cy="0"/>
          <a:chOff x="0" y="0"/>
          <a:chExt cx="0" cy="0"/>
        </a:xfrm>
      </p:grpSpPr>
      <p:sp>
        <p:nvSpPr>
          <p:cNvPr id="360" name="Google Shape;360;p7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61" name="Google Shape;361;p7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2" name="Google Shape;362;p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3" name="Google Shape;363;p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4" name="Google Shape;364;p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5" name="Google Shape;365;p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66" name="Google Shape;366;p74"/>
          <p:cNvGrpSpPr/>
          <p:nvPr/>
        </p:nvGrpSpPr>
        <p:grpSpPr>
          <a:xfrm>
            <a:off x="7191542" y="1"/>
            <a:ext cx="5000459" cy="1425992"/>
            <a:chOff x="7191542" y="1"/>
            <a:chExt cx="5000459" cy="1425992"/>
          </a:xfrm>
        </p:grpSpPr>
        <p:pic>
          <p:nvPicPr>
            <p:cNvPr id="367" name="Google Shape;367;p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8" name="Google Shape;368;p74"/>
            <p:cNvGrpSpPr/>
            <p:nvPr/>
          </p:nvGrpSpPr>
          <p:grpSpPr>
            <a:xfrm>
              <a:off x="7191542" y="1"/>
              <a:ext cx="5000459" cy="1425992"/>
              <a:chOff x="7186272" y="0"/>
              <a:chExt cx="5005729" cy="1427495"/>
            </a:xfrm>
          </p:grpSpPr>
          <p:sp>
            <p:nvSpPr>
              <p:cNvPr id="369" name="Google Shape;369;p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70" name="Google Shape;370;p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71" name="Google Shape;371;p7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372"/>
        <p:cNvGrpSpPr/>
        <p:nvPr/>
      </p:nvGrpSpPr>
      <p:grpSpPr>
        <a:xfrm>
          <a:off x="0" y="0"/>
          <a:ext cx="0" cy="0"/>
          <a:chOff x="0" y="0"/>
          <a:chExt cx="0" cy="0"/>
        </a:xfrm>
      </p:grpSpPr>
      <p:sp>
        <p:nvSpPr>
          <p:cNvPr id="373" name="Google Shape;373;p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4" name="Google Shape;374;p7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75" name="Google Shape;375;p75"/>
          <p:cNvGrpSpPr/>
          <p:nvPr/>
        </p:nvGrpSpPr>
        <p:grpSpPr>
          <a:xfrm>
            <a:off x="7191542" y="1"/>
            <a:ext cx="5000459" cy="1425992"/>
            <a:chOff x="7191542" y="1"/>
            <a:chExt cx="5000459" cy="1425992"/>
          </a:xfrm>
        </p:grpSpPr>
        <p:pic>
          <p:nvPicPr>
            <p:cNvPr id="376" name="Google Shape;376;p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7" name="Google Shape;377;p75"/>
            <p:cNvGrpSpPr/>
            <p:nvPr/>
          </p:nvGrpSpPr>
          <p:grpSpPr>
            <a:xfrm>
              <a:off x="7191542" y="1"/>
              <a:ext cx="5000459" cy="1425992"/>
              <a:chOff x="7186272" y="0"/>
              <a:chExt cx="5005729" cy="1427495"/>
            </a:xfrm>
          </p:grpSpPr>
          <p:sp>
            <p:nvSpPr>
              <p:cNvPr id="378" name="Google Shape;378;p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79" name="Google Shape;379;p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80" name="Google Shape;380;p7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1" name="Google Shape;381;p7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2" name="Google Shape;382;p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3" name="Google Shape;383;p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384"/>
        <p:cNvGrpSpPr/>
        <p:nvPr/>
      </p:nvGrpSpPr>
      <p:grpSpPr>
        <a:xfrm>
          <a:off x="0" y="0"/>
          <a:ext cx="0" cy="0"/>
          <a:chOff x="0" y="0"/>
          <a:chExt cx="0" cy="0"/>
        </a:xfrm>
      </p:grpSpPr>
      <p:grpSp>
        <p:nvGrpSpPr>
          <p:cNvPr id="385" name="Google Shape;385;p76"/>
          <p:cNvGrpSpPr/>
          <p:nvPr/>
        </p:nvGrpSpPr>
        <p:grpSpPr>
          <a:xfrm>
            <a:off x="7191542" y="1"/>
            <a:ext cx="5000459" cy="1425992"/>
            <a:chOff x="7191542" y="1"/>
            <a:chExt cx="5000459" cy="1425992"/>
          </a:xfrm>
        </p:grpSpPr>
        <p:pic>
          <p:nvPicPr>
            <p:cNvPr id="386" name="Google Shape;386;p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7" name="Google Shape;387;p76"/>
            <p:cNvGrpSpPr/>
            <p:nvPr/>
          </p:nvGrpSpPr>
          <p:grpSpPr>
            <a:xfrm>
              <a:off x="7191542" y="1"/>
              <a:ext cx="5000459" cy="1425992"/>
              <a:chOff x="7186272" y="0"/>
              <a:chExt cx="5005729" cy="1427495"/>
            </a:xfrm>
          </p:grpSpPr>
          <p:sp>
            <p:nvSpPr>
              <p:cNvPr id="388" name="Google Shape;388;p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89" name="Google Shape;389;p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90" name="Google Shape;390;p7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1" name="Google Shape;391;p7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92" name="Google Shape;392;p7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3" name="Google Shape;393;p7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94" name="Google Shape;394;p7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5" name="Google Shape;395;p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96" name="Google Shape;396;p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7" name="Google Shape;397;p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398"/>
        <p:cNvGrpSpPr/>
        <p:nvPr/>
      </p:nvGrpSpPr>
      <p:grpSpPr>
        <a:xfrm>
          <a:off x="0" y="0"/>
          <a:ext cx="0" cy="0"/>
          <a:chOff x="0" y="0"/>
          <a:chExt cx="0" cy="0"/>
        </a:xfrm>
      </p:grpSpPr>
      <p:sp>
        <p:nvSpPr>
          <p:cNvPr id="399" name="Google Shape;399;p7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00" name="Google Shape;400;p7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01" name="Google Shape;401;p77"/>
          <p:cNvGrpSpPr/>
          <p:nvPr/>
        </p:nvGrpSpPr>
        <p:grpSpPr>
          <a:xfrm>
            <a:off x="0" y="5379426"/>
            <a:ext cx="2807368" cy="753891"/>
            <a:chOff x="0" y="5379426"/>
            <a:chExt cx="2807368" cy="753891"/>
          </a:xfrm>
        </p:grpSpPr>
        <p:sp>
          <p:nvSpPr>
            <p:cNvPr id="402" name="Google Shape;402;p7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03" name="Google Shape;403;p7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404" name="Google Shape;404;p77"/>
          <p:cNvSpPr>
            <a:spLocks noGrp="1"/>
          </p:cNvSpPr>
          <p:nvPr>
            <p:ph type="pic" idx="2"/>
          </p:nvPr>
        </p:nvSpPr>
        <p:spPr>
          <a:xfrm>
            <a:off x="2807368" y="457202"/>
            <a:ext cx="8915400" cy="5943598"/>
          </a:xfrm>
          <a:prstGeom prst="rect">
            <a:avLst/>
          </a:prstGeom>
          <a:noFill/>
          <a:ln>
            <a:noFill/>
          </a:ln>
        </p:spPr>
      </p:sp>
      <p:pic>
        <p:nvPicPr>
          <p:cNvPr id="405" name="Google Shape;405;p7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2493380"/>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406"/>
        <p:cNvGrpSpPr/>
        <p:nvPr/>
      </p:nvGrpSpPr>
      <p:grpSpPr>
        <a:xfrm>
          <a:off x="0" y="0"/>
          <a:ext cx="0" cy="0"/>
          <a:chOff x="0" y="0"/>
          <a:chExt cx="0" cy="0"/>
        </a:xfrm>
      </p:grpSpPr>
      <p:sp>
        <p:nvSpPr>
          <p:cNvPr id="407" name="Google Shape;407;p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08" name="Google Shape;408;p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9" name="Google Shape;409;p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0" name="Google Shape;410;p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11" name="Google Shape;411;p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2" name="Google Shape;412;p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13" name="Google Shape;413;p78"/>
          <p:cNvGrpSpPr/>
          <p:nvPr/>
        </p:nvGrpSpPr>
        <p:grpSpPr>
          <a:xfrm>
            <a:off x="7191542" y="1"/>
            <a:ext cx="5000459" cy="1425992"/>
            <a:chOff x="7191542" y="1"/>
            <a:chExt cx="5000459" cy="1425992"/>
          </a:xfrm>
        </p:grpSpPr>
        <p:pic>
          <p:nvPicPr>
            <p:cNvPr id="414" name="Google Shape;414;p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5" name="Google Shape;415;p78"/>
            <p:cNvGrpSpPr/>
            <p:nvPr/>
          </p:nvGrpSpPr>
          <p:grpSpPr>
            <a:xfrm>
              <a:off x="7191542" y="1"/>
              <a:ext cx="5000459" cy="1425992"/>
              <a:chOff x="7186272" y="0"/>
              <a:chExt cx="5005729" cy="1427495"/>
            </a:xfrm>
          </p:grpSpPr>
          <p:sp>
            <p:nvSpPr>
              <p:cNvPr id="416" name="Google Shape;416;p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17" name="Google Shape;417;p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18" name="Google Shape;418;p7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419"/>
        <p:cNvGrpSpPr/>
        <p:nvPr/>
      </p:nvGrpSpPr>
      <p:grpSpPr>
        <a:xfrm>
          <a:off x="0" y="0"/>
          <a:ext cx="0" cy="0"/>
          <a:chOff x="0" y="0"/>
          <a:chExt cx="0" cy="0"/>
        </a:xfrm>
      </p:grpSpPr>
      <p:grpSp>
        <p:nvGrpSpPr>
          <p:cNvPr id="420" name="Google Shape;420;p79"/>
          <p:cNvGrpSpPr/>
          <p:nvPr/>
        </p:nvGrpSpPr>
        <p:grpSpPr>
          <a:xfrm>
            <a:off x="0" y="0"/>
            <a:ext cx="12192000" cy="2148830"/>
            <a:chOff x="0" y="0"/>
            <a:chExt cx="12192000" cy="2148830"/>
          </a:xfrm>
        </p:grpSpPr>
        <p:sp>
          <p:nvSpPr>
            <p:cNvPr id="421" name="Google Shape;421;p7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22" name="Google Shape;422;p7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423" name="Google Shape;423;p7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24" name="Google Shape;424;p7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5" name="Google Shape;425;p7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26" name="Google Shape;426;p7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27" name="Google Shape;427;p7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428"/>
        <p:cNvGrpSpPr/>
        <p:nvPr/>
      </p:nvGrpSpPr>
      <p:grpSpPr>
        <a:xfrm>
          <a:off x="0" y="0"/>
          <a:ext cx="0" cy="0"/>
          <a:chOff x="0" y="0"/>
          <a:chExt cx="0" cy="0"/>
        </a:xfrm>
      </p:grpSpPr>
      <p:sp>
        <p:nvSpPr>
          <p:cNvPr id="429" name="Google Shape;429;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0" name="Google Shape;430;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1" name="Google Shape;431;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32" name="Google Shape;432;p80"/>
          <p:cNvGrpSpPr/>
          <p:nvPr/>
        </p:nvGrpSpPr>
        <p:grpSpPr>
          <a:xfrm>
            <a:off x="7191542" y="1"/>
            <a:ext cx="5000459" cy="1425992"/>
            <a:chOff x="7191542" y="1"/>
            <a:chExt cx="5000459" cy="1425992"/>
          </a:xfrm>
        </p:grpSpPr>
        <p:pic>
          <p:nvPicPr>
            <p:cNvPr id="433" name="Google Shape;433;p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4" name="Google Shape;434;p80"/>
            <p:cNvGrpSpPr/>
            <p:nvPr/>
          </p:nvGrpSpPr>
          <p:grpSpPr>
            <a:xfrm>
              <a:off x="7191542" y="1"/>
              <a:ext cx="5000459" cy="1425992"/>
              <a:chOff x="7186272" y="0"/>
              <a:chExt cx="5005729" cy="1427495"/>
            </a:xfrm>
          </p:grpSpPr>
          <p:sp>
            <p:nvSpPr>
              <p:cNvPr id="435" name="Google Shape;435;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36" name="Google Shape;436;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437"/>
        <p:cNvGrpSpPr/>
        <p:nvPr/>
      </p:nvGrpSpPr>
      <p:grpSpPr>
        <a:xfrm>
          <a:off x="0" y="0"/>
          <a:ext cx="0" cy="0"/>
          <a:chOff x="0" y="0"/>
          <a:chExt cx="0" cy="0"/>
        </a:xfrm>
      </p:grpSpPr>
      <p:grpSp>
        <p:nvGrpSpPr>
          <p:cNvPr id="438" name="Google Shape;438;p81"/>
          <p:cNvGrpSpPr/>
          <p:nvPr/>
        </p:nvGrpSpPr>
        <p:grpSpPr>
          <a:xfrm>
            <a:off x="7191542" y="1"/>
            <a:ext cx="5000459" cy="1425992"/>
            <a:chOff x="7191542" y="1"/>
            <a:chExt cx="5000459" cy="1425992"/>
          </a:xfrm>
        </p:grpSpPr>
        <p:pic>
          <p:nvPicPr>
            <p:cNvPr id="439" name="Google Shape;439;p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0" name="Google Shape;440;p81"/>
            <p:cNvGrpSpPr/>
            <p:nvPr/>
          </p:nvGrpSpPr>
          <p:grpSpPr>
            <a:xfrm>
              <a:off x="7191542" y="1"/>
              <a:ext cx="5000459" cy="1425992"/>
              <a:chOff x="7186272" y="0"/>
              <a:chExt cx="5005729" cy="1427495"/>
            </a:xfrm>
          </p:grpSpPr>
          <p:sp>
            <p:nvSpPr>
              <p:cNvPr id="441" name="Google Shape;441;p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42" name="Google Shape;442;p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43" name="Google Shape;443;p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4" name="Google Shape;444;p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45" name="Google Shape;445;p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6" name="Google Shape;446;p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447"/>
        <p:cNvGrpSpPr/>
        <p:nvPr/>
      </p:nvGrpSpPr>
      <p:grpSpPr>
        <a:xfrm>
          <a:off x="0" y="0"/>
          <a:ext cx="0" cy="0"/>
          <a:chOff x="0" y="0"/>
          <a:chExt cx="0" cy="0"/>
        </a:xfrm>
      </p:grpSpPr>
      <p:sp>
        <p:nvSpPr>
          <p:cNvPr id="448" name="Google Shape;448;p8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49" name="Google Shape;449;p8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0" name="Google Shape;450;p8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1" name="Google Shape;451;p82"/>
          <p:cNvSpPr>
            <a:spLocks noGrp="1"/>
          </p:cNvSpPr>
          <p:nvPr>
            <p:ph type="pic" idx="2"/>
          </p:nvPr>
        </p:nvSpPr>
        <p:spPr>
          <a:xfrm>
            <a:off x="7118684" y="233915"/>
            <a:ext cx="5073316" cy="5943600"/>
          </a:xfrm>
          <a:prstGeom prst="rect">
            <a:avLst/>
          </a:prstGeom>
          <a:noFill/>
          <a:ln>
            <a:noFill/>
          </a:ln>
        </p:spPr>
      </p:sp>
      <p:grpSp>
        <p:nvGrpSpPr>
          <p:cNvPr id="452" name="Google Shape;452;p82"/>
          <p:cNvGrpSpPr/>
          <p:nvPr/>
        </p:nvGrpSpPr>
        <p:grpSpPr>
          <a:xfrm>
            <a:off x="0" y="5020348"/>
            <a:ext cx="12192000" cy="1837653"/>
            <a:chOff x="0" y="5020348"/>
            <a:chExt cx="12192000" cy="1837653"/>
          </a:xfrm>
        </p:grpSpPr>
        <p:sp>
          <p:nvSpPr>
            <p:cNvPr id="453" name="Google Shape;453;p8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54" name="Google Shape;454;p8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55" name="Google Shape;455;p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matchingName="Divider">
  <p:cSld name="Divider 5">
    <p:bg>
      <p:bgPr>
        <a:solidFill>
          <a:schemeClr val="lt2"/>
        </a:solidFill>
        <a:effectLst/>
      </p:bgPr>
    </p:bg>
    <p:spTree>
      <p:nvGrpSpPr>
        <p:cNvPr id="1" name="Shape 456"/>
        <p:cNvGrpSpPr/>
        <p:nvPr/>
      </p:nvGrpSpPr>
      <p:grpSpPr>
        <a:xfrm>
          <a:off x="0" y="0"/>
          <a:ext cx="0" cy="0"/>
          <a:chOff x="0" y="0"/>
          <a:chExt cx="0" cy="0"/>
        </a:xfrm>
      </p:grpSpPr>
      <p:grpSp>
        <p:nvGrpSpPr>
          <p:cNvPr id="457" name="Google Shape;457;p83"/>
          <p:cNvGrpSpPr/>
          <p:nvPr/>
        </p:nvGrpSpPr>
        <p:grpSpPr>
          <a:xfrm>
            <a:off x="0" y="5020347"/>
            <a:ext cx="12192000" cy="1837653"/>
            <a:chOff x="0" y="5020347"/>
            <a:chExt cx="12192000" cy="1837653"/>
          </a:xfrm>
        </p:grpSpPr>
        <p:sp>
          <p:nvSpPr>
            <p:cNvPr id="458" name="Google Shape;458;p8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59" name="Google Shape;459;p8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0" name="Google Shape;460;p8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61" name="Google Shape;461;p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62" name="Google Shape;462;p8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3" name="Google Shape;463;p8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464"/>
        <p:cNvGrpSpPr/>
        <p:nvPr/>
      </p:nvGrpSpPr>
      <p:grpSpPr>
        <a:xfrm>
          <a:off x="0" y="0"/>
          <a:ext cx="0" cy="0"/>
          <a:chOff x="0" y="0"/>
          <a:chExt cx="0" cy="0"/>
        </a:xfrm>
      </p:grpSpPr>
      <p:sp>
        <p:nvSpPr>
          <p:cNvPr id="465" name="Google Shape;465;p8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66" name="Google Shape;466;p8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67" name="Google Shape;467;p84"/>
          <p:cNvGrpSpPr/>
          <p:nvPr/>
        </p:nvGrpSpPr>
        <p:grpSpPr>
          <a:xfrm>
            <a:off x="0" y="5379426"/>
            <a:ext cx="2807368" cy="753891"/>
            <a:chOff x="0" y="5379426"/>
            <a:chExt cx="2807368" cy="753891"/>
          </a:xfrm>
        </p:grpSpPr>
        <p:sp>
          <p:nvSpPr>
            <p:cNvPr id="468" name="Google Shape;468;p8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9" name="Google Shape;469;p8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470" name="Google Shape;470;p84"/>
          <p:cNvSpPr>
            <a:spLocks noGrp="1"/>
          </p:cNvSpPr>
          <p:nvPr>
            <p:ph type="pic" idx="2"/>
          </p:nvPr>
        </p:nvSpPr>
        <p:spPr>
          <a:xfrm>
            <a:off x="2807368" y="457202"/>
            <a:ext cx="8915400" cy="5943598"/>
          </a:xfrm>
          <a:prstGeom prst="rect">
            <a:avLst/>
          </a:prstGeom>
          <a:noFill/>
          <a:ln>
            <a:noFill/>
          </a:ln>
        </p:spPr>
      </p:sp>
      <p:pic>
        <p:nvPicPr>
          <p:cNvPr id="471" name="Google Shape;471;p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472"/>
        <p:cNvGrpSpPr/>
        <p:nvPr/>
      </p:nvGrpSpPr>
      <p:grpSpPr>
        <a:xfrm>
          <a:off x="0" y="0"/>
          <a:ext cx="0" cy="0"/>
          <a:chOff x="0" y="0"/>
          <a:chExt cx="0" cy="0"/>
        </a:xfrm>
      </p:grpSpPr>
      <p:sp>
        <p:nvSpPr>
          <p:cNvPr id="473" name="Google Shape;473;p8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74" name="Google Shape;474;p8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5" name="Google Shape;475;p8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6" name="Google Shape;476;p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77" name="Google Shape;477;p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8" name="Google Shape;478;p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79" name="Google Shape;479;p85"/>
          <p:cNvGrpSpPr/>
          <p:nvPr/>
        </p:nvGrpSpPr>
        <p:grpSpPr>
          <a:xfrm>
            <a:off x="7191542" y="1"/>
            <a:ext cx="5000459" cy="1425992"/>
            <a:chOff x="7191542" y="1"/>
            <a:chExt cx="5000459" cy="1425992"/>
          </a:xfrm>
        </p:grpSpPr>
        <p:pic>
          <p:nvPicPr>
            <p:cNvPr id="480" name="Google Shape;480;p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81" name="Google Shape;481;p85"/>
            <p:cNvGrpSpPr/>
            <p:nvPr/>
          </p:nvGrpSpPr>
          <p:grpSpPr>
            <a:xfrm>
              <a:off x="7191542" y="1"/>
              <a:ext cx="5000459" cy="1425992"/>
              <a:chOff x="7186272" y="0"/>
              <a:chExt cx="5005729" cy="1427495"/>
            </a:xfrm>
          </p:grpSpPr>
          <p:sp>
            <p:nvSpPr>
              <p:cNvPr id="482" name="Google Shape;482;p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83" name="Google Shape;483;p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84" name="Google Shape;484;p8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485"/>
        <p:cNvGrpSpPr/>
        <p:nvPr/>
      </p:nvGrpSpPr>
      <p:grpSpPr>
        <a:xfrm>
          <a:off x="0" y="0"/>
          <a:ext cx="0" cy="0"/>
          <a:chOff x="0" y="0"/>
          <a:chExt cx="0" cy="0"/>
        </a:xfrm>
      </p:grpSpPr>
      <p:sp>
        <p:nvSpPr>
          <p:cNvPr id="486" name="Google Shape;486;p8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87" name="Google Shape;487;p8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8" name="Google Shape;488;p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9" name="Google Shape;489;p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0" name="Google Shape;490;p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1" name="Google Shape;491;p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92" name="Google Shape;492;p86"/>
          <p:cNvGrpSpPr/>
          <p:nvPr/>
        </p:nvGrpSpPr>
        <p:grpSpPr>
          <a:xfrm>
            <a:off x="7191542" y="1"/>
            <a:ext cx="5000459" cy="1425992"/>
            <a:chOff x="7191542" y="1"/>
            <a:chExt cx="5000459" cy="1425992"/>
          </a:xfrm>
        </p:grpSpPr>
        <p:pic>
          <p:nvPicPr>
            <p:cNvPr id="493" name="Google Shape;493;p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94" name="Google Shape;494;p86"/>
            <p:cNvGrpSpPr/>
            <p:nvPr/>
          </p:nvGrpSpPr>
          <p:grpSpPr>
            <a:xfrm>
              <a:off x="7191542" y="1"/>
              <a:ext cx="5000459" cy="1425992"/>
              <a:chOff x="7186272" y="0"/>
              <a:chExt cx="5005729" cy="1427495"/>
            </a:xfrm>
          </p:grpSpPr>
          <p:sp>
            <p:nvSpPr>
              <p:cNvPr id="495" name="Google Shape;495;p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96" name="Google Shape;496;p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97" name="Google Shape;497;p8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498"/>
        <p:cNvGrpSpPr/>
        <p:nvPr/>
      </p:nvGrpSpPr>
      <p:grpSpPr>
        <a:xfrm>
          <a:off x="0" y="0"/>
          <a:ext cx="0" cy="0"/>
          <a:chOff x="0" y="0"/>
          <a:chExt cx="0" cy="0"/>
        </a:xfrm>
      </p:grpSpPr>
      <p:sp>
        <p:nvSpPr>
          <p:cNvPr id="499" name="Google Shape;499;p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0" name="Google Shape;500;p8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01" name="Google Shape;501;p87"/>
          <p:cNvGrpSpPr/>
          <p:nvPr/>
        </p:nvGrpSpPr>
        <p:grpSpPr>
          <a:xfrm>
            <a:off x="7191542" y="1"/>
            <a:ext cx="5000459" cy="1425992"/>
            <a:chOff x="7191542" y="1"/>
            <a:chExt cx="5000459" cy="1425992"/>
          </a:xfrm>
        </p:grpSpPr>
        <p:pic>
          <p:nvPicPr>
            <p:cNvPr id="502" name="Google Shape;502;p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03" name="Google Shape;503;p87"/>
            <p:cNvGrpSpPr/>
            <p:nvPr/>
          </p:nvGrpSpPr>
          <p:grpSpPr>
            <a:xfrm>
              <a:off x="7191542" y="1"/>
              <a:ext cx="5000459" cy="1425992"/>
              <a:chOff x="7186272" y="0"/>
              <a:chExt cx="5005729" cy="1427495"/>
            </a:xfrm>
          </p:grpSpPr>
          <p:sp>
            <p:nvSpPr>
              <p:cNvPr id="504" name="Google Shape;504;p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05" name="Google Shape;505;p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06" name="Google Shape;506;p8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7" name="Google Shape;507;p8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08" name="Google Shape;508;p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9" name="Google Shape;509;p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5280055"/>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510"/>
        <p:cNvGrpSpPr/>
        <p:nvPr/>
      </p:nvGrpSpPr>
      <p:grpSpPr>
        <a:xfrm>
          <a:off x="0" y="0"/>
          <a:ext cx="0" cy="0"/>
          <a:chOff x="0" y="0"/>
          <a:chExt cx="0" cy="0"/>
        </a:xfrm>
      </p:grpSpPr>
      <p:grpSp>
        <p:nvGrpSpPr>
          <p:cNvPr id="511" name="Google Shape;511;p88"/>
          <p:cNvGrpSpPr/>
          <p:nvPr/>
        </p:nvGrpSpPr>
        <p:grpSpPr>
          <a:xfrm>
            <a:off x="7191542" y="1"/>
            <a:ext cx="5000459" cy="1425992"/>
            <a:chOff x="7191542" y="1"/>
            <a:chExt cx="5000459" cy="1425992"/>
          </a:xfrm>
        </p:grpSpPr>
        <p:pic>
          <p:nvPicPr>
            <p:cNvPr id="512" name="Google Shape;512;p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13" name="Google Shape;513;p88"/>
            <p:cNvGrpSpPr/>
            <p:nvPr/>
          </p:nvGrpSpPr>
          <p:grpSpPr>
            <a:xfrm>
              <a:off x="7191542" y="1"/>
              <a:ext cx="5000459" cy="1425992"/>
              <a:chOff x="7186272" y="0"/>
              <a:chExt cx="5005729" cy="1427495"/>
            </a:xfrm>
          </p:grpSpPr>
          <p:sp>
            <p:nvSpPr>
              <p:cNvPr id="514" name="Google Shape;514;p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15" name="Google Shape;515;p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16" name="Google Shape;516;p8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7" name="Google Shape;517;p8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18" name="Google Shape;518;p8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9" name="Google Shape;519;p8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0" name="Google Shape;520;p8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1" name="Google Shape;521;p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2" name="Google Shape;522;p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3" name="Google Shape;523;p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524"/>
        <p:cNvGrpSpPr/>
        <p:nvPr/>
      </p:nvGrpSpPr>
      <p:grpSpPr>
        <a:xfrm>
          <a:off x="0" y="0"/>
          <a:ext cx="0" cy="0"/>
          <a:chOff x="0" y="0"/>
          <a:chExt cx="0" cy="0"/>
        </a:xfrm>
      </p:grpSpPr>
      <p:grpSp>
        <p:nvGrpSpPr>
          <p:cNvPr id="525" name="Google Shape;525;p89"/>
          <p:cNvGrpSpPr/>
          <p:nvPr/>
        </p:nvGrpSpPr>
        <p:grpSpPr>
          <a:xfrm>
            <a:off x="7191542" y="1"/>
            <a:ext cx="5000459" cy="1425992"/>
            <a:chOff x="7191542" y="1"/>
            <a:chExt cx="5000459" cy="1425992"/>
          </a:xfrm>
        </p:grpSpPr>
        <p:pic>
          <p:nvPicPr>
            <p:cNvPr id="526" name="Google Shape;526;p8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27" name="Google Shape;527;p89"/>
            <p:cNvGrpSpPr/>
            <p:nvPr/>
          </p:nvGrpSpPr>
          <p:grpSpPr>
            <a:xfrm>
              <a:off x="7191542" y="1"/>
              <a:ext cx="5000459" cy="1425992"/>
              <a:chOff x="7186272" y="0"/>
              <a:chExt cx="5005729" cy="1427495"/>
            </a:xfrm>
          </p:grpSpPr>
          <p:sp>
            <p:nvSpPr>
              <p:cNvPr id="528" name="Google Shape;52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29" name="Google Shape;52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30" name="Google Shape;530;p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1" name="Google Shape;531;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32" name="Google Shape;532;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3" name="Google Shape;533;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534"/>
        <p:cNvGrpSpPr/>
        <p:nvPr/>
      </p:nvGrpSpPr>
      <p:grpSpPr>
        <a:xfrm>
          <a:off x="0" y="0"/>
          <a:ext cx="0" cy="0"/>
          <a:chOff x="0" y="0"/>
          <a:chExt cx="0" cy="0"/>
        </a:xfrm>
      </p:grpSpPr>
      <p:grpSp>
        <p:nvGrpSpPr>
          <p:cNvPr id="535" name="Google Shape;535;p90"/>
          <p:cNvGrpSpPr/>
          <p:nvPr/>
        </p:nvGrpSpPr>
        <p:grpSpPr>
          <a:xfrm>
            <a:off x="0" y="0"/>
            <a:ext cx="12192000" cy="2148830"/>
            <a:chOff x="0" y="0"/>
            <a:chExt cx="12192000" cy="2148830"/>
          </a:xfrm>
        </p:grpSpPr>
        <p:sp>
          <p:nvSpPr>
            <p:cNvPr id="536" name="Google Shape;536;p9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37" name="Google Shape;537;p9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38" name="Google Shape;538;p9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9" name="Google Shape;539;p9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0" name="Google Shape;540;p9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41" name="Google Shape;541;p9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542" name="Google Shape;542;p9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543"/>
        <p:cNvGrpSpPr/>
        <p:nvPr/>
      </p:nvGrpSpPr>
      <p:grpSpPr>
        <a:xfrm>
          <a:off x="0" y="0"/>
          <a:ext cx="0" cy="0"/>
          <a:chOff x="0" y="0"/>
          <a:chExt cx="0" cy="0"/>
        </a:xfrm>
      </p:grpSpPr>
      <p:sp>
        <p:nvSpPr>
          <p:cNvPr id="544" name="Google Shape;544;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5" name="Google Shape;545;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6" name="Google Shape;546;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47" name="Google Shape;547;p91"/>
          <p:cNvGrpSpPr/>
          <p:nvPr/>
        </p:nvGrpSpPr>
        <p:grpSpPr>
          <a:xfrm>
            <a:off x="7191542" y="1"/>
            <a:ext cx="5000459" cy="1425992"/>
            <a:chOff x="7191542" y="1"/>
            <a:chExt cx="5000459" cy="1425992"/>
          </a:xfrm>
        </p:grpSpPr>
        <p:pic>
          <p:nvPicPr>
            <p:cNvPr id="548" name="Google Shape;548;p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49" name="Google Shape;549;p91"/>
            <p:cNvGrpSpPr/>
            <p:nvPr/>
          </p:nvGrpSpPr>
          <p:grpSpPr>
            <a:xfrm>
              <a:off x="7191542" y="1"/>
              <a:ext cx="5000459" cy="1425992"/>
              <a:chOff x="7186272" y="0"/>
              <a:chExt cx="5005729" cy="1427495"/>
            </a:xfrm>
          </p:grpSpPr>
          <p:sp>
            <p:nvSpPr>
              <p:cNvPr id="550" name="Google Shape;550;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1" name="Google Shape;551;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552"/>
        <p:cNvGrpSpPr/>
        <p:nvPr/>
      </p:nvGrpSpPr>
      <p:grpSpPr>
        <a:xfrm>
          <a:off x="0" y="0"/>
          <a:ext cx="0" cy="0"/>
          <a:chOff x="0" y="0"/>
          <a:chExt cx="0" cy="0"/>
        </a:xfrm>
      </p:grpSpPr>
      <p:sp>
        <p:nvSpPr>
          <p:cNvPr id="553" name="Google Shape;553;p9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4" name="Google Shape;554;p9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5" name="Google Shape;555;p9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56" name="Google Shape;556;p92"/>
          <p:cNvSpPr>
            <a:spLocks noGrp="1"/>
          </p:cNvSpPr>
          <p:nvPr>
            <p:ph type="pic" idx="2"/>
          </p:nvPr>
        </p:nvSpPr>
        <p:spPr>
          <a:xfrm>
            <a:off x="7118684" y="233915"/>
            <a:ext cx="5073316" cy="5943600"/>
          </a:xfrm>
          <a:prstGeom prst="rect">
            <a:avLst/>
          </a:prstGeom>
          <a:noFill/>
          <a:ln>
            <a:noFill/>
          </a:ln>
        </p:spPr>
      </p:sp>
      <p:grpSp>
        <p:nvGrpSpPr>
          <p:cNvPr id="557" name="Google Shape;557;p92"/>
          <p:cNvGrpSpPr/>
          <p:nvPr/>
        </p:nvGrpSpPr>
        <p:grpSpPr>
          <a:xfrm>
            <a:off x="0" y="5020348"/>
            <a:ext cx="12192000" cy="1837653"/>
            <a:chOff x="0" y="5020348"/>
            <a:chExt cx="12192000" cy="1837653"/>
          </a:xfrm>
        </p:grpSpPr>
        <p:sp>
          <p:nvSpPr>
            <p:cNvPr id="558" name="Google Shape;558;p9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9" name="Google Shape;559;p9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60" name="Google Shape;560;p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561"/>
        <p:cNvGrpSpPr/>
        <p:nvPr/>
      </p:nvGrpSpPr>
      <p:grpSpPr>
        <a:xfrm>
          <a:off x="0" y="0"/>
          <a:ext cx="0" cy="0"/>
          <a:chOff x="0" y="0"/>
          <a:chExt cx="0" cy="0"/>
        </a:xfrm>
      </p:grpSpPr>
      <p:sp>
        <p:nvSpPr>
          <p:cNvPr id="562" name="Google Shape;562;p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3" name="Google Shape;563;p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4" name="Google Shape;564;p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5" name="Google Shape;565;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66" name="Google Shape;566;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7" name="Google Shape;567;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68" name="Google Shape;568;p93"/>
          <p:cNvGrpSpPr/>
          <p:nvPr/>
        </p:nvGrpSpPr>
        <p:grpSpPr>
          <a:xfrm>
            <a:off x="7191542" y="1"/>
            <a:ext cx="5000459" cy="1425992"/>
            <a:chOff x="7191542" y="1"/>
            <a:chExt cx="5000459" cy="1425992"/>
          </a:xfrm>
        </p:grpSpPr>
        <p:pic>
          <p:nvPicPr>
            <p:cNvPr id="569" name="Google Shape;569;p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70" name="Google Shape;570;p93"/>
            <p:cNvGrpSpPr/>
            <p:nvPr/>
          </p:nvGrpSpPr>
          <p:grpSpPr>
            <a:xfrm>
              <a:off x="7191542" y="1"/>
              <a:ext cx="5000459" cy="1425992"/>
              <a:chOff x="7186272" y="0"/>
              <a:chExt cx="5005729" cy="1427495"/>
            </a:xfrm>
          </p:grpSpPr>
          <p:sp>
            <p:nvSpPr>
              <p:cNvPr id="571" name="Google Shape;571;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2" name="Google Shape;572;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73" name="Google Shape;573;p9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574"/>
        <p:cNvGrpSpPr/>
        <p:nvPr/>
      </p:nvGrpSpPr>
      <p:grpSpPr>
        <a:xfrm>
          <a:off x="0" y="0"/>
          <a:ext cx="0" cy="0"/>
          <a:chOff x="0" y="0"/>
          <a:chExt cx="0" cy="0"/>
        </a:xfrm>
      </p:grpSpPr>
      <p:grpSp>
        <p:nvGrpSpPr>
          <p:cNvPr id="575" name="Google Shape;575;p94"/>
          <p:cNvGrpSpPr/>
          <p:nvPr/>
        </p:nvGrpSpPr>
        <p:grpSpPr>
          <a:xfrm>
            <a:off x="0" y="5020347"/>
            <a:ext cx="12192000" cy="1837653"/>
            <a:chOff x="0" y="5020347"/>
            <a:chExt cx="12192000" cy="1837653"/>
          </a:xfrm>
        </p:grpSpPr>
        <p:sp>
          <p:nvSpPr>
            <p:cNvPr id="576" name="Google Shape;576;p9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7" name="Google Shape;577;p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8" name="Google Shape;578;p9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79" name="Google Shape;579;p9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580" name="Google Shape;580;p9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1" name="Google Shape;581;p9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582"/>
        <p:cNvGrpSpPr/>
        <p:nvPr/>
      </p:nvGrpSpPr>
      <p:grpSpPr>
        <a:xfrm>
          <a:off x="0" y="0"/>
          <a:ext cx="0" cy="0"/>
          <a:chOff x="0" y="0"/>
          <a:chExt cx="0" cy="0"/>
        </a:xfrm>
      </p:grpSpPr>
      <p:sp>
        <p:nvSpPr>
          <p:cNvPr id="583" name="Google Shape;583;p9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4" name="Google Shape;584;p9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5" name="Google Shape;585;p9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6" name="Google Shape;586;p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7" name="Google Shape;587;p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8" name="Google Shape;588;p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89" name="Google Shape;589;p95"/>
          <p:cNvGrpSpPr/>
          <p:nvPr/>
        </p:nvGrpSpPr>
        <p:grpSpPr>
          <a:xfrm>
            <a:off x="7191542" y="1"/>
            <a:ext cx="5000459" cy="1425992"/>
            <a:chOff x="7191542" y="1"/>
            <a:chExt cx="5000459" cy="1425992"/>
          </a:xfrm>
        </p:grpSpPr>
        <p:pic>
          <p:nvPicPr>
            <p:cNvPr id="590" name="Google Shape;590;p9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91" name="Google Shape;591;p95"/>
            <p:cNvGrpSpPr/>
            <p:nvPr/>
          </p:nvGrpSpPr>
          <p:grpSpPr>
            <a:xfrm>
              <a:off x="7191542" y="1"/>
              <a:ext cx="5000459" cy="1425992"/>
              <a:chOff x="7186272" y="0"/>
              <a:chExt cx="5005729" cy="1427495"/>
            </a:xfrm>
          </p:grpSpPr>
          <p:sp>
            <p:nvSpPr>
              <p:cNvPr id="592" name="Google Shape;592;p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93" name="Google Shape;593;p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94" name="Google Shape;594;p9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595"/>
        <p:cNvGrpSpPr/>
        <p:nvPr/>
      </p:nvGrpSpPr>
      <p:grpSpPr>
        <a:xfrm>
          <a:off x="0" y="0"/>
          <a:ext cx="0" cy="0"/>
          <a:chOff x="0" y="0"/>
          <a:chExt cx="0" cy="0"/>
        </a:xfrm>
      </p:grpSpPr>
      <p:sp>
        <p:nvSpPr>
          <p:cNvPr id="596" name="Google Shape;596;p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7" name="Google Shape;597;p9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98" name="Google Shape;598;p96"/>
          <p:cNvGrpSpPr/>
          <p:nvPr/>
        </p:nvGrpSpPr>
        <p:grpSpPr>
          <a:xfrm>
            <a:off x="7191542" y="1"/>
            <a:ext cx="5000459" cy="1425992"/>
            <a:chOff x="7191542" y="1"/>
            <a:chExt cx="5000459" cy="1425992"/>
          </a:xfrm>
        </p:grpSpPr>
        <p:pic>
          <p:nvPicPr>
            <p:cNvPr id="599" name="Google Shape;599;p9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0" name="Google Shape;600;p96"/>
            <p:cNvGrpSpPr/>
            <p:nvPr/>
          </p:nvGrpSpPr>
          <p:grpSpPr>
            <a:xfrm>
              <a:off x="7191542" y="1"/>
              <a:ext cx="5000459" cy="1425992"/>
              <a:chOff x="7186272" y="0"/>
              <a:chExt cx="5005729" cy="1427495"/>
            </a:xfrm>
          </p:grpSpPr>
          <p:sp>
            <p:nvSpPr>
              <p:cNvPr id="601" name="Google Shape;601;p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02" name="Google Shape;602;p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03" name="Google Shape;603;p9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4" name="Google Shape;604;p9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5" name="Google Shape;605;p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6" name="Google Shape;606;p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607"/>
        <p:cNvGrpSpPr/>
        <p:nvPr/>
      </p:nvGrpSpPr>
      <p:grpSpPr>
        <a:xfrm>
          <a:off x="0" y="0"/>
          <a:ext cx="0" cy="0"/>
          <a:chOff x="0" y="0"/>
          <a:chExt cx="0" cy="0"/>
        </a:xfrm>
      </p:grpSpPr>
      <p:grpSp>
        <p:nvGrpSpPr>
          <p:cNvPr id="608" name="Google Shape;608;p97"/>
          <p:cNvGrpSpPr/>
          <p:nvPr/>
        </p:nvGrpSpPr>
        <p:grpSpPr>
          <a:xfrm>
            <a:off x="7191542" y="1"/>
            <a:ext cx="5000459" cy="1425992"/>
            <a:chOff x="7191542" y="1"/>
            <a:chExt cx="5000459" cy="1425992"/>
          </a:xfrm>
        </p:grpSpPr>
        <p:pic>
          <p:nvPicPr>
            <p:cNvPr id="609" name="Google Shape;609;p9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10" name="Google Shape;610;p97"/>
            <p:cNvGrpSpPr/>
            <p:nvPr/>
          </p:nvGrpSpPr>
          <p:grpSpPr>
            <a:xfrm>
              <a:off x="7191542" y="1"/>
              <a:ext cx="5000459" cy="1425992"/>
              <a:chOff x="7186272" y="0"/>
              <a:chExt cx="5005729" cy="1427495"/>
            </a:xfrm>
          </p:grpSpPr>
          <p:sp>
            <p:nvSpPr>
              <p:cNvPr id="611" name="Google Shape;611;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12" name="Google Shape;612;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13" name="Google Shape;613;p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4" name="Google Shape;614;p9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15" name="Google Shape;615;p9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6" name="Google Shape;616;p9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17" name="Google Shape;617;p9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8" name="Google Shape;618;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9" name="Google Shape;619;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0" name="Google Shape;620;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8434812"/>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621"/>
        <p:cNvGrpSpPr/>
        <p:nvPr/>
      </p:nvGrpSpPr>
      <p:grpSpPr>
        <a:xfrm>
          <a:off x="0" y="0"/>
          <a:ext cx="0" cy="0"/>
          <a:chOff x="0" y="0"/>
          <a:chExt cx="0" cy="0"/>
        </a:xfrm>
      </p:grpSpPr>
      <p:sp>
        <p:nvSpPr>
          <p:cNvPr id="622" name="Google Shape;622;p9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23" name="Google Shape;623;p9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24" name="Google Shape;624;p98"/>
          <p:cNvGrpSpPr/>
          <p:nvPr/>
        </p:nvGrpSpPr>
        <p:grpSpPr>
          <a:xfrm>
            <a:off x="0" y="5379426"/>
            <a:ext cx="2807368" cy="753891"/>
            <a:chOff x="0" y="5379426"/>
            <a:chExt cx="2807368" cy="753891"/>
          </a:xfrm>
        </p:grpSpPr>
        <p:sp>
          <p:nvSpPr>
            <p:cNvPr id="625" name="Google Shape;625;p9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26" name="Google Shape;626;p9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27" name="Google Shape;627;p98"/>
          <p:cNvSpPr>
            <a:spLocks noGrp="1"/>
          </p:cNvSpPr>
          <p:nvPr>
            <p:ph type="pic" idx="2"/>
          </p:nvPr>
        </p:nvSpPr>
        <p:spPr>
          <a:xfrm>
            <a:off x="2807368" y="457202"/>
            <a:ext cx="8915400" cy="5943598"/>
          </a:xfrm>
          <a:prstGeom prst="rect">
            <a:avLst/>
          </a:prstGeom>
          <a:noFill/>
          <a:ln>
            <a:noFill/>
          </a:ln>
        </p:spPr>
      </p:sp>
      <p:pic>
        <p:nvPicPr>
          <p:cNvPr id="628" name="Google Shape;628;p9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629"/>
        <p:cNvGrpSpPr/>
        <p:nvPr/>
      </p:nvGrpSpPr>
      <p:grpSpPr>
        <a:xfrm>
          <a:off x="0" y="0"/>
          <a:ext cx="0" cy="0"/>
          <a:chOff x="0" y="0"/>
          <a:chExt cx="0" cy="0"/>
        </a:xfrm>
      </p:grpSpPr>
      <p:grpSp>
        <p:nvGrpSpPr>
          <p:cNvPr id="630" name="Google Shape;630;p99"/>
          <p:cNvGrpSpPr/>
          <p:nvPr/>
        </p:nvGrpSpPr>
        <p:grpSpPr>
          <a:xfrm>
            <a:off x="0" y="0"/>
            <a:ext cx="12192000" cy="2148830"/>
            <a:chOff x="0" y="0"/>
            <a:chExt cx="12192000" cy="2148830"/>
          </a:xfrm>
        </p:grpSpPr>
        <p:sp>
          <p:nvSpPr>
            <p:cNvPr id="631" name="Google Shape;631;p9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32" name="Google Shape;632;p9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33" name="Google Shape;633;p9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34" name="Google Shape;634;p9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5" name="Google Shape;635;p9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36" name="Google Shape;636;p9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637" name="Google Shape;637;p9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638"/>
        <p:cNvGrpSpPr/>
        <p:nvPr/>
      </p:nvGrpSpPr>
      <p:grpSpPr>
        <a:xfrm>
          <a:off x="0" y="0"/>
          <a:ext cx="0" cy="0"/>
          <a:chOff x="0" y="0"/>
          <a:chExt cx="0" cy="0"/>
        </a:xfrm>
      </p:grpSpPr>
      <p:sp>
        <p:nvSpPr>
          <p:cNvPr id="639" name="Google Shape;639;p1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0" name="Google Shape;640;p1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1" name="Google Shape;641;p1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42" name="Google Shape;642;p100"/>
          <p:cNvGrpSpPr/>
          <p:nvPr/>
        </p:nvGrpSpPr>
        <p:grpSpPr>
          <a:xfrm>
            <a:off x="7191542" y="1"/>
            <a:ext cx="5000459" cy="1425992"/>
            <a:chOff x="7191542" y="1"/>
            <a:chExt cx="5000459" cy="1425992"/>
          </a:xfrm>
        </p:grpSpPr>
        <p:pic>
          <p:nvPicPr>
            <p:cNvPr id="643" name="Google Shape;643;p10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44" name="Google Shape;644;p100"/>
            <p:cNvGrpSpPr/>
            <p:nvPr/>
          </p:nvGrpSpPr>
          <p:grpSpPr>
            <a:xfrm>
              <a:off x="7191542" y="1"/>
              <a:ext cx="5000459" cy="1425992"/>
              <a:chOff x="7186272" y="0"/>
              <a:chExt cx="5005729" cy="1427495"/>
            </a:xfrm>
          </p:grpSpPr>
          <p:sp>
            <p:nvSpPr>
              <p:cNvPr id="645" name="Google Shape;645;p1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46" name="Google Shape;646;p1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647"/>
        <p:cNvGrpSpPr/>
        <p:nvPr/>
      </p:nvGrpSpPr>
      <p:grpSpPr>
        <a:xfrm>
          <a:off x="0" y="0"/>
          <a:ext cx="0" cy="0"/>
          <a:chOff x="0" y="0"/>
          <a:chExt cx="0" cy="0"/>
        </a:xfrm>
      </p:grpSpPr>
      <p:grpSp>
        <p:nvGrpSpPr>
          <p:cNvPr id="648" name="Google Shape;648;p101"/>
          <p:cNvGrpSpPr/>
          <p:nvPr/>
        </p:nvGrpSpPr>
        <p:grpSpPr>
          <a:xfrm>
            <a:off x="7191542" y="1"/>
            <a:ext cx="5000459" cy="1425992"/>
            <a:chOff x="7191542" y="1"/>
            <a:chExt cx="5000459" cy="1425992"/>
          </a:xfrm>
        </p:grpSpPr>
        <p:pic>
          <p:nvPicPr>
            <p:cNvPr id="649" name="Google Shape;649;p10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50" name="Google Shape;650;p101"/>
            <p:cNvGrpSpPr/>
            <p:nvPr/>
          </p:nvGrpSpPr>
          <p:grpSpPr>
            <a:xfrm>
              <a:off x="7191542" y="1"/>
              <a:ext cx="5000459" cy="1425992"/>
              <a:chOff x="7186272" y="0"/>
              <a:chExt cx="5005729" cy="1427495"/>
            </a:xfrm>
          </p:grpSpPr>
          <p:sp>
            <p:nvSpPr>
              <p:cNvPr id="651" name="Google Shape;651;p1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2" name="Google Shape;652;p1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53" name="Google Shape;653;p1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4" name="Google Shape;654;p1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5" name="Google Shape;655;p1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6" name="Google Shape;656;p1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657"/>
        <p:cNvGrpSpPr/>
        <p:nvPr/>
      </p:nvGrpSpPr>
      <p:grpSpPr>
        <a:xfrm>
          <a:off x="0" y="0"/>
          <a:ext cx="0" cy="0"/>
          <a:chOff x="0" y="0"/>
          <a:chExt cx="0" cy="0"/>
        </a:xfrm>
      </p:grpSpPr>
      <p:grpSp>
        <p:nvGrpSpPr>
          <p:cNvPr id="658" name="Google Shape;658;p102"/>
          <p:cNvGrpSpPr/>
          <p:nvPr/>
        </p:nvGrpSpPr>
        <p:grpSpPr>
          <a:xfrm>
            <a:off x="0" y="0"/>
            <a:ext cx="12192000" cy="2148830"/>
            <a:chOff x="0" y="0"/>
            <a:chExt cx="12192000" cy="2148830"/>
          </a:xfrm>
        </p:grpSpPr>
        <p:sp>
          <p:nvSpPr>
            <p:cNvPr id="659" name="Google Shape;659;p10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60" name="Google Shape;660;p10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61" name="Google Shape;661;p10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62" name="Google Shape;662;p10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3" name="Google Shape;663;p10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64" name="Google Shape;664;p10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665" name="Google Shape;665;p10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666"/>
        <p:cNvGrpSpPr/>
        <p:nvPr/>
      </p:nvGrpSpPr>
      <p:grpSpPr>
        <a:xfrm>
          <a:off x="0" y="0"/>
          <a:ext cx="0" cy="0"/>
          <a:chOff x="0" y="0"/>
          <a:chExt cx="0" cy="0"/>
        </a:xfrm>
      </p:grpSpPr>
      <p:sp>
        <p:nvSpPr>
          <p:cNvPr id="667" name="Google Shape;667;p1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8" name="Google Shape;668;p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9" name="Google Shape;669;p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70" name="Google Shape;670;p103"/>
          <p:cNvGrpSpPr/>
          <p:nvPr/>
        </p:nvGrpSpPr>
        <p:grpSpPr>
          <a:xfrm>
            <a:off x="7191542" y="1"/>
            <a:ext cx="5000459" cy="1425992"/>
            <a:chOff x="7191542" y="1"/>
            <a:chExt cx="5000459" cy="1425992"/>
          </a:xfrm>
        </p:grpSpPr>
        <p:pic>
          <p:nvPicPr>
            <p:cNvPr id="671" name="Google Shape;671;p1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72" name="Google Shape;672;p103"/>
            <p:cNvGrpSpPr/>
            <p:nvPr/>
          </p:nvGrpSpPr>
          <p:grpSpPr>
            <a:xfrm>
              <a:off x="7191542" y="1"/>
              <a:ext cx="5000459" cy="1425992"/>
              <a:chOff x="7186272" y="0"/>
              <a:chExt cx="5005729" cy="1427495"/>
            </a:xfrm>
          </p:grpSpPr>
          <p:sp>
            <p:nvSpPr>
              <p:cNvPr id="673" name="Google Shape;673;p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74" name="Google Shape;674;p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675"/>
        <p:cNvGrpSpPr/>
        <p:nvPr/>
      </p:nvGrpSpPr>
      <p:grpSpPr>
        <a:xfrm>
          <a:off x="0" y="0"/>
          <a:ext cx="0" cy="0"/>
          <a:chOff x="0" y="0"/>
          <a:chExt cx="0" cy="0"/>
        </a:xfrm>
      </p:grpSpPr>
      <p:sp>
        <p:nvSpPr>
          <p:cNvPr id="676" name="Google Shape;676;p10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77" name="Google Shape;677;p10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8" name="Google Shape;678;p10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79" name="Google Shape;679;p104"/>
          <p:cNvSpPr>
            <a:spLocks noGrp="1"/>
          </p:cNvSpPr>
          <p:nvPr>
            <p:ph type="pic" idx="2"/>
          </p:nvPr>
        </p:nvSpPr>
        <p:spPr>
          <a:xfrm>
            <a:off x="7118684" y="233915"/>
            <a:ext cx="5073316" cy="5943600"/>
          </a:xfrm>
          <a:prstGeom prst="rect">
            <a:avLst/>
          </a:prstGeom>
          <a:noFill/>
          <a:ln>
            <a:noFill/>
          </a:ln>
        </p:spPr>
      </p:sp>
      <p:grpSp>
        <p:nvGrpSpPr>
          <p:cNvPr id="680" name="Google Shape;680;p104"/>
          <p:cNvGrpSpPr/>
          <p:nvPr/>
        </p:nvGrpSpPr>
        <p:grpSpPr>
          <a:xfrm>
            <a:off x="0" y="5020348"/>
            <a:ext cx="12192000" cy="1837653"/>
            <a:chOff x="0" y="5020348"/>
            <a:chExt cx="12192000" cy="1837653"/>
          </a:xfrm>
        </p:grpSpPr>
        <p:sp>
          <p:nvSpPr>
            <p:cNvPr id="681" name="Google Shape;681;p1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82" name="Google Shape;682;p1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83" name="Google Shape;683;p10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684"/>
        <p:cNvGrpSpPr/>
        <p:nvPr/>
      </p:nvGrpSpPr>
      <p:grpSpPr>
        <a:xfrm>
          <a:off x="0" y="0"/>
          <a:ext cx="0" cy="0"/>
          <a:chOff x="0" y="0"/>
          <a:chExt cx="0" cy="0"/>
        </a:xfrm>
      </p:grpSpPr>
      <p:grpSp>
        <p:nvGrpSpPr>
          <p:cNvPr id="685" name="Google Shape;685;p105"/>
          <p:cNvGrpSpPr/>
          <p:nvPr/>
        </p:nvGrpSpPr>
        <p:grpSpPr>
          <a:xfrm>
            <a:off x="7191542" y="1"/>
            <a:ext cx="5000459" cy="1425992"/>
            <a:chOff x="7191542" y="1"/>
            <a:chExt cx="5000459" cy="1425992"/>
          </a:xfrm>
        </p:grpSpPr>
        <p:pic>
          <p:nvPicPr>
            <p:cNvPr id="686" name="Google Shape;686;p1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87" name="Google Shape;687;p105"/>
            <p:cNvGrpSpPr/>
            <p:nvPr/>
          </p:nvGrpSpPr>
          <p:grpSpPr>
            <a:xfrm>
              <a:off x="7191542" y="1"/>
              <a:ext cx="5000459" cy="1425992"/>
              <a:chOff x="7186272" y="0"/>
              <a:chExt cx="5005729" cy="1427495"/>
            </a:xfrm>
          </p:grpSpPr>
          <p:sp>
            <p:nvSpPr>
              <p:cNvPr id="688" name="Google Shape;688;p1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89" name="Google Shape;689;p1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90" name="Google Shape;690;p1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1" name="Google Shape;691;p1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2" name="Google Shape;692;p1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3" name="Google Shape;693;p1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694"/>
        <p:cNvGrpSpPr/>
        <p:nvPr/>
      </p:nvGrpSpPr>
      <p:grpSpPr>
        <a:xfrm>
          <a:off x="0" y="0"/>
          <a:ext cx="0" cy="0"/>
          <a:chOff x="0" y="0"/>
          <a:chExt cx="0" cy="0"/>
        </a:xfrm>
      </p:grpSpPr>
      <p:sp>
        <p:nvSpPr>
          <p:cNvPr id="695" name="Google Shape;695;p106"/>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6" name="Google Shape;696;p106"/>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697" name="Google Shape;697;p106"/>
          <p:cNvGrpSpPr/>
          <p:nvPr/>
        </p:nvGrpSpPr>
        <p:grpSpPr>
          <a:xfrm flipH="1">
            <a:off x="-1" y="1"/>
            <a:ext cx="6418725" cy="1509822"/>
            <a:chOff x="7522541" y="1"/>
            <a:chExt cx="4669459" cy="1098357"/>
          </a:xfrm>
        </p:grpSpPr>
        <p:sp>
          <p:nvSpPr>
            <p:cNvPr id="698" name="Google Shape;698;p106"/>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99" name="Google Shape;699;p106"/>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700" name="Google Shape;700;p10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matchingName="Divider">
  <p:cSld name="Divider 7">
    <p:bg>
      <p:bgPr>
        <a:solidFill>
          <a:schemeClr val="lt2"/>
        </a:solidFill>
        <a:effectLst/>
      </p:bgPr>
    </p:bg>
    <p:spTree>
      <p:nvGrpSpPr>
        <p:cNvPr id="1" name="Shape 701"/>
        <p:cNvGrpSpPr/>
        <p:nvPr/>
      </p:nvGrpSpPr>
      <p:grpSpPr>
        <a:xfrm>
          <a:off x="0" y="0"/>
          <a:ext cx="0" cy="0"/>
          <a:chOff x="0" y="0"/>
          <a:chExt cx="0" cy="0"/>
        </a:xfrm>
      </p:grpSpPr>
      <p:grpSp>
        <p:nvGrpSpPr>
          <p:cNvPr id="702" name="Google Shape;702;p107"/>
          <p:cNvGrpSpPr/>
          <p:nvPr/>
        </p:nvGrpSpPr>
        <p:grpSpPr>
          <a:xfrm>
            <a:off x="0" y="5020347"/>
            <a:ext cx="12192000" cy="1837653"/>
            <a:chOff x="0" y="5020347"/>
            <a:chExt cx="12192000" cy="1837653"/>
          </a:xfrm>
        </p:grpSpPr>
        <p:sp>
          <p:nvSpPr>
            <p:cNvPr id="703" name="Google Shape;703;p10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04" name="Google Shape;704;p10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05" name="Google Shape;705;p10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06" name="Google Shape;706;p10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07" name="Google Shape;707;p10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8" name="Google Shape;708;p10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98479306"/>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709"/>
        <p:cNvGrpSpPr/>
        <p:nvPr/>
      </p:nvGrpSpPr>
      <p:grpSpPr>
        <a:xfrm>
          <a:off x="0" y="0"/>
          <a:ext cx="0" cy="0"/>
          <a:chOff x="0" y="0"/>
          <a:chExt cx="0" cy="0"/>
        </a:xfrm>
      </p:grpSpPr>
      <p:sp>
        <p:nvSpPr>
          <p:cNvPr id="710" name="Google Shape;710;p10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11" name="Google Shape;711;p10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12" name="Google Shape;712;p108"/>
          <p:cNvGrpSpPr/>
          <p:nvPr/>
        </p:nvGrpSpPr>
        <p:grpSpPr>
          <a:xfrm>
            <a:off x="0" y="5379426"/>
            <a:ext cx="2807368" cy="753891"/>
            <a:chOff x="0" y="5379426"/>
            <a:chExt cx="2807368" cy="753891"/>
          </a:xfrm>
        </p:grpSpPr>
        <p:sp>
          <p:nvSpPr>
            <p:cNvPr id="713" name="Google Shape;713;p10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14" name="Google Shape;714;p10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715" name="Google Shape;715;p108"/>
          <p:cNvSpPr>
            <a:spLocks noGrp="1"/>
          </p:cNvSpPr>
          <p:nvPr>
            <p:ph type="pic" idx="2"/>
          </p:nvPr>
        </p:nvSpPr>
        <p:spPr>
          <a:xfrm>
            <a:off x="2807368" y="457202"/>
            <a:ext cx="8915400" cy="5943598"/>
          </a:xfrm>
          <a:prstGeom prst="rect">
            <a:avLst/>
          </a:prstGeom>
          <a:noFill/>
          <a:ln>
            <a:noFill/>
          </a:ln>
        </p:spPr>
      </p:sp>
      <p:pic>
        <p:nvPicPr>
          <p:cNvPr id="716" name="Google Shape;716;p10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717"/>
        <p:cNvGrpSpPr/>
        <p:nvPr/>
      </p:nvGrpSpPr>
      <p:grpSpPr>
        <a:xfrm>
          <a:off x="0" y="0"/>
          <a:ext cx="0" cy="0"/>
          <a:chOff x="0" y="0"/>
          <a:chExt cx="0" cy="0"/>
        </a:xfrm>
      </p:grpSpPr>
      <p:sp>
        <p:nvSpPr>
          <p:cNvPr id="718" name="Google Shape;718;p10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19" name="Google Shape;719;p10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0" name="Google Shape;720;p10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21" name="Google Shape;721;p109"/>
          <p:cNvSpPr>
            <a:spLocks noGrp="1"/>
          </p:cNvSpPr>
          <p:nvPr>
            <p:ph type="pic" idx="2"/>
          </p:nvPr>
        </p:nvSpPr>
        <p:spPr>
          <a:xfrm>
            <a:off x="7118684" y="233915"/>
            <a:ext cx="5073316" cy="5943600"/>
          </a:xfrm>
          <a:prstGeom prst="rect">
            <a:avLst/>
          </a:prstGeom>
          <a:noFill/>
          <a:ln>
            <a:noFill/>
          </a:ln>
        </p:spPr>
      </p:sp>
      <p:grpSp>
        <p:nvGrpSpPr>
          <p:cNvPr id="722" name="Google Shape;722;p109"/>
          <p:cNvGrpSpPr/>
          <p:nvPr/>
        </p:nvGrpSpPr>
        <p:grpSpPr>
          <a:xfrm>
            <a:off x="0" y="5020348"/>
            <a:ext cx="12192000" cy="1837653"/>
            <a:chOff x="0" y="5020348"/>
            <a:chExt cx="12192000" cy="1837653"/>
          </a:xfrm>
        </p:grpSpPr>
        <p:sp>
          <p:nvSpPr>
            <p:cNvPr id="723" name="Google Shape;723;p1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24" name="Google Shape;724;p10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25" name="Google Shape;725;p1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726"/>
        <p:cNvGrpSpPr/>
        <p:nvPr/>
      </p:nvGrpSpPr>
      <p:grpSpPr>
        <a:xfrm>
          <a:off x="0" y="0"/>
          <a:ext cx="0" cy="0"/>
          <a:chOff x="0" y="0"/>
          <a:chExt cx="0" cy="0"/>
        </a:xfrm>
      </p:grpSpPr>
      <p:grpSp>
        <p:nvGrpSpPr>
          <p:cNvPr id="727" name="Google Shape;727;p110"/>
          <p:cNvGrpSpPr/>
          <p:nvPr/>
        </p:nvGrpSpPr>
        <p:grpSpPr>
          <a:xfrm>
            <a:off x="7191542" y="1"/>
            <a:ext cx="5000459" cy="1425992"/>
            <a:chOff x="7191542" y="1"/>
            <a:chExt cx="5000459" cy="1425992"/>
          </a:xfrm>
        </p:grpSpPr>
        <p:pic>
          <p:nvPicPr>
            <p:cNvPr id="728" name="Google Shape;728;p1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9" name="Google Shape;729;p110"/>
            <p:cNvGrpSpPr/>
            <p:nvPr/>
          </p:nvGrpSpPr>
          <p:grpSpPr>
            <a:xfrm>
              <a:off x="7191542" y="1"/>
              <a:ext cx="5000459" cy="1425992"/>
              <a:chOff x="7186272" y="0"/>
              <a:chExt cx="5005729" cy="1427495"/>
            </a:xfrm>
          </p:grpSpPr>
          <p:sp>
            <p:nvSpPr>
              <p:cNvPr id="730" name="Google Shape;730;p1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31" name="Google Shape;731;p1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32" name="Google Shape;732;p1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3" name="Google Shape;733;p11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1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 name="Google Shape;735;p1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 name="Google Shape;736;p1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737"/>
        <p:cNvGrpSpPr/>
        <p:nvPr/>
      </p:nvGrpSpPr>
      <p:grpSpPr>
        <a:xfrm>
          <a:off x="0" y="0"/>
          <a:ext cx="0" cy="0"/>
          <a:chOff x="0" y="0"/>
          <a:chExt cx="0" cy="0"/>
        </a:xfrm>
      </p:grpSpPr>
      <p:sp>
        <p:nvSpPr>
          <p:cNvPr id="738" name="Google Shape;738;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9" name="Google Shape;739;p11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40" name="Google Shape;740;p111"/>
          <p:cNvGrpSpPr/>
          <p:nvPr/>
        </p:nvGrpSpPr>
        <p:grpSpPr>
          <a:xfrm>
            <a:off x="7191542" y="1"/>
            <a:ext cx="5000459" cy="1425992"/>
            <a:chOff x="7191542" y="1"/>
            <a:chExt cx="5000459" cy="1425992"/>
          </a:xfrm>
        </p:grpSpPr>
        <p:pic>
          <p:nvPicPr>
            <p:cNvPr id="741" name="Google Shape;741;p1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2" name="Google Shape;742;p111"/>
            <p:cNvGrpSpPr/>
            <p:nvPr/>
          </p:nvGrpSpPr>
          <p:grpSpPr>
            <a:xfrm>
              <a:off x="7191542" y="1"/>
              <a:ext cx="5000459" cy="1425992"/>
              <a:chOff x="7186272" y="0"/>
              <a:chExt cx="5005729" cy="1427495"/>
            </a:xfrm>
          </p:grpSpPr>
          <p:sp>
            <p:nvSpPr>
              <p:cNvPr id="743" name="Google Shape;743;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44" name="Google Shape;744;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45" name="Google Shape;745;p11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6" name="Google Shape;746;p11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7" name="Google Shape;747;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8" name="Google Shape;748;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749"/>
        <p:cNvGrpSpPr/>
        <p:nvPr/>
      </p:nvGrpSpPr>
      <p:grpSpPr>
        <a:xfrm>
          <a:off x="0" y="0"/>
          <a:ext cx="0" cy="0"/>
          <a:chOff x="0" y="0"/>
          <a:chExt cx="0" cy="0"/>
        </a:xfrm>
      </p:grpSpPr>
      <p:grpSp>
        <p:nvGrpSpPr>
          <p:cNvPr id="750" name="Google Shape;750;p112"/>
          <p:cNvGrpSpPr/>
          <p:nvPr/>
        </p:nvGrpSpPr>
        <p:grpSpPr>
          <a:xfrm>
            <a:off x="7191542" y="1"/>
            <a:ext cx="5000459" cy="1425992"/>
            <a:chOff x="7191542" y="1"/>
            <a:chExt cx="5000459" cy="1425992"/>
          </a:xfrm>
        </p:grpSpPr>
        <p:pic>
          <p:nvPicPr>
            <p:cNvPr id="751" name="Google Shape;751;p1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2" name="Google Shape;752;p112"/>
            <p:cNvGrpSpPr/>
            <p:nvPr/>
          </p:nvGrpSpPr>
          <p:grpSpPr>
            <a:xfrm>
              <a:off x="7191542" y="1"/>
              <a:ext cx="5000459" cy="1425992"/>
              <a:chOff x="7186272" y="0"/>
              <a:chExt cx="5005729" cy="1427495"/>
            </a:xfrm>
          </p:grpSpPr>
          <p:sp>
            <p:nvSpPr>
              <p:cNvPr id="753" name="Google Shape;753;p1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54" name="Google Shape;754;p1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55" name="Google Shape;755;p1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6" name="Google Shape;756;p11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57" name="Google Shape;757;p11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8" name="Google Shape;758;p11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59" name="Google Shape;759;p11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0" name="Google Shape;760;p1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61" name="Google Shape;761;p1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2" name="Google Shape;762;p1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763"/>
        <p:cNvGrpSpPr/>
        <p:nvPr/>
      </p:nvGrpSpPr>
      <p:grpSpPr>
        <a:xfrm>
          <a:off x="0" y="0"/>
          <a:ext cx="0" cy="0"/>
          <a:chOff x="0" y="0"/>
          <a:chExt cx="0" cy="0"/>
        </a:xfrm>
      </p:grpSpPr>
      <p:grpSp>
        <p:nvGrpSpPr>
          <p:cNvPr id="764" name="Google Shape;764;p113"/>
          <p:cNvGrpSpPr/>
          <p:nvPr/>
        </p:nvGrpSpPr>
        <p:grpSpPr>
          <a:xfrm>
            <a:off x="7191542" y="1"/>
            <a:ext cx="5000459" cy="1425992"/>
            <a:chOff x="7191542" y="1"/>
            <a:chExt cx="5000459" cy="1425992"/>
          </a:xfrm>
        </p:grpSpPr>
        <p:pic>
          <p:nvPicPr>
            <p:cNvPr id="765" name="Google Shape;765;p1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6" name="Google Shape;766;p113"/>
            <p:cNvGrpSpPr/>
            <p:nvPr/>
          </p:nvGrpSpPr>
          <p:grpSpPr>
            <a:xfrm>
              <a:off x="7191542" y="1"/>
              <a:ext cx="5000459" cy="1425992"/>
              <a:chOff x="7186272" y="0"/>
              <a:chExt cx="5005729" cy="1427495"/>
            </a:xfrm>
          </p:grpSpPr>
          <p:sp>
            <p:nvSpPr>
              <p:cNvPr id="767" name="Google Shape;767;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68" name="Google Shape;768;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69" name="Google Shape;769;p1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0" name="Google Shape;770;p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1" name="Google Shape;771;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2" name="Google Shape;772;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773"/>
        <p:cNvGrpSpPr/>
        <p:nvPr/>
      </p:nvGrpSpPr>
      <p:grpSpPr>
        <a:xfrm>
          <a:off x="0" y="0"/>
          <a:ext cx="0" cy="0"/>
          <a:chOff x="0" y="0"/>
          <a:chExt cx="0" cy="0"/>
        </a:xfrm>
      </p:grpSpPr>
      <p:sp>
        <p:nvSpPr>
          <p:cNvPr id="774" name="Google Shape;774;p1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75" name="Google Shape;775;p1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6" name="Google Shape;776;p1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 name="Google Shape;777;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8" name="Google Shape;778;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 name="Google Shape;779;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80" name="Google Shape;780;p114"/>
          <p:cNvGrpSpPr/>
          <p:nvPr/>
        </p:nvGrpSpPr>
        <p:grpSpPr>
          <a:xfrm>
            <a:off x="7191542" y="1"/>
            <a:ext cx="5000459" cy="1425992"/>
            <a:chOff x="7191542" y="1"/>
            <a:chExt cx="5000459" cy="1425992"/>
          </a:xfrm>
        </p:grpSpPr>
        <p:pic>
          <p:nvPicPr>
            <p:cNvPr id="781" name="Google Shape;781;p1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2" name="Google Shape;782;p114"/>
            <p:cNvGrpSpPr/>
            <p:nvPr/>
          </p:nvGrpSpPr>
          <p:grpSpPr>
            <a:xfrm>
              <a:off x="7191542" y="1"/>
              <a:ext cx="5000459" cy="1425992"/>
              <a:chOff x="7186272" y="0"/>
              <a:chExt cx="5005729" cy="1427495"/>
            </a:xfrm>
          </p:grpSpPr>
          <p:sp>
            <p:nvSpPr>
              <p:cNvPr id="783" name="Google Shape;783;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84" name="Google Shape;784;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785" name="Google Shape;785;p1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786"/>
        <p:cNvGrpSpPr/>
        <p:nvPr/>
      </p:nvGrpSpPr>
      <p:grpSpPr>
        <a:xfrm>
          <a:off x="0" y="0"/>
          <a:ext cx="0" cy="0"/>
          <a:chOff x="0" y="0"/>
          <a:chExt cx="0" cy="0"/>
        </a:xfrm>
      </p:grpSpPr>
      <p:grpSp>
        <p:nvGrpSpPr>
          <p:cNvPr id="787" name="Google Shape;787;p115"/>
          <p:cNvGrpSpPr/>
          <p:nvPr/>
        </p:nvGrpSpPr>
        <p:grpSpPr>
          <a:xfrm>
            <a:off x="0" y="0"/>
            <a:ext cx="12192000" cy="2148830"/>
            <a:chOff x="0" y="0"/>
            <a:chExt cx="12192000" cy="2148830"/>
          </a:xfrm>
        </p:grpSpPr>
        <p:sp>
          <p:nvSpPr>
            <p:cNvPr id="788" name="Google Shape;788;p11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89" name="Google Shape;789;p11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790" name="Google Shape;790;p11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91" name="Google Shape;791;p11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2" name="Google Shape;792;p11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93" name="Google Shape;793;p11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94" name="Google Shape;794;p11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matchingName="Cover">
  <p:cSld name="Cover 9">
    <p:spTree>
      <p:nvGrpSpPr>
        <p:cNvPr id="1" name="Shape 795"/>
        <p:cNvGrpSpPr/>
        <p:nvPr/>
      </p:nvGrpSpPr>
      <p:grpSpPr>
        <a:xfrm>
          <a:off x="0" y="0"/>
          <a:ext cx="0" cy="0"/>
          <a:chOff x="0" y="0"/>
          <a:chExt cx="0" cy="0"/>
        </a:xfrm>
      </p:grpSpPr>
      <p:sp>
        <p:nvSpPr>
          <p:cNvPr id="796" name="Google Shape;796;p11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97" name="Google Shape;797;p11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8" name="Google Shape;798;p11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99" name="Google Shape;799;p116"/>
          <p:cNvSpPr>
            <a:spLocks noGrp="1"/>
          </p:cNvSpPr>
          <p:nvPr>
            <p:ph type="pic" idx="2"/>
          </p:nvPr>
        </p:nvSpPr>
        <p:spPr>
          <a:xfrm>
            <a:off x="7118684" y="233915"/>
            <a:ext cx="5073316" cy="5943600"/>
          </a:xfrm>
          <a:prstGeom prst="rect">
            <a:avLst/>
          </a:prstGeom>
          <a:noFill/>
          <a:ln>
            <a:noFill/>
          </a:ln>
        </p:spPr>
      </p:sp>
      <p:grpSp>
        <p:nvGrpSpPr>
          <p:cNvPr id="800" name="Google Shape;800;p116"/>
          <p:cNvGrpSpPr/>
          <p:nvPr/>
        </p:nvGrpSpPr>
        <p:grpSpPr>
          <a:xfrm>
            <a:off x="0" y="5020348"/>
            <a:ext cx="12192000" cy="1837653"/>
            <a:chOff x="0" y="5020348"/>
            <a:chExt cx="12192000" cy="1837653"/>
          </a:xfrm>
        </p:grpSpPr>
        <p:sp>
          <p:nvSpPr>
            <p:cNvPr id="801" name="Google Shape;801;p1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02" name="Google Shape;802;p11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03" name="Google Shape;803;p1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804"/>
        <p:cNvGrpSpPr/>
        <p:nvPr/>
      </p:nvGrpSpPr>
      <p:grpSpPr>
        <a:xfrm>
          <a:off x="0" y="0"/>
          <a:ext cx="0" cy="0"/>
          <a:chOff x="0" y="0"/>
          <a:chExt cx="0" cy="0"/>
        </a:xfrm>
      </p:grpSpPr>
      <p:sp>
        <p:nvSpPr>
          <p:cNvPr id="805" name="Google Shape;805;p11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06" name="Google Shape;806;p11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7" name="Google Shape;807;p1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8" name="Google Shape;808;p1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9" name="Google Shape;809;p1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0" name="Google Shape;810;p1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11" name="Google Shape;811;p117"/>
          <p:cNvGrpSpPr/>
          <p:nvPr/>
        </p:nvGrpSpPr>
        <p:grpSpPr>
          <a:xfrm>
            <a:off x="7191542" y="1"/>
            <a:ext cx="5000459" cy="1425992"/>
            <a:chOff x="7191542" y="1"/>
            <a:chExt cx="5000459" cy="1425992"/>
          </a:xfrm>
        </p:grpSpPr>
        <p:pic>
          <p:nvPicPr>
            <p:cNvPr id="812" name="Google Shape;812;p1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3" name="Google Shape;813;p117"/>
            <p:cNvGrpSpPr/>
            <p:nvPr/>
          </p:nvGrpSpPr>
          <p:grpSpPr>
            <a:xfrm>
              <a:off x="7191542" y="1"/>
              <a:ext cx="5000459" cy="1425992"/>
              <a:chOff x="7186272" y="0"/>
              <a:chExt cx="5005729" cy="1427495"/>
            </a:xfrm>
          </p:grpSpPr>
          <p:sp>
            <p:nvSpPr>
              <p:cNvPr id="814" name="Google Shape;814;p1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15" name="Google Shape;815;p1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16" name="Google Shape;816;p11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05592603"/>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matchingName="Divider">
  <p:cSld name="Divider 8">
    <p:bg>
      <p:bgPr>
        <a:solidFill>
          <a:schemeClr val="lt2"/>
        </a:solidFill>
        <a:effectLst/>
      </p:bgPr>
    </p:bg>
    <p:spTree>
      <p:nvGrpSpPr>
        <p:cNvPr id="1" name="Shape 817"/>
        <p:cNvGrpSpPr/>
        <p:nvPr/>
      </p:nvGrpSpPr>
      <p:grpSpPr>
        <a:xfrm>
          <a:off x="0" y="0"/>
          <a:ext cx="0" cy="0"/>
          <a:chOff x="0" y="0"/>
          <a:chExt cx="0" cy="0"/>
        </a:xfrm>
      </p:grpSpPr>
      <p:grpSp>
        <p:nvGrpSpPr>
          <p:cNvPr id="818" name="Google Shape;818;p118"/>
          <p:cNvGrpSpPr/>
          <p:nvPr/>
        </p:nvGrpSpPr>
        <p:grpSpPr>
          <a:xfrm>
            <a:off x="0" y="5020347"/>
            <a:ext cx="12192000" cy="1837653"/>
            <a:chOff x="0" y="5020347"/>
            <a:chExt cx="12192000" cy="1837653"/>
          </a:xfrm>
        </p:grpSpPr>
        <p:sp>
          <p:nvSpPr>
            <p:cNvPr id="819" name="Google Shape;819;p1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0" name="Google Shape;820;p1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1" name="Google Shape;821;p1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22" name="Google Shape;822;p11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23" name="Google Shape;823;p1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4" name="Google Shape;824;p1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matchingName="Photo Slide">
  <p:cSld name="Photo Slide 8">
    <p:spTree>
      <p:nvGrpSpPr>
        <p:cNvPr id="1" name="Shape 825"/>
        <p:cNvGrpSpPr/>
        <p:nvPr/>
      </p:nvGrpSpPr>
      <p:grpSpPr>
        <a:xfrm>
          <a:off x="0" y="0"/>
          <a:ext cx="0" cy="0"/>
          <a:chOff x="0" y="0"/>
          <a:chExt cx="0" cy="0"/>
        </a:xfrm>
      </p:grpSpPr>
      <p:sp>
        <p:nvSpPr>
          <p:cNvPr id="826" name="Google Shape;826;p1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27" name="Google Shape;827;p1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28" name="Google Shape;828;p119"/>
          <p:cNvGrpSpPr/>
          <p:nvPr/>
        </p:nvGrpSpPr>
        <p:grpSpPr>
          <a:xfrm>
            <a:off x="0" y="5379426"/>
            <a:ext cx="2807368" cy="753891"/>
            <a:chOff x="0" y="5379426"/>
            <a:chExt cx="2807368" cy="753891"/>
          </a:xfrm>
        </p:grpSpPr>
        <p:sp>
          <p:nvSpPr>
            <p:cNvPr id="829" name="Google Shape;829;p1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0" name="Google Shape;830;p1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31" name="Google Shape;831;p119"/>
          <p:cNvSpPr>
            <a:spLocks noGrp="1"/>
          </p:cNvSpPr>
          <p:nvPr>
            <p:ph type="pic" idx="2"/>
          </p:nvPr>
        </p:nvSpPr>
        <p:spPr>
          <a:xfrm>
            <a:off x="2807368" y="457202"/>
            <a:ext cx="8915400" cy="5943598"/>
          </a:xfrm>
          <a:prstGeom prst="rect">
            <a:avLst/>
          </a:prstGeom>
          <a:noFill/>
          <a:ln>
            <a:noFill/>
          </a:ln>
        </p:spPr>
      </p:sp>
      <p:pic>
        <p:nvPicPr>
          <p:cNvPr id="832" name="Google Shape;832;p11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833"/>
        <p:cNvGrpSpPr/>
        <p:nvPr/>
      </p:nvGrpSpPr>
      <p:grpSpPr>
        <a:xfrm>
          <a:off x="0" y="0"/>
          <a:ext cx="0" cy="0"/>
          <a:chOff x="0" y="0"/>
          <a:chExt cx="0" cy="0"/>
        </a:xfrm>
      </p:grpSpPr>
      <p:sp>
        <p:nvSpPr>
          <p:cNvPr id="834" name="Google Shape;834;p1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5" name="Google Shape;835;p1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6" name="Google Shape;836;p1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7" name="Google Shape;837;p1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8" name="Google Shape;838;p1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9" name="Google Shape;839;p1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40" name="Google Shape;840;p120"/>
          <p:cNvGrpSpPr/>
          <p:nvPr/>
        </p:nvGrpSpPr>
        <p:grpSpPr>
          <a:xfrm>
            <a:off x="7191542" y="1"/>
            <a:ext cx="5000459" cy="1425992"/>
            <a:chOff x="7191542" y="1"/>
            <a:chExt cx="5000459" cy="1425992"/>
          </a:xfrm>
        </p:grpSpPr>
        <p:pic>
          <p:nvPicPr>
            <p:cNvPr id="841" name="Google Shape;841;p1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2" name="Google Shape;842;p120"/>
            <p:cNvGrpSpPr/>
            <p:nvPr/>
          </p:nvGrpSpPr>
          <p:grpSpPr>
            <a:xfrm>
              <a:off x="7191542" y="1"/>
              <a:ext cx="5000459" cy="1425992"/>
              <a:chOff x="7186272" y="0"/>
              <a:chExt cx="5005729" cy="1427495"/>
            </a:xfrm>
          </p:grpSpPr>
          <p:sp>
            <p:nvSpPr>
              <p:cNvPr id="843" name="Google Shape;843;p1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44" name="Google Shape;844;p1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45" name="Google Shape;845;p12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846"/>
        <p:cNvGrpSpPr/>
        <p:nvPr/>
      </p:nvGrpSpPr>
      <p:grpSpPr>
        <a:xfrm>
          <a:off x="0" y="0"/>
          <a:ext cx="0" cy="0"/>
          <a:chOff x="0" y="0"/>
          <a:chExt cx="0" cy="0"/>
        </a:xfrm>
      </p:grpSpPr>
      <p:grpSp>
        <p:nvGrpSpPr>
          <p:cNvPr id="847" name="Google Shape;847;p121"/>
          <p:cNvGrpSpPr/>
          <p:nvPr/>
        </p:nvGrpSpPr>
        <p:grpSpPr>
          <a:xfrm>
            <a:off x="7191542" y="1"/>
            <a:ext cx="5000459" cy="1425992"/>
            <a:chOff x="7191542" y="1"/>
            <a:chExt cx="5000459" cy="1425992"/>
          </a:xfrm>
        </p:grpSpPr>
        <p:pic>
          <p:nvPicPr>
            <p:cNvPr id="848" name="Google Shape;848;p1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9" name="Google Shape;849;p121"/>
            <p:cNvGrpSpPr/>
            <p:nvPr/>
          </p:nvGrpSpPr>
          <p:grpSpPr>
            <a:xfrm>
              <a:off x="7191542" y="1"/>
              <a:ext cx="5000459" cy="1425992"/>
              <a:chOff x="7186272" y="0"/>
              <a:chExt cx="5005729" cy="1427495"/>
            </a:xfrm>
          </p:grpSpPr>
          <p:sp>
            <p:nvSpPr>
              <p:cNvPr id="850" name="Google Shape;850;p1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51" name="Google Shape;851;p1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52" name="Google Shape;852;p1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3" name="Google Shape;853;p1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4" name="Google Shape;854;p1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55" name="Google Shape;855;p1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6" name="Google Shape;856;p1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857"/>
        <p:cNvGrpSpPr/>
        <p:nvPr/>
      </p:nvGrpSpPr>
      <p:grpSpPr>
        <a:xfrm>
          <a:off x="0" y="0"/>
          <a:ext cx="0" cy="0"/>
          <a:chOff x="0" y="0"/>
          <a:chExt cx="0" cy="0"/>
        </a:xfrm>
      </p:grpSpPr>
      <p:sp>
        <p:nvSpPr>
          <p:cNvPr id="858" name="Google Shape;858;p12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9" name="Google Shape;859;p12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0" name="Google Shape;860;p12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1" name="Google Shape;861;p1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2" name="Google Shape;862;p1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3" name="Google Shape;863;p1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64" name="Google Shape;864;p122"/>
          <p:cNvGrpSpPr/>
          <p:nvPr/>
        </p:nvGrpSpPr>
        <p:grpSpPr>
          <a:xfrm>
            <a:off x="7191542" y="1"/>
            <a:ext cx="5000459" cy="1425992"/>
            <a:chOff x="7191542" y="1"/>
            <a:chExt cx="5000459" cy="1425992"/>
          </a:xfrm>
        </p:grpSpPr>
        <p:pic>
          <p:nvPicPr>
            <p:cNvPr id="865" name="Google Shape;865;p1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6" name="Google Shape;866;p122"/>
            <p:cNvGrpSpPr/>
            <p:nvPr/>
          </p:nvGrpSpPr>
          <p:grpSpPr>
            <a:xfrm>
              <a:off x="7191542" y="1"/>
              <a:ext cx="5000459" cy="1425992"/>
              <a:chOff x="7186272" y="0"/>
              <a:chExt cx="5005729" cy="1427495"/>
            </a:xfrm>
          </p:grpSpPr>
          <p:sp>
            <p:nvSpPr>
              <p:cNvPr id="867" name="Google Shape;867;p1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68" name="Google Shape;868;p1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69" name="Google Shape;869;p12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870"/>
        <p:cNvGrpSpPr/>
        <p:nvPr/>
      </p:nvGrpSpPr>
      <p:grpSpPr>
        <a:xfrm>
          <a:off x="0" y="0"/>
          <a:ext cx="0" cy="0"/>
          <a:chOff x="0" y="0"/>
          <a:chExt cx="0" cy="0"/>
        </a:xfrm>
      </p:grpSpPr>
      <p:sp>
        <p:nvSpPr>
          <p:cNvPr id="871" name="Google Shape;871;p123"/>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72" name="Google Shape;872;p123"/>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873" name="Google Shape;873;p123"/>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874" name="Google Shape;874;p123"/>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875" name="Google Shape;875;p123"/>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876" name="Google Shape;876;p123"/>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77" name="Google Shape;877;p123"/>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8" name="Google Shape;878;p123"/>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879" name="Google Shape;879;p123"/>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0" name="Google Shape;880;p123"/>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81" name="Google Shape;881;p123"/>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882"/>
        <p:cNvGrpSpPr/>
        <p:nvPr/>
      </p:nvGrpSpPr>
      <p:grpSpPr>
        <a:xfrm>
          <a:off x="0" y="0"/>
          <a:ext cx="0" cy="0"/>
          <a:chOff x="0" y="0"/>
          <a:chExt cx="0" cy="0"/>
        </a:xfrm>
      </p:grpSpPr>
      <p:sp>
        <p:nvSpPr>
          <p:cNvPr id="883" name="Google Shape;883;p1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84" name="Google Shape;884;p1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5" name="Google Shape;885;p1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6" name="Google Shape;886;p1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7" name="Google Shape;887;p1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8" name="Google Shape;888;p1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89" name="Google Shape;889;p124"/>
          <p:cNvGrpSpPr/>
          <p:nvPr/>
        </p:nvGrpSpPr>
        <p:grpSpPr>
          <a:xfrm>
            <a:off x="7191542" y="1"/>
            <a:ext cx="5000459" cy="1425992"/>
            <a:chOff x="7191542" y="1"/>
            <a:chExt cx="5000459" cy="1425992"/>
          </a:xfrm>
        </p:grpSpPr>
        <p:pic>
          <p:nvPicPr>
            <p:cNvPr id="890" name="Google Shape;890;p1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1" name="Google Shape;891;p124"/>
            <p:cNvGrpSpPr/>
            <p:nvPr/>
          </p:nvGrpSpPr>
          <p:grpSpPr>
            <a:xfrm>
              <a:off x="7191542" y="1"/>
              <a:ext cx="5000459" cy="1425992"/>
              <a:chOff x="7186272" y="0"/>
              <a:chExt cx="5005729" cy="1427495"/>
            </a:xfrm>
          </p:grpSpPr>
          <p:sp>
            <p:nvSpPr>
              <p:cNvPr id="892" name="Google Shape;892;p1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93" name="Google Shape;893;p1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94" name="Google Shape;894;p12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895"/>
        <p:cNvGrpSpPr/>
        <p:nvPr/>
      </p:nvGrpSpPr>
      <p:grpSpPr>
        <a:xfrm>
          <a:off x="0" y="0"/>
          <a:ext cx="0" cy="0"/>
          <a:chOff x="0" y="0"/>
          <a:chExt cx="0" cy="0"/>
        </a:xfrm>
      </p:grpSpPr>
      <p:sp>
        <p:nvSpPr>
          <p:cNvPr id="896" name="Google Shape;896;p1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7" name="Google Shape;897;p12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98" name="Google Shape;898;p125"/>
          <p:cNvGrpSpPr/>
          <p:nvPr/>
        </p:nvGrpSpPr>
        <p:grpSpPr>
          <a:xfrm>
            <a:off x="7191542" y="1"/>
            <a:ext cx="5000459" cy="1425992"/>
            <a:chOff x="7191542" y="1"/>
            <a:chExt cx="5000459" cy="1425992"/>
          </a:xfrm>
        </p:grpSpPr>
        <p:pic>
          <p:nvPicPr>
            <p:cNvPr id="899" name="Google Shape;899;p1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0" name="Google Shape;900;p125"/>
            <p:cNvGrpSpPr/>
            <p:nvPr/>
          </p:nvGrpSpPr>
          <p:grpSpPr>
            <a:xfrm>
              <a:off x="7191542" y="1"/>
              <a:ext cx="5000459" cy="1425992"/>
              <a:chOff x="7186272" y="0"/>
              <a:chExt cx="5005729" cy="1427495"/>
            </a:xfrm>
          </p:grpSpPr>
          <p:sp>
            <p:nvSpPr>
              <p:cNvPr id="901" name="Google Shape;901;p1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2" name="Google Shape;902;p1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03" name="Google Shape;903;p12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4" name="Google Shape;904;p12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5" name="Google Shape;905;p1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6" name="Google Shape;906;p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907"/>
        <p:cNvGrpSpPr/>
        <p:nvPr/>
      </p:nvGrpSpPr>
      <p:grpSpPr>
        <a:xfrm>
          <a:off x="0" y="0"/>
          <a:ext cx="0" cy="0"/>
          <a:chOff x="0" y="0"/>
          <a:chExt cx="0" cy="0"/>
        </a:xfrm>
      </p:grpSpPr>
      <p:grpSp>
        <p:nvGrpSpPr>
          <p:cNvPr id="908" name="Google Shape;908;p126"/>
          <p:cNvGrpSpPr/>
          <p:nvPr/>
        </p:nvGrpSpPr>
        <p:grpSpPr>
          <a:xfrm>
            <a:off x="7191542" y="1"/>
            <a:ext cx="5000459" cy="1425992"/>
            <a:chOff x="7191542" y="1"/>
            <a:chExt cx="5000459" cy="1425992"/>
          </a:xfrm>
        </p:grpSpPr>
        <p:pic>
          <p:nvPicPr>
            <p:cNvPr id="909" name="Google Shape;909;p1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0" name="Google Shape;910;p126"/>
            <p:cNvGrpSpPr/>
            <p:nvPr/>
          </p:nvGrpSpPr>
          <p:grpSpPr>
            <a:xfrm>
              <a:off x="7191542" y="1"/>
              <a:ext cx="5000459" cy="1425992"/>
              <a:chOff x="7186272" y="0"/>
              <a:chExt cx="5005729" cy="1427495"/>
            </a:xfrm>
          </p:grpSpPr>
          <p:sp>
            <p:nvSpPr>
              <p:cNvPr id="911" name="Google Shape;911;p1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2" name="Google Shape;912;p1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13" name="Google Shape;913;p1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4" name="Google Shape;914;p12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15" name="Google Shape;915;p12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6" name="Google Shape;916;p12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17" name="Google Shape;917;p12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8" name="Google Shape;918;p1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9" name="Google Shape;919;p1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0" name="Google Shape;920;p1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matchingName="Title Only">
  <p:cSld name="Title Only 7">
    <p:spTree>
      <p:nvGrpSpPr>
        <p:cNvPr id="1" name="Shape 921"/>
        <p:cNvGrpSpPr/>
        <p:nvPr/>
      </p:nvGrpSpPr>
      <p:grpSpPr>
        <a:xfrm>
          <a:off x="0" y="0"/>
          <a:ext cx="0" cy="0"/>
          <a:chOff x="0" y="0"/>
          <a:chExt cx="0" cy="0"/>
        </a:xfrm>
      </p:grpSpPr>
      <p:grpSp>
        <p:nvGrpSpPr>
          <p:cNvPr id="922" name="Google Shape;922;p127"/>
          <p:cNvGrpSpPr/>
          <p:nvPr/>
        </p:nvGrpSpPr>
        <p:grpSpPr>
          <a:xfrm>
            <a:off x="7191542" y="1"/>
            <a:ext cx="5000459" cy="1425992"/>
            <a:chOff x="7191542" y="1"/>
            <a:chExt cx="5000459" cy="1425992"/>
          </a:xfrm>
        </p:grpSpPr>
        <p:pic>
          <p:nvPicPr>
            <p:cNvPr id="923" name="Google Shape;923;p1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4" name="Google Shape;924;p127"/>
            <p:cNvGrpSpPr/>
            <p:nvPr/>
          </p:nvGrpSpPr>
          <p:grpSpPr>
            <a:xfrm>
              <a:off x="7191542" y="1"/>
              <a:ext cx="5000459" cy="1425992"/>
              <a:chOff x="7186272" y="0"/>
              <a:chExt cx="5005729" cy="1427495"/>
            </a:xfrm>
          </p:grpSpPr>
          <p:sp>
            <p:nvSpPr>
              <p:cNvPr id="925" name="Google Shape;925;p1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6" name="Google Shape;926;p1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27" name="Google Shape;927;p1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8" name="Google Shape;928;p1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9" name="Google Shape;929;p1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0" name="Google Shape;930;p1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85636675"/>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matchingName="End">
  <p:cSld name="End 8">
    <p:spTree>
      <p:nvGrpSpPr>
        <p:cNvPr id="1" name="Shape 931"/>
        <p:cNvGrpSpPr/>
        <p:nvPr/>
      </p:nvGrpSpPr>
      <p:grpSpPr>
        <a:xfrm>
          <a:off x="0" y="0"/>
          <a:ext cx="0" cy="0"/>
          <a:chOff x="0" y="0"/>
          <a:chExt cx="0" cy="0"/>
        </a:xfrm>
      </p:grpSpPr>
      <p:grpSp>
        <p:nvGrpSpPr>
          <p:cNvPr id="932" name="Google Shape;932;p128"/>
          <p:cNvGrpSpPr/>
          <p:nvPr/>
        </p:nvGrpSpPr>
        <p:grpSpPr>
          <a:xfrm>
            <a:off x="0" y="0"/>
            <a:ext cx="12192000" cy="2148830"/>
            <a:chOff x="0" y="0"/>
            <a:chExt cx="12192000" cy="2148830"/>
          </a:xfrm>
        </p:grpSpPr>
        <p:sp>
          <p:nvSpPr>
            <p:cNvPr id="933" name="Google Shape;933;p12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4" name="Google Shape;934;p12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35" name="Google Shape;935;p12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6" name="Google Shape;936;p12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7" name="Google Shape;937;p12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38" name="Google Shape;938;p12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39" name="Google Shape;939;p12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940"/>
        <p:cNvGrpSpPr/>
        <p:nvPr/>
      </p:nvGrpSpPr>
      <p:grpSpPr>
        <a:xfrm>
          <a:off x="0" y="0"/>
          <a:ext cx="0" cy="0"/>
          <a:chOff x="0" y="0"/>
          <a:chExt cx="0" cy="0"/>
        </a:xfrm>
      </p:grpSpPr>
      <p:sp>
        <p:nvSpPr>
          <p:cNvPr id="941" name="Google Shape;941;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2" name="Google Shape;942;p1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3" name="Google Shape;943;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44" name="Google Shape;944;p129"/>
          <p:cNvGrpSpPr/>
          <p:nvPr/>
        </p:nvGrpSpPr>
        <p:grpSpPr>
          <a:xfrm>
            <a:off x="7191542" y="1"/>
            <a:ext cx="5000459" cy="1425992"/>
            <a:chOff x="7191542" y="1"/>
            <a:chExt cx="5000459" cy="1425992"/>
          </a:xfrm>
        </p:grpSpPr>
        <p:pic>
          <p:nvPicPr>
            <p:cNvPr id="945" name="Google Shape;945;p1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6" name="Google Shape;946;p129"/>
            <p:cNvGrpSpPr/>
            <p:nvPr/>
          </p:nvGrpSpPr>
          <p:grpSpPr>
            <a:xfrm>
              <a:off x="7191542" y="1"/>
              <a:ext cx="5000459" cy="1425992"/>
              <a:chOff x="7186272" y="0"/>
              <a:chExt cx="5005729" cy="1427495"/>
            </a:xfrm>
          </p:grpSpPr>
          <p:sp>
            <p:nvSpPr>
              <p:cNvPr id="947" name="Google Shape;947;p1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8" name="Google Shape;948;p1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949"/>
        <p:cNvGrpSpPr/>
        <p:nvPr/>
      </p:nvGrpSpPr>
      <p:grpSpPr>
        <a:xfrm>
          <a:off x="0" y="0"/>
          <a:ext cx="0" cy="0"/>
          <a:chOff x="0" y="0"/>
          <a:chExt cx="0" cy="0"/>
        </a:xfrm>
      </p:grpSpPr>
      <p:sp>
        <p:nvSpPr>
          <p:cNvPr id="950" name="Google Shape;950;p13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1" name="Google Shape;951;p13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2" name="Google Shape;952;p1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3" name="Google Shape;953;p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54" name="Google Shape;954;p1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5" name="Google Shape;955;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56" name="Google Shape;956;p130"/>
          <p:cNvGrpSpPr/>
          <p:nvPr/>
        </p:nvGrpSpPr>
        <p:grpSpPr>
          <a:xfrm>
            <a:off x="7191542" y="1"/>
            <a:ext cx="5000459" cy="1425992"/>
            <a:chOff x="7191542" y="1"/>
            <a:chExt cx="5000459" cy="1425992"/>
          </a:xfrm>
        </p:grpSpPr>
        <p:pic>
          <p:nvPicPr>
            <p:cNvPr id="957" name="Google Shape;957;p1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58" name="Google Shape;958;p130"/>
            <p:cNvGrpSpPr/>
            <p:nvPr/>
          </p:nvGrpSpPr>
          <p:grpSpPr>
            <a:xfrm>
              <a:off x="7191542" y="1"/>
              <a:ext cx="5000459" cy="1425992"/>
              <a:chOff x="7186272" y="0"/>
              <a:chExt cx="5005729" cy="1427495"/>
            </a:xfrm>
          </p:grpSpPr>
          <p:sp>
            <p:nvSpPr>
              <p:cNvPr id="959" name="Google Shape;959;p1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60" name="Google Shape;960;p1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61" name="Google Shape;961;p13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962"/>
        <p:cNvGrpSpPr/>
        <p:nvPr/>
      </p:nvGrpSpPr>
      <p:grpSpPr>
        <a:xfrm>
          <a:off x="0" y="0"/>
          <a:ext cx="0" cy="0"/>
          <a:chOff x="0" y="0"/>
          <a:chExt cx="0" cy="0"/>
        </a:xfrm>
      </p:grpSpPr>
      <p:sp>
        <p:nvSpPr>
          <p:cNvPr id="963" name="Google Shape;963;p1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4" name="Google Shape;964;p1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5" name="Google Shape;965;p1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6" name="Google Shape;966;p1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67" name="Google Shape;967;p1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8" name="Google Shape;968;p1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69" name="Google Shape;969;p131"/>
          <p:cNvGrpSpPr/>
          <p:nvPr/>
        </p:nvGrpSpPr>
        <p:grpSpPr>
          <a:xfrm>
            <a:off x="7191542" y="1"/>
            <a:ext cx="5000459" cy="1425992"/>
            <a:chOff x="7191542" y="1"/>
            <a:chExt cx="5000459" cy="1425992"/>
          </a:xfrm>
        </p:grpSpPr>
        <p:pic>
          <p:nvPicPr>
            <p:cNvPr id="970" name="Google Shape;970;p1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71" name="Google Shape;971;p131"/>
            <p:cNvGrpSpPr/>
            <p:nvPr/>
          </p:nvGrpSpPr>
          <p:grpSpPr>
            <a:xfrm>
              <a:off x="7191542" y="1"/>
              <a:ext cx="5000459" cy="1425992"/>
              <a:chOff x="7186272" y="0"/>
              <a:chExt cx="5005729" cy="1427495"/>
            </a:xfrm>
          </p:grpSpPr>
          <p:sp>
            <p:nvSpPr>
              <p:cNvPr id="972" name="Google Shape;972;p1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3" name="Google Shape;973;p1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74" name="Google Shape;974;p13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975"/>
        <p:cNvGrpSpPr/>
        <p:nvPr/>
      </p:nvGrpSpPr>
      <p:grpSpPr>
        <a:xfrm>
          <a:off x="0" y="0"/>
          <a:ext cx="0" cy="0"/>
          <a:chOff x="0" y="0"/>
          <a:chExt cx="0" cy="0"/>
        </a:xfrm>
      </p:grpSpPr>
      <p:sp>
        <p:nvSpPr>
          <p:cNvPr id="976" name="Google Shape;976;p13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77" name="Google Shape;977;p13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8" name="Google Shape;978;p13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79" name="Google Shape;979;p132"/>
          <p:cNvSpPr>
            <a:spLocks noGrp="1"/>
          </p:cNvSpPr>
          <p:nvPr>
            <p:ph type="pic" idx="2"/>
          </p:nvPr>
        </p:nvSpPr>
        <p:spPr>
          <a:xfrm>
            <a:off x="7118684" y="233915"/>
            <a:ext cx="5073316" cy="5943600"/>
          </a:xfrm>
          <a:prstGeom prst="rect">
            <a:avLst/>
          </a:prstGeom>
          <a:noFill/>
          <a:ln>
            <a:noFill/>
          </a:ln>
        </p:spPr>
      </p:sp>
      <p:grpSp>
        <p:nvGrpSpPr>
          <p:cNvPr id="980" name="Google Shape;980;p132"/>
          <p:cNvGrpSpPr/>
          <p:nvPr/>
        </p:nvGrpSpPr>
        <p:grpSpPr>
          <a:xfrm>
            <a:off x="0" y="5020348"/>
            <a:ext cx="12192000" cy="1837653"/>
            <a:chOff x="0" y="5020348"/>
            <a:chExt cx="12192000" cy="1837653"/>
          </a:xfrm>
        </p:grpSpPr>
        <p:sp>
          <p:nvSpPr>
            <p:cNvPr id="981" name="Google Shape;981;p13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2" name="Google Shape;982;p13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83" name="Google Shape;983;p13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matchingName="Divider">
  <p:cSld name="Divider 9">
    <p:bg>
      <p:bgPr>
        <a:solidFill>
          <a:schemeClr val="lt2"/>
        </a:solidFill>
        <a:effectLst/>
      </p:bgPr>
    </p:bg>
    <p:spTree>
      <p:nvGrpSpPr>
        <p:cNvPr id="1" name="Shape 984"/>
        <p:cNvGrpSpPr/>
        <p:nvPr/>
      </p:nvGrpSpPr>
      <p:grpSpPr>
        <a:xfrm>
          <a:off x="0" y="0"/>
          <a:ext cx="0" cy="0"/>
          <a:chOff x="0" y="0"/>
          <a:chExt cx="0" cy="0"/>
        </a:xfrm>
      </p:grpSpPr>
      <p:grpSp>
        <p:nvGrpSpPr>
          <p:cNvPr id="985" name="Google Shape;985;p133"/>
          <p:cNvGrpSpPr/>
          <p:nvPr/>
        </p:nvGrpSpPr>
        <p:grpSpPr>
          <a:xfrm>
            <a:off x="0" y="5020347"/>
            <a:ext cx="12192000" cy="1837653"/>
            <a:chOff x="0" y="5020347"/>
            <a:chExt cx="12192000" cy="1837653"/>
          </a:xfrm>
        </p:grpSpPr>
        <p:sp>
          <p:nvSpPr>
            <p:cNvPr id="986" name="Google Shape;986;p13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7" name="Google Shape;987;p13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8" name="Google Shape;988;p13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89" name="Google Shape;989;p13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90" name="Google Shape;990;p13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1" name="Google Shape;991;p13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matchingName="Photo Slide">
  <p:cSld name="Photo Slide 9">
    <p:spTree>
      <p:nvGrpSpPr>
        <p:cNvPr id="1" name="Shape 992"/>
        <p:cNvGrpSpPr/>
        <p:nvPr/>
      </p:nvGrpSpPr>
      <p:grpSpPr>
        <a:xfrm>
          <a:off x="0" y="0"/>
          <a:ext cx="0" cy="0"/>
          <a:chOff x="0" y="0"/>
          <a:chExt cx="0" cy="0"/>
        </a:xfrm>
      </p:grpSpPr>
      <p:sp>
        <p:nvSpPr>
          <p:cNvPr id="993" name="Google Shape;993;p13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94" name="Google Shape;994;p13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95" name="Google Shape;995;p134"/>
          <p:cNvGrpSpPr/>
          <p:nvPr/>
        </p:nvGrpSpPr>
        <p:grpSpPr>
          <a:xfrm>
            <a:off x="0" y="5379426"/>
            <a:ext cx="2807368" cy="753891"/>
            <a:chOff x="0" y="5379426"/>
            <a:chExt cx="2807368" cy="753891"/>
          </a:xfrm>
        </p:grpSpPr>
        <p:sp>
          <p:nvSpPr>
            <p:cNvPr id="996" name="Google Shape;996;p13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97" name="Google Shape;997;p13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98" name="Google Shape;998;p134"/>
          <p:cNvSpPr>
            <a:spLocks noGrp="1"/>
          </p:cNvSpPr>
          <p:nvPr>
            <p:ph type="pic" idx="2"/>
          </p:nvPr>
        </p:nvSpPr>
        <p:spPr>
          <a:xfrm>
            <a:off x="2807368" y="457202"/>
            <a:ext cx="8915400" cy="5943598"/>
          </a:xfrm>
          <a:prstGeom prst="rect">
            <a:avLst/>
          </a:prstGeom>
          <a:noFill/>
          <a:ln>
            <a:noFill/>
          </a:ln>
        </p:spPr>
      </p:sp>
      <p:pic>
        <p:nvPicPr>
          <p:cNvPr id="999" name="Google Shape;999;p13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1000"/>
        <p:cNvGrpSpPr/>
        <p:nvPr/>
      </p:nvGrpSpPr>
      <p:grpSpPr>
        <a:xfrm>
          <a:off x="0" y="0"/>
          <a:ext cx="0" cy="0"/>
          <a:chOff x="0" y="0"/>
          <a:chExt cx="0" cy="0"/>
        </a:xfrm>
      </p:grpSpPr>
      <p:sp>
        <p:nvSpPr>
          <p:cNvPr id="1001" name="Google Shape;1001;p13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2" name="Google Shape;1002;p13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3" name="Google Shape;1003;p1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4" name="Google Shape;1004;p1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05" name="Google Shape;1005;p1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6" name="Google Shape;1006;p1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07" name="Google Shape;1007;p135"/>
          <p:cNvGrpSpPr/>
          <p:nvPr/>
        </p:nvGrpSpPr>
        <p:grpSpPr>
          <a:xfrm>
            <a:off x="7191542" y="1"/>
            <a:ext cx="5000459" cy="1425992"/>
            <a:chOff x="7191542" y="1"/>
            <a:chExt cx="5000459" cy="1425992"/>
          </a:xfrm>
        </p:grpSpPr>
        <p:pic>
          <p:nvPicPr>
            <p:cNvPr id="1008" name="Google Shape;1008;p1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9" name="Google Shape;1009;p135"/>
            <p:cNvGrpSpPr/>
            <p:nvPr/>
          </p:nvGrpSpPr>
          <p:grpSpPr>
            <a:xfrm>
              <a:off x="7191542" y="1"/>
              <a:ext cx="5000459" cy="1425992"/>
              <a:chOff x="7186272" y="0"/>
              <a:chExt cx="5005729" cy="1427495"/>
            </a:xfrm>
          </p:grpSpPr>
          <p:sp>
            <p:nvSpPr>
              <p:cNvPr id="1010" name="Google Shape;1010;p1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1" name="Google Shape;1011;p1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12" name="Google Shape;1012;p13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matchingName="Title and Content">
  <p:cSld name="Title and Content 9">
    <p:spTree>
      <p:nvGrpSpPr>
        <p:cNvPr id="1" name="Shape 1013"/>
        <p:cNvGrpSpPr/>
        <p:nvPr/>
      </p:nvGrpSpPr>
      <p:grpSpPr>
        <a:xfrm>
          <a:off x="0" y="0"/>
          <a:ext cx="0" cy="0"/>
          <a:chOff x="0" y="0"/>
          <a:chExt cx="0" cy="0"/>
        </a:xfrm>
      </p:grpSpPr>
      <p:grpSp>
        <p:nvGrpSpPr>
          <p:cNvPr id="1014" name="Google Shape;1014;p136"/>
          <p:cNvGrpSpPr/>
          <p:nvPr/>
        </p:nvGrpSpPr>
        <p:grpSpPr>
          <a:xfrm>
            <a:off x="7191542" y="1"/>
            <a:ext cx="5000459" cy="1425992"/>
            <a:chOff x="7191542" y="1"/>
            <a:chExt cx="5000459" cy="1425992"/>
          </a:xfrm>
        </p:grpSpPr>
        <p:pic>
          <p:nvPicPr>
            <p:cNvPr id="1015" name="Google Shape;1015;p1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6" name="Google Shape;1016;p136"/>
            <p:cNvGrpSpPr/>
            <p:nvPr/>
          </p:nvGrpSpPr>
          <p:grpSpPr>
            <a:xfrm>
              <a:off x="7191542" y="1"/>
              <a:ext cx="5000459" cy="1425992"/>
              <a:chOff x="7186272" y="0"/>
              <a:chExt cx="5005729" cy="1427495"/>
            </a:xfrm>
          </p:grpSpPr>
          <p:sp>
            <p:nvSpPr>
              <p:cNvPr id="1017" name="Google Shape;1017;p1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8" name="Google Shape;1018;p1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19" name="Google Shape;1019;p1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0" name="Google Shape;1020;p13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1" name="Google Shape;1021;p1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2" name="Google Shape;1022;p1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3" name="Google Shape;1023;p1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matchingName="Two Content">
  <p:cSld name="Two Content 8">
    <p:spTree>
      <p:nvGrpSpPr>
        <p:cNvPr id="1" name="Shape 1024"/>
        <p:cNvGrpSpPr/>
        <p:nvPr/>
      </p:nvGrpSpPr>
      <p:grpSpPr>
        <a:xfrm>
          <a:off x="0" y="0"/>
          <a:ext cx="0" cy="0"/>
          <a:chOff x="0" y="0"/>
          <a:chExt cx="0" cy="0"/>
        </a:xfrm>
      </p:grpSpPr>
      <p:sp>
        <p:nvSpPr>
          <p:cNvPr id="1025" name="Google Shape;1025;p1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6" name="Google Shape;1026;p13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27" name="Google Shape;1027;p137"/>
          <p:cNvGrpSpPr/>
          <p:nvPr/>
        </p:nvGrpSpPr>
        <p:grpSpPr>
          <a:xfrm>
            <a:off x="7191542" y="1"/>
            <a:ext cx="5000459" cy="1425992"/>
            <a:chOff x="7191542" y="1"/>
            <a:chExt cx="5000459" cy="1425992"/>
          </a:xfrm>
        </p:grpSpPr>
        <p:pic>
          <p:nvPicPr>
            <p:cNvPr id="1028" name="Google Shape;1028;p1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9" name="Google Shape;1029;p137"/>
            <p:cNvGrpSpPr/>
            <p:nvPr/>
          </p:nvGrpSpPr>
          <p:grpSpPr>
            <a:xfrm>
              <a:off x="7191542" y="1"/>
              <a:ext cx="5000459" cy="1425992"/>
              <a:chOff x="7186272" y="0"/>
              <a:chExt cx="5005729" cy="1427495"/>
            </a:xfrm>
          </p:grpSpPr>
          <p:sp>
            <p:nvSpPr>
              <p:cNvPr id="1030" name="Google Shape;1030;p1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1" name="Google Shape;1031;p1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32" name="Google Shape;1032;p13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3" name="Google Shape;1033;p13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34" name="Google Shape;1034;p1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5" name="Google Shape;1035;p1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94065546"/>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1036"/>
        <p:cNvGrpSpPr/>
        <p:nvPr/>
      </p:nvGrpSpPr>
      <p:grpSpPr>
        <a:xfrm>
          <a:off x="0" y="0"/>
          <a:ext cx="0" cy="0"/>
          <a:chOff x="0" y="0"/>
          <a:chExt cx="0" cy="0"/>
        </a:xfrm>
      </p:grpSpPr>
      <p:grpSp>
        <p:nvGrpSpPr>
          <p:cNvPr id="1037" name="Google Shape;1037;p138"/>
          <p:cNvGrpSpPr/>
          <p:nvPr/>
        </p:nvGrpSpPr>
        <p:grpSpPr>
          <a:xfrm>
            <a:off x="7191542" y="1"/>
            <a:ext cx="5000459" cy="1425992"/>
            <a:chOff x="7191542" y="1"/>
            <a:chExt cx="5000459" cy="1425992"/>
          </a:xfrm>
        </p:grpSpPr>
        <p:pic>
          <p:nvPicPr>
            <p:cNvPr id="1038" name="Google Shape;1038;p1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9" name="Google Shape;1039;p138"/>
            <p:cNvGrpSpPr/>
            <p:nvPr/>
          </p:nvGrpSpPr>
          <p:grpSpPr>
            <a:xfrm>
              <a:off x="7191542" y="1"/>
              <a:ext cx="5000459" cy="1425992"/>
              <a:chOff x="7186272" y="0"/>
              <a:chExt cx="5005729" cy="1427495"/>
            </a:xfrm>
          </p:grpSpPr>
          <p:sp>
            <p:nvSpPr>
              <p:cNvPr id="1040" name="Google Shape;1040;p1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41" name="Google Shape;1041;p1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42" name="Google Shape;1042;p1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3" name="Google Shape;1043;p13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44" name="Google Shape;1044;p13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5" name="Google Shape;1045;p13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46" name="Google Shape;1046;p13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7" name="Google Shape;1047;p1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48" name="Google Shape;1048;p1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9" name="Google Shape;1049;p1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1050"/>
        <p:cNvGrpSpPr/>
        <p:nvPr/>
      </p:nvGrpSpPr>
      <p:grpSpPr>
        <a:xfrm>
          <a:off x="0" y="0"/>
          <a:ext cx="0" cy="0"/>
          <a:chOff x="0" y="0"/>
          <a:chExt cx="0" cy="0"/>
        </a:xfrm>
      </p:grpSpPr>
      <p:grpSp>
        <p:nvGrpSpPr>
          <p:cNvPr id="1051" name="Google Shape;1051;p139"/>
          <p:cNvGrpSpPr/>
          <p:nvPr/>
        </p:nvGrpSpPr>
        <p:grpSpPr>
          <a:xfrm>
            <a:off x="7191542" y="1"/>
            <a:ext cx="5000459" cy="1425992"/>
            <a:chOff x="7191542" y="1"/>
            <a:chExt cx="5000459" cy="1425992"/>
          </a:xfrm>
        </p:grpSpPr>
        <p:pic>
          <p:nvPicPr>
            <p:cNvPr id="1052" name="Google Shape;1052;p1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3" name="Google Shape;1053;p139"/>
            <p:cNvGrpSpPr/>
            <p:nvPr/>
          </p:nvGrpSpPr>
          <p:grpSpPr>
            <a:xfrm>
              <a:off x="7191542" y="1"/>
              <a:ext cx="5000459" cy="1425992"/>
              <a:chOff x="7186272" y="0"/>
              <a:chExt cx="5005729" cy="1427495"/>
            </a:xfrm>
          </p:grpSpPr>
          <p:sp>
            <p:nvSpPr>
              <p:cNvPr id="1054" name="Google Shape;1054;p1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55" name="Google Shape;1055;p1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56" name="Google Shape;1056;p1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7" name="Google Shape;1057;p1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58" name="Google Shape;1058;p1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9" name="Google Shape;1059;p1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1060"/>
        <p:cNvGrpSpPr/>
        <p:nvPr/>
      </p:nvGrpSpPr>
      <p:grpSpPr>
        <a:xfrm>
          <a:off x="0" y="0"/>
          <a:ext cx="0" cy="0"/>
          <a:chOff x="0" y="0"/>
          <a:chExt cx="0" cy="0"/>
        </a:xfrm>
      </p:grpSpPr>
      <p:grpSp>
        <p:nvGrpSpPr>
          <p:cNvPr id="1061" name="Google Shape;1061;p140"/>
          <p:cNvGrpSpPr/>
          <p:nvPr/>
        </p:nvGrpSpPr>
        <p:grpSpPr>
          <a:xfrm>
            <a:off x="0" y="0"/>
            <a:ext cx="12192000" cy="2148830"/>
            <a:chOff x="0" y="0"/>
            <a:chExt cx="12192000" cy="2148830"/>
          </a:xfrm>
        </p:grpSpPr>
        <p:sp>
          <p:nvSpPr>
            <p:cNvPr id="1062" name="Google Shape;1062;p14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63" name="Google Shape;1063;p14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064" name="Google Shape;1064;p14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5" name="Google Shape;1065;p14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6" name="Google Shape;1066;p14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67" name="Google Shape;1067;p14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68" name="Google Shape;1068;p14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1069"/>
        <p:cNvGrpSpPr/>
        <p:nvPr/>
      </p:nvGrpSpPr>
      <p:grpSpPr>
        <a:xfrm>
          <a:off x="0" y="0"/>
          <a:ext cx="0" cy="0"/>
          <a:chOff x="0" y="0"/>
          <a:chExt cx="0" cy="0"/>
        </a:xfrm>
      </p:grpSpPr>
      <p:sp>
        <p:nvSpPr>
          <p:cNvPr id="1070" name="Google Shape;1070;p1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71" name="Google Shape;1071;p1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2" name="Google Shape;1072;p1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73" name="Google Shape;1073;p141"/>
          <p:cNvGrpSpPr/>
          <p:nvPr/>
        </p:nvGrpSpPr>
        <p:grpSpPr>
          <a:xfrm>
            <a:off x="7191542" y="1"/>
            <a:ext cx="5000459" cy="1425992"/>
            <a:chOff x="7191542" y="1"/>
            <a:chExt cx="5000459" cy="1425992"/>
          </a:xfrm>
        </p:grpSpPr>
        <p:pic>
          <p:nvPicPr>
            <p:cNvPr id="1074" name="Google Shape;1074;p1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5" name="Google Shape;1075;p141"/>
            <p:cNvGrpSpPr/>
            <p:nvPr/>
          </p:nvGrpSpPr>
          <p:grpSpPr>
            <a:xfrm>
              <a:off x="7191542" y="1"/>
              <a:ext cx="5000459" cy="1425992"/>
              <a:chOff x="7186272" y="0"/>
              <a:chExt cx="5005729" cy="1427495"/>
            </a:xfrm>
          </p:grpSpPr>
          <p:sp>
            <p:nvSpPr>
              <p:cNvPr id="1076" name="Google Shape;1076;p1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77" name="Google Shape;1077;p1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matchingName="Cover">
  <p:cSld name="Cover 11">
    <p:spTree>
      <p:nvGrpSpPr>
        <p:cNvPr id="1" name="Shape 1078"/>
        <p:cNvGrpSpPr/>
        <p:nvPr/>
      </p:nvGrpSpPr>
      <p:grpSpPr>
        <a:xfrm>
          <a:off x="0" y="0"/>
          <a:ext cx="0" cy="0"/>
          <a:chOff x="0" y="0"/>
          <a:chExt cx="0" cy="0"/>
        </a:xfrm>
      </p:grpSpPr>
      <p:sp>
        <p:nvSpPr>
          <p:cNvPr id="1079" name="Google Shape;1079;p14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80" name="Google Shape;1080;p14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1" name="Google Shape;1081;p14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82" name="Google Shape;1082;p142"/>
          <p:cNvSpPr>
            <a:spLocks noGrp="1"/>
          </p:cNvSpPr>
          <p:nvPr>
            <p:ph type="pic" idx="2"/>
          </p:nvPr>
        </p:nvSpPr>
        <p:spPr>
          <a:xfrm>
            <a:off x="7118684" y="233915"/>
            <a:ext cx="5073316" cy="5943600"/>
          </a:xfrm>
          <a:prstGeom prst="rect">
            <a:avLst/>
          </a:prstGeom>
          <a:noFill/>
          <a:ln>
            <a:noFill/>
          </a:ln>
        </p:spPr>
      </p:sp>
      <p:grpSp>
        <p:nvGrpSpPr>
          <p:cNvPr id="1083" name="Google Shape;1083;p142"/>
          <p:cNvGrpSpPr/>
          <p:nvPr/>
        </p:nvGrpSpPr>
        <p:grpSpPr>
          <a:xfrm>
            <a:off x="0" y="5020348"/>
            <a:ext cx="12192000" cy="1837653"/>
            <a:chOff x="0" y="5020348"/>
            <a:chExt cx="12192000" cy="1837653"/>
          </a:xfrm>
        </p:grpSpPr>
        <p:sp>
          <p:nvSpPr>
            <p:cNvPr id="1084" name="Google Shape;1084;p1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85" name="Google Shape;1085;p14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86" name="Google Shape;1086;p1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matchingName="Divider">
  <p:cSld name="Divider 10">
    <p:bg>
      <p:bgPr>
        <a:solidFill>
          <a:schemeClr val="lt2"/>
        </a:solidFill>
        <a:effectLst/>
      </p:bgPr>
    </p:bg>
    <p:spTree>
      <p:nvGrpSpPr>
        <p:cNvPr id="1" name="Shape 1087"/>
        <p:cNvGrpSpPr/>
        <p:nvPr/>
      </p:nvGrpSpPr>
      <p:grpSpPr>
        <a:xfrm>
          <a:off x="0" y="0"/>
          <a:ext cx="0" cy="0"/>
          <a:chOff x="0" y="0"/>
          <a:chExt cx="0" cy="0"/>
        </a:xfrm>
      </p:grpSpPr>
      <p:grpSp>
        <p:nvGrpSpPr>
          <p:cNvPr id="1088" name="Google Shape;1088;p143"/>
          <p:cNvGrpSpPr/>
          <p:nvPr/>
        </p:nvGrpSpPr>
        <p:grpSpPr>
          <a:xfrm>
            <a:off x="0" y="5020347"/>
            <a:ext cx="12192000" cy="1837653"/>
            <a:chOff x="0" y="5020347"/>
            <a:chExt cx="12192000" cy="1837653"/>
          </a:xfrm>
        </p:grpSpPr>
        <p:sp>
          <p:nvSpPr>
            <p:cNvPr id="1089" name="Google Shape;1089;p14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90" name="Google Shape;1090;p1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91" name="Google Shape;1091;p14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92" name="Google Shape;1092;p14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093" name="Google Shape;1093;p14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4" name="Google Shape;1094;p14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1095"/>
        <p:cNvGrpSpPr/>
        <p:nvPr/>
      </p:nvGrpSpPr>
      <p:grpSpPr>
        <a:xfrm>
          <a:off x="0" y="0"/>
          <a:ext cx="0" cy="0"/>
          <a:chOff x="0" y="0"/>
          <a:chExt cx="0" cy="0"/>
        </a:xfrm>
      </p:grpSpPr>
      <p:sp>
        <p:nvSpPr>
          <p:cNvPr id="1096" name="Google Shape;1096;p14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97" name="Google Shape;1097;p14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98" name="Google Shape;1098;p144"/>
          <p:cNvGrpSpPr/>
          <p:nvPr/>
        </p:nvGrpSpPr>
        <p:grpSpPr>
          <a:xfrm>
            <a:off x="0" y="5379426"/>
            <a:ext cx="2807368" cy="753891"/>
            <a:chOff x="0" y="5379426"/>
            <a:chExt cx="2807368" cy="753891"/>
          </a:xfrm>
        </p:grpSpPr>
        <p:sp>
          <p:nvSpPr>
            <p:cNvPr id="1099" name="Google Shape;1099;p14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0" name="Google Shape;1100;p14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101" name="Google Shape;1101;p144"/>
          <p:cNvSpPr>
            <a:spLocks noGrp="1"/>
          </p:cNvSpPr>
          <p:nvPr>
            <p:ph type="pic" idx="2"/>
          </p:nvPr>
        </p:nvSpPr>
        <p:spPr>
          <a:xfrm>
            <a:off x="2807368" y="457202"/>
            <a:ext cx="8915400" cy="5943598"/>
          </a:xfrm>
          <a:prstGeom prst="rect">
            <a:avLst/>
          </a:prstGeom>
          <a:noFill/>
          <a:ln>
            <a:noFill/>
          </a:ln>
        </p:spPr>
      </p:sp>
      <p:pic>
        <p:nvPicPr>
          <p:cNvPr id="1102" name="Google Shape;1102;p1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1103"/>
        <p:cNvGrpSpPr/>
        <p:nvPr/>
      </p:nvGrpSpPr>
      <p:grpSpPr>
        <a:xfrm>
          <a:off x="0" y="0"/>
          <a:ext cx="0" cy="0"/>
          <a:chOff x="0" y="0"/>
          <a:chExt cx="0" cy="0"/>
        </a:xfrm>
      </p:grpSpPr>
      <p:sp>
        <p:nvSpPr>
          <p:cNvPr id="1104" name="Google Shape;1104;p14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5" name="Google Shape;1105;p14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6" name="Google Shape;1106;p1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7" name="Google Shape;1107;p1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08" name="Google Shape;1108;p1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9" name="Google Shape;1109;p1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10" name="Google Shape;1110;p145"/>
          <p:cNvGrpSpPr/>
          <p:nvPr/>
        </p:nvGrpSpPr>
        <p:grpSpPr>
          <a:xfrm>
            <a:off x="7191542" y="1"/>
            <a:ext cx="5000459" cy="1425992"/>
            <a:chOff x="7191542" y="1"/>
            <a:chExt cx="5000459" cy="1425992"/>
          </a:xfrm>
        </p:grpSpPr>
        <p:pic>
          <p:nvPicPr>
            <p:cNvPr id="1111" name="Google Shape;1111;p1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12" name="Google Shape;1112;p145"/>
            <p:cNvGrpSpPr/>
            <p:nvPr/>
          </p:nvGrpSpPr>
          <p:grpSpPr>
            <a:xfrm>
              <a:off x="7191542" y="1"/>
              <a:ext cx="5000459" cy="1425992"/>
              <a:chOff x="7186272" y="0"/>
              <a:chExt cx="5005729" cy="1427495"/>
            </a:xfrm>
          </p:grpSpPr>
          <p:sp>
            <p:nvSpPr>
              <p:cNvPr id="1113" name="Google Shape;1113;p1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14" name="Google Shape;1114;p1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15" name="Google Shape;1115;p14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matchingName="Title and Content">
  <p:cSld name="Title and Content 10">
    <p:spTree>
      <p:nvGrpSpPr>
        <p:cNvPr id="1" name="Shape 1116"/>
        <p:cNvGrpSpPr/>
        <p:nvPr/>
      </p:nvGrpSpPr>
      <p:grpSpPr>
        <a:xfrm>
          <a:off x="0" y="0"/>
          <a:ext cx="0" cy="0"/>
          <a:chOff x="0" y="0"/>
          <a:chExt cx="0" cy="0"/>
        </a:xfrm>
      </p:grpSpPr>
      <p:grpSp>
        <p:nvGrpSpPr>
          <p:cNvPr id="1117" name="Google Shape;1117;p146"/>
          <p:cNvGrpSpPr/>
          <p:nvPr/>
        </p:nvGrpSpPr>
        <p:grpSpPr>
          <a:xfrm>
            <a:off x="7191542" y="1"/>
            <a:ext cx="5000459" cy="1425992"/>
            <a:chOff x="7191542" y="1"/>
            <a:chExt cx="5000459" cy="1425992"/>
          </a:xfrm>
        </p:grpSpPr>
        <p:pic>
          <p:nvPicPr>
            <p:cNvPr id="1118" name="Google Shape;1118;p1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19" name="Google Shape;1119;p146"/>
            <p:cNvGrpSpPr/>
            <p:nvPr/>
          </p:nvGrpSpPr>
          <p:grpSpPr>
            <a:xfrm>
              <a:off x="7191542" y="1"/>
              <a:ext cx="5000459" cy="1425992"/>
              <a:chOff x="7186272" y="0"/>
              <a:chExt cx="5005729" cy="1427495"/>
            </a:xfrm>
          </p:grpSpPr>
          <p:sp>
            <p:nvSpPr>
              <p:cNvPr id="1120" name="Google Shape;1120;p1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21" name="Google Shape;1121;p1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22" name="Google Shape;1122;p1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3" name="Google Shape;1123;p14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4" name="Google Shape;1124;p1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25" name="Google Shape;1125;p1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6" name="Google Shape;1126;p1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1127"/>
        <p:cNvGrpSpPr/>
        <p:nvPr/>
      </p:nvGrpSpPr>
      <p:grpSpPr>
        <a:xfrm>
          <a:off x="0" y="0"/>
          <a:ext cx="0" cy="0"/>
          <a:chOff x="0" y="0"/>
          <a:chExt cx="0" cy="0"/>
        </a:xfrm>
      </p:grpSpPr>
      <p:sp>
        <p:nvSpPr>
          <p:cNvPr id="1128" name="Google Shape;1128;p1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9" name="Google Shape;1129;p14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30" name="Google Shape;1130;p147"/>
          <p:cNvGrpSpPr/>
          <p:nvPr/>
        </p:nvGrpSpPr>
        <p:grpSpPr>
          <a:xfrm>
            <a:off x="7191542" y="1"/>
            <a:ext cx="5000459" cy="1425992"/>
            <a:chOff x="7191542" y="1"/>
            <a:chExt cx="5000459" cy="1425992"/>
          </a:xfrm>
        </p:grpSpPr>
        <p:pic>
          <p:nvPicPr>
            <p:cNvPr id="1131" name="Google Shape;1131;p1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32" name="Google Shape;1132;p147"/>
            <p:cNvGrpSpPr/>
            <p:nvPr/>
          </p:nvGrpSpPr>
          <p:grpSpPr>
            <a:xfrm>
              <a:off x="7191542" y="1"/>
              <a:ext cx="5000459" cy="1425992"/>
              <a:chOff x="7186272" y="0"/>
              <a:chExt cx="5005729" cy="1427495"/>
            </a:xfrm>
          </p:grpSpPr>
          <p:sp>
            <p:nvSpPr>
              <p:cNvPr id="1133" name="Google Shape;1133;p1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34" name="Google Shape;1134;p1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35" name="Google Shape;1135;p14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6" name="Google Shape;1136;p14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7" name="Google Shape;1137;p1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8" name="Google Shape;1138;p1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20201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75016611"/>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matchingName="Comparison">
  <p:cSld name="Comparison 9">
    <p:spTree>
      <p:nvGrpSpPr>
        <p:cNvPr id="1" name="Shape 1139"/>
        <p:cNvGrpSpPr/>
        <p:nvPr/>
      </p:nvGrpSpPr>
      <p:grpSpPr>
        <a:xfrm>
          <a:off x="0" y="0"/>
          <a:ext cx="0" cy="0"/>
          <a:chOff x="0" y="0"/>
          <a:chExt cx="0" cy="0"/>
        </a:xfrm>
      </p:grpSpPr>
      <p:grpSp>
        <p:nvGrpSpPr>
          <p:cNvPr id="1140" name="Google Shape;1140;p148"/>
          <p:cNvGrpSpPr/>
          <p:nvPr/>
        </p:nvGrpSpPr>
        <p:grpSpPr>
          <a:xfrm>
            <a:off x="7191542" y="1"/>
            <a:ext cx="5000459" cy="1425992"/>
            <a:chOff x="7191542" y="1"/>
            <a:chExt cx="5000459" cy="1425992"/>
          </a:xfrm>
        </p:grpSpPr>
        <p:pic>
          <p:nvPicPr>
            <p:cNvPr id="1141" name="Google Shape;1141;p1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42" name="Google Shape;1142;p148"/>
            <p:cNvGrpSpPr/>
            <p:nvPr/>
          </p:nvGrpSpPr>
          <p:grpSpPr>
            <a:xfrm>
              <a:off x="7191542" y="1"/>
              <a:ext cx="5000459" cy="1425992"/>
              <a:chOff x="7186272" y="0"/>
              <a:chExt cx="5005729" cy="1427495"/>
            </a:xfrm>
          </p:grpSpPr>
          <p:sp>
            <p:nvSpPr>
              <p:cNvPr id="1143" name="Google Shape;1143;p1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44" name="Google Shape;1144;p1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45" name="Google Shape;1145;p1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6" name="Google Shape;1146;p14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47" name="Google Shape;1147;p14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8" name="Google Shape;1148;p14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49" name="Google Shape;1149;p14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0" name="Google Shape;1150;p1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51" name="Google Shape;1151;p1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2" name="Google Shape;1152;p1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matchingName="Title Only">
  <p:cSld name="Title Only 9">
    <p:spTree>
      <p:nvGrpSpPr>
        <p:cNvPr id="1" name="Shape 1153"/>
        <p:cNvGrpSpPr/>
        <p:nvPr/>
      </p:nvGrpSpPr>
      <p:grpSpPr>
        <a:xfrm>
          <a:off x="0" y="0"/>
          <a:ext cx="0" cy="0"/>
          <a:chOff x="0" y="0"/>
          <a:chExt cx="0" cy="0"/>
        </a:xfrm>
      </p:grpSpPr>
      <p:grpSp>
        <p:nvGrpSpPr>
          <p:cNvPr id="1154" name="Google Shape;1154;p149"/>
          <p:cNvGrpSpPr/>
          <p:nvPr/>
        </p:nvGrpSpPr>
        <p:grpSpPr>
          <a:xfrm>
            <a:off x="7191542" y="1"/>
            <a:ext cx="5000459" cy="1425992"/>
            <a:chOff x="7191542" y="1"/>
            <a:chExt cx="5000459" cy="1425992"/>
          </a:xfrm>
        </p:grpSpPr>
        <p:pic>
          <p:nvPicPr>
            <p:cNvPr id="1155" name="Google Shape;1155;p1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56" name="Google Shape;1156;p149"/>
            <p:cNvGrpSpPr/>
            <p:nvPr/>
          </p:nvGrpSpPr>
          <p:grpSpPr>
            <a:xfrm>
              <a:off x="7191542" y="1"/>
              <a:ext cx="5000459" cy="1425992"/>
              <a:chOff x="7186272" y="0"/>
              <a:chExt cx="5005729" cy="1427495"/>
            </a:xfrm>
          </p:grpSpPr>
          <p:sp>
            <p:nvSpPr>
              <p:cNvPr id="1157" name="Google Shape;1157;p1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58" name="Google Shape;1158;p1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59" name="Google Shape;1159;p1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0" name="Google Shape;1160;p1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1" name="Google Shape;1161;p1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2" name="Google Shape;1162;p1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matchingName="End">
  <p:cSld name="End 10">
    <p:spTree>
      <p:nvGrpSpPr>
        <p:cNvPr id="1" name="Shape 1163"/>
        <p:cNvGrpSpPr/>
        <p:nvPr/>
      </p:nvGrpSpPr>
      <p:grpSpPr>
        <a:xfrm>
          <a:off x="0" y="0"/>
          <a:ext cx="0" cy="0"/>
          <a:chOff x="0" y="0"/>
          <a:chExt cx="0" cy="0"/>
        </a:xfrm>
      </p:grpSpPr>
      <p:grpSp>
        <p:nvGrpSpPr>
          <p:cNvPr id="1164" name="Google Shape;1164;p150"/>
          <p:cNvGrpSpPr/>
          <p:nvPr/>
        </p:nvGrpSpPr>
        <p:grpSpPr>
          <a:xfrm>
            <a:off x="0" y="0"/>
            <a:ext cx="12192000" cy="2148830"/>
            <a:chOff x="0" y="0"/>
            <a:chExt cx="12192000" cy="2148830"/>
          </a:xfrm>
        </p:grpSpPr>
        <p:sp>
          <p:nvSpPr>
            <p:cNvPr id="1165" name="Google Shape;1165;p15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6" name="Google Shape;1166;p15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167" name="Google Shape;1167;p15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68" name="Google Shape;1168;p15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9" name="Google Shape;1169;p15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70" name="Google Shape;1170;p1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171" name="Google Shape;1171;p15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matchingName="Blank">
  <p:cSld name="Blank 8">
    <p:spTree>
      <p:nvGrpSpPr>
        <p:cNvPr id="1" name="Shape 1172"/>
        <p:cNvGrpSpPr/>
        <p:nvPr/>
      </p:nvGrpSpPr>
      <p:grpSpPr>
        <a:xfrm>
          <a:off x="0" y="0"/>
          <a:ext cx="0" cy="0"/>
          <a:chOff x="0" y="0"/>
          <a:chExt cx="0" cy="0"/>
        </a:xfrm>
      </p:grpSpPr>
      <p:sp>
        <p:nvSpPr>
          <p:cNvPr id="1173" name="Google Shape;1173;p1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4" name="Google Shape;1174;p1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5" name="Google Shape;1175;p1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76" name="Google Shape;1176;p151"/>
          <p:cNvGrpSpPr/>
          <p:nvPr/>
        </p:nvGrpSpPr>
        <p:grpSpPr>
          <a:xfrm>
            <a:off x="7191542" y="1"/>
            <a:ext cx="5000459" cy="1425992"/>
            <a:chOff x="7191542" y="1"/>
            <a:chExt cx="5000459" cy="1425992"/>
          </a:xfrm>
        </p:grpSpPr>
        <p:pic>
          <p:nvPicPr>
            <p:cNvPr id="1177" name="Google Shape;1177;p1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78" name="Google Shape;1178;p151"/>
            <p:cNvGrpSpPr/>
            <p:nvPr/>
          </p:nvGrpSpPr>
          <p:grpSpPr>
            <a:xfrm>
              <a:off x="7191542" y="1"/>
              <a:ext cx="5000459" cy="1425992"/>
              <a:chOff x="7186272" y="0"/>
              <a:chExt cx="5005729" cy="1427495"/>
            </a:xfrm>
          </p:grpSpPr>
          <p:sp>
            <p:nvSpPr>
              <p:cNvPr id="1179" name="Google Shape;1179;p1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0" name="Google Shape;1180;p1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1181"/>
        <p:cNvGrpSpPr/>
        <p:nvPr/>
      </p:nvGrpSpPr>
      <p:grpSpPr>
        <a:xfrm>
          <a:off x="0" y="0"/>
          <a:ext cx="0" cy="0"/>
          <a:chOff x="0" y="0"/>
          <a:chExt cx="0" cy="0"/>
        </a:xfrm>
      </p:grpSpPr>
      <p:sp>
        <p:nvSpPr>
          <p:cNvPr id="1182" name="Google Shape;1182;p15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83" name="Google Shape;1183;p15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84" name="Google Shape;1184;p15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5" name="Google Shape;1185;p1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6" name="Google Shape;1186;p1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7" name="Google Shape;1187;p1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88" name="Google Shape;1188;p152"/>
          <p:cNvGrpSpPr/>
          <p:nvPr/>
        </p:nvGrpSpPr>
        <p:grpSpPr>
          <a:xfrm>
            <a:off x="7191542" y="1"/>
            <a:ext cx="5000459" cy="1425992"/>
            <a:chOff x="7191542" y="1"/>
            <a:chExt cx="5000459" cy="1425992"/>
          </a:xfrm>
        </p:grpSpPr>
        <p:pic>
          <p:nvPicPr>
            <p:cNvPr id="1189" name="Google Shape;1189;p1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90" name="Google Shape;1190;p152"/>
            <p:cNvGrpSpPr/>
            <p:nvPr/>
          </p:nvGrpSpPr>
          <p:grpSpPr>
            <a:xfrm>
              <a:off x="7191542" y="1"/>
              <a:ext cx="5000459" cy="1425992"/>
              <a:chOff x="7186272" y="0"/>
              <a:chExt cx="5005729" cy="1427495"/>
            </a:xfrm>
          </p:grpSpPr>
          <p:sp>
            <p:nvSpPr>
              <p:cNvPr id="1191" name="Google Shape;1191;p1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92" name="Google Shape;1192;p1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93" name="Google Shape;1193;p15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matchingName="Cover B">
  <p:cSld name="Cover B 2">
    <p:spTree>
      <p:nvGrpSpPr>
        <p:cNvPr id="1" name="Shape 1194"/>
        <p:cNvGrpSpPr/>
        <p:nvPr/>
      </p:nvGrpSpPr>
      <p:grpSpPr>
        <a:xfrm>
          <a:off x="0" y="0"/>
          <a:ext cx="0" cy="0"/>
          <a:chOff x="0" y="0"/>
          <a:chExt cx="0" cy="0"/>
        </a:xfrm>
      </p:grpSpPr>
      <p:sp>
        <p:nvSpPr>
          <p:cNvPr id="1195" name="Google Shape;1195;p153"/>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96" name="Google Shape;1196;p153"/>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197" name="Google Shape;1197;p153"/>
          <p:cNvGrpSpPr/>
          <p:nvPr/>
        </p:nvGrpSpPr>
        <p:grpSpPr>
          <a:xfrm flipH="1">
            <a:off x="-1" y="1"/>
            <a:ext cx="6418725" cy="1509822"/>
            <a:chOff x="7522541" y="1"/>
            <a:chExt cx="4669459" cy="1098357"/>
          </a:xfrm>
        </p:grpSpPr>
        <p:sp>
          <p:nvSpPr>
            <p:cNvPr id="1198" name="Google Shape;1198;p153"/>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99" name="Google Shape;1199;p153"/>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1200" name="Google Shape;1200;p1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201"/>
        <p:cNvGrpSpPr/>
        <p:nvPr/>
      </p:nvGrpSpPr>
      <p:grpSpPr>
        <a:xfrm>
          <a:off x="0" y="0"/>
          <a:ext cx="0" cy="0"/>
          <a:chOff x="0" y="0"/>
          <a:chExt cx="0" cy="0"/>
        </a:xfrm>
      </p:grpSpPr>
      <p:sp>
        <p:nvSpPr>
          <p:cNvPr id="1202" name="Google Shape;1202;p154"/>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03" name="Google Shape;1203;p154"/>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04" name="Google Shape;1204;p15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05" name="Google Shape;1205;p1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06" name="Google Shape;1206;p1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207"/>
        <p:cNvGrpSpPr/>
        <p:nvPr/>
      </p:nvGrpSpPr>
      <p:grpSpPr>
        <a:xfrm>
          <a:off x="0" y="0"/>
          <a:ext cx="0" cy="0"/>
          <a:chOff x="0" y="0"/>
          <a:chExt cx="0" cy="0"/>
        </a:xfrm>
      </p:grpSpPr>
      <p:sp>
        <p:nvSpPr>
          <p:cNvPr id="1208" name="Google Shape;1208;p15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9" name="Google Shape;1209;p15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10" name="Google Shape;1210;p15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11" name="Google Shape;1211;p1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12" name="Google Shape;1212;p1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13" name="Google Shape;1213;p15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14" name="Google Shape;1214;p15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15" name="Google Shape;1215;p15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16" name="Google Shape;1216;p15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1217"/>
        <p:cNvGrpSpPr/>
        <p:nvPr/>
      </p:nvGrpSpPr>
      <p:grpSpPr>
        <a:xfrm>
          <a:off x="0" y="0"/>
          <a:ext cx="0" cy="0"/>
          <a:chOff x="0" y="0"/>
          <a:chExt cx="0" cy="0"/>
        </a:xfrm>
      </p:grpSpPr>
      <p:sp>
        <p:nvSpPr>
          <p:cNvPr id="1218" name="Google Shape;1218;p15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9" name="Google Shape;1219;p15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20" name="Google Shape;1220;p15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21" name="Google Shape;1221;p1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22" name="Google Shape;1222;p1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23" name="Google Shape;1223;p15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24" name="Google Shape;1224;p15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25" name="Google Shape;1225;p15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26" name="Google Shape;1226;p15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227"/>
        <p:cNvGrpSpPr/>
        <p:nvPr/>
      </p:nvGrpSpPr>
      <p:grpSpPr>
        <a:xfrm>
          <a:off x="0" y="0"/>
          <a:ext cx="0" cy="0"/>
          <a:chOff x="0" y="0"/>
          <a:chExt cx="0" cy="0"/>
        </a:xfrm>
      </p:grpSpPr>
      <p:sp>
        <p:nvSpPr>
          <p:cNvPr id="1228" name="Google Shape;1228;p15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29" name="Google Shape;1229;p15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30" name="Google Shape;1230;p15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31" name="Google Shape;1231;p15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32" name="Google Shape;1232;p15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92427770"/>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233"/>
        <p:cNvGrpSpPr/>
        <p:nvPr/>
      </p:nvGrpSpPr>
      <p:grpSpPr>
        <a:xfrm>
          <a:off x="0" y="0"/>
          <a:ext cx="0" cy="0"/>
          <a:chOff x="0" y="0"/>
          <a:chExt cx="0" cy="0"/>
        </a:xfrm>
      </p:grpSpPr>
      <p:sp>
        <p:nvSpPr>
          <p:cNvPr id="1234" name="Google Shape;1234;p15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235" name="Google Shape;1235;p15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236" name="Google Shape;1236;p15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37" name="Google Shape;1237;p15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38" name="Google Shape;1238;p15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239"/>
        <p:cNvGrpSpPr/>
        <p:nvPr/>
      </p:nvGrpSpPr>
      <p:grpSpPr>
        <a:xfrm>
          <a:off x="0" y="0"/>
          <a:ext cx="0" cy="0"/>
          <a:chOff x="0" y="0"/>
          <a:chExt cx="0" cy="0"/>
        </a:xfrm>
      </p:grpSpPr>
      <p:sp>
        <p:nvSpPr>
          <p:cNvPr id="1240" name="Google Shape;1240;p15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41" name="Google Shape;1241;p15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42" name="Google Shape;1242;p15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3" name="Google Shape;1243;p15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4" name="Google Shape;1244;p15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245" name="Google Shape;1245;p15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1246"/>
        <p:cNvGrpSpPr/>
        <p:nvPr/>
      </p:nvGrpSpPr>
      <p:grpSpPr>
        <a:xfrm>
          <a:off x="0" y="0"/>
          <a:ext cx="0" cy="0"/>
          <a:chOff x="0" y="0"/>
          <a:chExt cx="0" cy="0"/>
        </a:xfrm>
      </p:grpSpPr>
      <p:sp>
        <p:nvSpPr>
          <p:cNvPr id="1247" name="Google Shape;1247;p16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8" name="Google Shape;1248;p16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49" name="Google Shape;1249;p16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50" name="Google Shape;1250;p1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51" name="Google Shape;1251;p1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52" name="Google Shape;1252;p16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53" name="Google Shape;1253;p16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54" name="Google Shape;1254;p16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55" name="Google Shape;1255;p16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1256"/>
        <p:cNvGrpSpPr/>
        <p:nvPr/>
      </p:nvGrpSpPr>
      <p:grpSpPr>
        <a:xfrm>
          <a:off x="0" y="0"/>
          <a:ext cx="0" cy="0"/>
          <a:chOff x="0" y="0"/>
          <a:chExt cx="0" cy="0"/>
        </a:xfrm>
      </p:grpSpPr>
      <p:sp>
        <p:nvSpPr>
          <p:cNvPr id="1257" name="Google Shape;1257;p16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58" name="Google Shape;1258;p16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59" name="Google Shape;1259;p16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60" name="Google Shape;1260;p16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61" name="Google Shape;1261;p16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1262"/>
        <p:cNvGrpSpPr/>
        <p:nvPr/>
      </p:nvGrpSpPr>
      <p:grpSpPr>
        <a:xfrm>
          <a:off x="0" y="0"/>
          <a:ext cx="0" cy="0"/>
          <a:chOff x="0" y="0"/>
          <a:chExt cx="0" cy="0"/>
        </a:xfrm>
      </p:grpSpPr>
      <p:sp>
        <p:nvSpPr>
          <p:cNvPr id="1263" name="Google Shape;1263;p16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264" name="Google Shape;1264;p16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265" name="Google Shape;1265;p16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66" name="Google Shape;1266;p16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67" name="Google Shape;1267;p16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1268"/>
        <p:cNvGrpSpPr/>
        <p:nvPr/>
      </p:nvGrpSpPr>
      <p:grpSpPr>
        <a:xfrm>
          <a:off x="0" y="0"/>
          <a:ext cx="0" cy="0"/>
          <a:chOff x="0" y="0"/>
          <a:chExt cx="0" cy="0"/>
        </a:xfrm>
      </p:grpSpPr>
      <p:sp>
        <p:nvSpPr>
          <p:cNvPr id="1269" name="Google Shape;1269;p16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70" name="Google Shape;1270;p16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71" name="Google Shape;1271;p16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2" name="Google Shape;1272;p16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3" name="Google Shape;1273;p16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274" name="Google Shape;1274;p16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1275"/>
        <p:cNvGrpSpPr/>
        <p:nvPr/>
      </p:nvGrpSpPr>
      <p:grpSpPr>
        <a:xfrm>
          <a:off x="0" y="0"/>
          <a:ext cx="0" cy="0"/>
          <a:chOff x="0" y="0"/>
          <a:chExt cx="0" cy="0"/>
        </a:xfrm>
      </p:grpSpPr>
      <p:sp>
        <p:nvSpPr>
          <p:cNvPr id="1276" name="Google Shape;1276;p16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7" name="Google Shape;1277;p16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78" name="Google Shape;1278;p16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79" name="Google Shape;1279;p1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0" name="Google Shape;1280;p1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81" name="Google Shape;1281;p16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82" name="Google Shape;1282;p16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83" name="Google Shape;1283;p16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84" name="Google Shape;1284;p16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1285"/>
        <p:cNvGrpSpPr/>
        <p:nvPr/>
      </p:nvGrpSpPr>
      <p:grpSpPr>
        <a:xfrm>
          <a:off x="0" y="0"/>
          <a:ext cx="0" cy="0"/>
          <a:chOff x="0" y="0"/>
          <a:chExt cx="0" cy="0"/>
        </a:xfrm>
      </p:grpSpPr>
      <p:sp>
        <p:nvSpPr>
          <p:cNvPr id="1286" name="Google Shape;1286;p16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7" name="Google Shape;1287;p16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88" name="Google Shape;1288;p16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89" name="Google Shape;1289;p16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90" name="Google Shape;1290;p16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1291"/>
        <p:cNvGrpSpPr/>
        <p:nvPr/>
      </p:nvGrpSpPr>
      <p:grpSpPr>
        <a:xfrm>
          <a:off x="0" y="0"/>
          <a:ext cx="0" cy="0"/>
          <a:chOff x="0" y="0"/>
          <a:chExt cx="0" cy="0"/>
        </a:xfrm>
      </p:grpSpPr>
      <p:sp>
        <p:nvSpPr>
          <p:cNvPr id="1292" name="Google Shape;1292;p16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293" name="Google Shape;1293;p16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294" name="Google Shape;1294;p16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95" name="Google Shape;1295;p16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96" name="Google Shape;1296;p16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1297"/>
        <p:cNvGrpSpPr/>
        <p:nvPr/>
      </p:nvGrpSpPr>
      <p:grpSpPr>
        <a:xfrm>
          <a:off x="0" y="0"/>
          <a:ext cx="0" cy="0"/>
          <a:chOff x="0" y="0"/>
          <a:chExt cx="0" cy="0"/>
        </a:xfrm>
      </p:grpSpPr>
      <p:sp>
        <p:nvSpPr>
          <p:cNvPr id="1298" name="Google Shape;1298;p16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99" name="Google Shape;1299;p16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00" name="Google Shape;1300;p16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1" name="Google Shape;1301;p16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2" name="Google Shape;1302;p16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303" name="Google Shape;1303;p16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954738"/>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304"/>
        <p:cNvGrpSpPr/>
        <p:nvPr/>
      </p:nvGrpSpPr>
      <p:grpSpPr>
        <a:xfrm>
          <a:off x="0" y="0"/>
          <a:ext cx="0" cy="0"/>
          <a:chOff x="0" y="0"/>
          <a:chExt cx="0" cy="0"/>
        </a:xfrm>
      </p:grpSpPr>
      <p:sp>
        <p:nvSpPr>
          <p:cNvPr id="1305" name="Google Shape;1305;p16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6" name="Google Shape;1306;p16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07" name="Google Shape;1307;p16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08" name="Google Shape;1308;p1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09" name="Google Shape;1309;p1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10" name="Google Shape;1310;p16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11" name="Google Shape;1311;p16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12" name="Google Shape;1312;p16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3" name="Google Shape;1313;p16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1314"/>
        <p:cNvGrpSpPr/>
        <p:nvPr/>
      </p:nvGrpSpPr>
      <p:grpSpPr>
        <a:xfrm>
          <a:off x="0" y="0"/>
          <a:ext cx="0" cy="0"/>
          <a:chOff x="0" y="0"/>
          <a:chExt cx="0" cy="0"/>
        </a:xfrm>
      </p:grpSpPr>
      <p:sp>
        <p:nvSpPr>
          <p:cNvPr id="1315" name="Google Shape;1315;p16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6" name="Google Shape;1316;p16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17" name="Google Shape;1317;p16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18" name="Google Shape;1318;p1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19" name="Google Shape;1319;p1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20" name="Google Shape;1320;p16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21" name="Google Shape;1321;p16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22" name="Google Shape;1322;p16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3" name="Google Shape;1323;p16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1324"/>
        <p:cNvGrpSpPr/>
        <p:nvPr/>
      </p:nvGrpSpPr>
      <p:grpSpPr>
        <a:xfrm>
          <a:off x="0" y="0"/>
          <a:ext cx="0" cy="0"/>
          <a:chOff x="0" y="0"/>
          <a:chExt cx="0" cy="0"/>
        </a:xfrm>
      </p:grpSpPr>
      <p:sp>
        <p:nvSpPr>
          <p:cNvPr id="1325" name="Google Shape;1325;p17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26" name="Google Shape;1326;p17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27" name="Google Shape;1327;p17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28" name="Google Shape;1328;p17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9" name="Google Shape;1329;p17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1330"/>
        <p:cNvGrpSpPr/>
        <p:nvPr/>
      </p:nvGrpSpPr>
      <p:grpSpPr>
        <a:xfrm>
          <a:off x="0" y="0"/>
          <a:ext cx="0" cy="0"/>
          <a:chOff x="0" y="0"/>
          <a:chExt cx="0" cy="0"/>
        </a:xfrm>
      </p:grpSpPr>
      <p:sp>
        <p:nvSpPr>
          <p:cNvPr id="1331" name="Google Shape;1331;p17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332" name="Google Shape;1332;p17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33" name="Google Shape;1333;p17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34" name="Google Shape;1334;p17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5" name="Google Shape;1335;p17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1336"/>
        <p:cNvGrpSpPr/>
        <p:nvPr/>
      </p:nvGrpSpPr>
      <p:grpSpPr>
        <a:xfrm>
          <a:off x="0" y="0"/>
          <a:ext cx="0" cy="0"/>
          <a:chOff x="0" y="0"/>
          <a:chExt cx="0" cy="0"/>
        </a:xfrm>
      </p:grpSpPr>
      <p:sp>
        <p:nvSpPr>
          <p:cNvPr id="1337" name="Google Shape;1337;p17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38" name="Google Shape;1338;p17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39" name="Google Shape;1339;p17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 name="Google Shape;1340;p17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1" name="Google Shape;1341;p17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342" name="Google Shape;1342;p17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43"/>
        <p:cNvGrpSpPr/>
        <p:nvPr/>
      </p:nvGrpSpPr>
      <p:grpSpPr>
        <a:xfrm>
          <a:off x="0" y="0"/>
          <a:ext cx="0" cy="0"/>
          <a:chOff x="0" y="0"/>
          <a:chExt cx="0" cy="0"/>
        </a:xfrm>
      </p:grpSpPr>
      <p:sp>
        <p:nvSpPr>
          <p:cNvPr id="1344" name="Google Shape;1344;p173"/>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45" name="Google Shape;1345;p173"/>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346" name="Google Shape;1346;p17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47" name="Google Shape;1347;p1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48" name="Google Shape;1348;p1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349"/>
        <p:cNvGrpSpPr/>
        <p:nvPr/>
      </p:nvGrpSpPr>
      <p:grpSpPr>
        <a:xfrm>
          <a:off x="0" y="0"/>
          <a:ext cx="0" cy="0"/>
          <a:chOff x="0" y="0"/>
          <a:chExt cx="0" cy="0"/>
        </a:xfrm>
      </p:grpSpPr>
      <p:sp>
        <p:nvSpPr>
          <p:cNvPr id="1350" name="Google Shape;1350;p174"/>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51" name="Google Shape;1351;p174"/>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352" name="Google Shape;1352;p174"/>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353" name="Google Shape;1353;p17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54" name="Google Shape;1354;p1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55" name="Google Shape;1355;p1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356"/>
        <p:cNvGrpSpPr/>
        <p:nvPr/>
      </p:nvGrpSpPr>
      <p:grpSpPr>
        <a:xfrm>
          <a:off x="0" y="0"/>
          <a:ext cx="0" cy="0"/>
          <a:chOff x="0" y="0"/>
          <a:chExt cx="0" cy="0"/>
        </a:xfrm>
      </p:grpSpPr>
      <p:sp>
        <p:nvSpPr>
          <p:cNvPr id="1357" name="Google Shape;1357;p175"/>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58" name="Google Shape;1358;p175"/>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59" name="Google Shape;1359;p175"/>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0" name="Google Shape;1360;p175"/>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61" name="Google Shape;1361;p175"/>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2" name="Google Shape;1362;p175"/>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63" name="Google Shape;1363;p175"/>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364" name="Google Shape;1364;p175"/>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365" name="Google Shape;1365;p175"/>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366"/>
        <p:cNvGrpSpPr/>
        <p:nvPr/>
      </p:nvGrpSpPr>
      <p:grpSpPr>
        <a:xfrm>
          <a:off x="0" y="0"/>
          <a:ext cx="0" cy="0"/>
          <a:chOff x="0" y="0"/>
          <a:chExt cx="0" cy="0"/>
        </a:xfrm>
      </p:grpSpPr>
      <p:sp>
        <p:nvSpPr>
          <p:cNvPr id="1367" name="Google Shape;1367;p17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68" name="Google Shape;1368;p17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9" name="Google Shape;1369;p1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0" name="Google Shape;1370;p1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71" name="Google Shape;1371;p1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2" name="Google Shape;1372;p1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73" name="Google Shape;1373;p176"/>
          <p:cNvGrpSpPr/>
          <p:nvPr/>
        </p:nvGrpSpPr>
        <p:grpSpPr>
          <a:xfrm>
            <a:off x="7191542" y="1"/>
            <a:ext cx="5000459" cy="1425992"/>
            <a:chOff x="7191542" y="1"/>
            <a:chExt cx="5000459" cy="1425992"/>
          </a:xfrm>
        </p:grpSpPr>
        <p:pic>
          <p:nvPicPr>
            <p:cNvPr id="1374" name="Google Shape;1374;p1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75" name="Google Shape;1375;p176"/>
            <p:cNvGrpSpPr/>
            <p:nvPr/>
          </p:nvGrpSpPr>
          <p:grpSpPr>
            <a:xfrm>
              <a:off x="7191542" y="1"/>
              <a:ext cx="5000459" cy="1425992"/>
              <a:chOff x="7186272" y="0"/>
              <a:chExt cx="5005729" cy="1427495"/>
            </a:xfrm>
          </p:grpSpPr>
          <p:sp>
            <p:nvSpPr>
              <p:cNvPr id="1376" name="Google Shape;1376;p1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77" name="Google Shape;1377;p1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378" name="Google Shape;1378;p17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p:spTree>
      <p:nvGrpSpPr>
        <p:cNvPr id="1" name="Shape 1379"/>
        <p:cNvGrpSpPr/>
        <p:nvPr/>
      </p:nvGrpSpPr>
      <p:grpSpPr>
        <a:xfrm>
          <a:off x="0" y="0"/>
          <a:ext cx="0" cy="0"/>
          <a:chOff x="0" y="0"/>
          <a:chExt cx="0" cy="0"/>
        </a:xfrm>
      </p:grpSpPr>
      <p:sp>
        <p:nvSpPr>
          <p:cNvPr id="1380" name="Google Shape;1380;p177"/>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81" name="Google Shape;1381;p177"/>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82" name="Google Shape;1382;p177"/>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3" name="Google Shape;1383;p177"/>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84" name="Google Shape;1384;p177"/>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85" name="Google Shape;1385;p177"/>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86" name="Google Shape;1386;p177"/>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387" name="Google Shape;1387;p177"/>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388" name="Google Shape;1388;p17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1" y="6492240"/>
            <a:ext cx="1606135" cy="229238"/>
          </a:xfrm>
          <a:prstGeom prst="rect">
            <a:avLst/>
          </a:prstGeom>
          <a:noFill/>
          <a:ln>
            <a:noFill/>
          </a:ln>
        </p:spPr>
      </p:pic>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2710091"/>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1389"/>
        <p:cNvGrpSpPr/>
        <p:nvPr/>
      </p:nvGrpSpPr>
      <p:grpSpPr>
        <a:xfrm>
          <a:off x="0" y="0"/>
          <a:ext cx="0" cy="0"/>
          <a:chOff x="0" y="0"/>
          <a:chExt cx="0" cy="0"/>
        </a:xfrm>
      </p:grpSpPr>
      <p:sp>
        <p:nvSpPr>
          <p:cNvPr id="1390" name="Google Shape;1390;p17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1" name="Google Shape;1391;p17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92" name="Google Shape;1392;p17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93" name="Google Shape;1393;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94" name="Google Shape;1394;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95" name="Google Shape;1395;p17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96" name="Google Shape;1396;p17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97" name="Google Shape;1397;p17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98" name="Google Shape;1398;p1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1399"/>
        <p:cNvGrpSpPr/>
        <p:nvPr/>
      </p:nvGrpSpPr>
      <p:grpSpPr>
        <a:xfrm>
          <a:off x="0" y="0"/>
          <a:ext cx="0" cy="0"/>
          <a:chOff x="0" y="0"/>
          <a:chExt cx="0" cy="0"/>
        </a:xfrm>
      </p:grpSpPr>
      <p:sp>
        <p:nvSpPr>
          <p:cNvPr id="1400" name="Google Shape;1400;p17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01" name="Google Shape;1401;p1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02" name="Google Shape;1402;p17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03" name="Google Shape;1403;p17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04" name="Google Shape;1404;p1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1405"/>
        <p:cNvGrpSpPr/>
        <p:nvPr/>
      </p:nvGrpSpPr>
      <p:grpSpPr>
        <a:xfrm>
          <a:off x="0" y="0"/>
          <a:ext cx="0" cy="0"/>
          <a:chOff x="0" y="0"/>
          <a:chExt cx="0" cy="0"/>
        </a:xfrm>
      </p:grpSpPr>
      <p:sp>
        <p:nvSpPr>
          <p:cNvPr id="1406" name="Google Shape;1406;p1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407" name="Google Shape;1407;p1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408" name="Google Shape;1408;p1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09" name="Google Shape;1409;p18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10" name="Google Shape;1410;p18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1411"/>
        <p:cNvGrpSpPr/>
        <p:nvPr/>
      </p:nvGrpSpPr>
      <p:grpSpPr>
        <a:xfrm>
          <a:off x="0" y="0"/>
          <a:ext cx="0" cy="0"/>
          <a:chOff x="0" y="0"/>
          <a:chExt cx="0" cy="0"/>
        </a:xfrm>
      </p:grpSpPr>
      <p:sp>
        <p:nvSpPr>
          <p:cNvPr id="1412" name="Google Shape;1412;p18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13" name="Google Shape;1413;p18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14" name="Google Shape;1414;p18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5" name="Google Shape;1415;p18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6" name="Google Shape;1416;p18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17" name="Google Shape;1417;p1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8">
    <p:spTree>
      <p:nvGrpSpPr>
        <p:cNvPr id="1" name="Shape 1418"/>
        <p:cNvGrpSpPr/>
        <p:nvPr/>
      </p:nvGrpSpPr>
      <p:grpSpPr>
        <a:xfrm>
          <a:off x="0" y="0"/>
          <a:ext cx="0" cy="0"/>
          <a:chOff x="0" y="0"/>
          <a:chExt cx="0" cy="0"/>
        </a:xfrm>
      </p:grpSpPr>
      <p:sp>
        <p:nvSpPr>
          <p:cNvPr id="1419" name="Google Shape;1419;p18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18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21" name="Google Shape;1421;p18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22" name="Google Shape;1422;p1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23" name="Google Shape;1423;p1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424" name="Google Shape;1424;p18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25" name="Google Shape;1425;p18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26" name="Google Shape;1426;p18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27" name="Google Shape;1427;p1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6">
    <p:spTree>
      <p:nvGrpSpPr>
        <p:cNvPr id="1" name="Shape 1428"/>
        <p:cNvGrpSpPr/>
        <p:nvPr/>
      </p:nvGrpSpPr>
      <p:grpSpPr>
        <a:xfrm>
          <a:off x="0" y="0"/>
          <a:ext cx="0" cy="0"/>
          <a:chOff x="0" y="0"/>
          <a:chExt cx="0" cy="0"/>
        </a:xfrm>
      </p:grpSpPr>
      <p:sp>
        <p:nvSpPr>
          <p:cNvPr id="1429" name="Google Shape;1429;p18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30" name="Google Shape;1430;p18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31" name="Google Shape;1431;p18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32" name="Google Shape;1432;p18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33" name="Google Shape;1433;p1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matchingName="1_Title and Content">
  <p:cSld name="1_Title and Content 6">
    <p:spTree>
      <p:nvGrpSpPr>
        <p:cNvPr id="1" name="Shape 1434"/>
        <p:cNvGrpSpPr/>
        <p:nvPr/>
      </p:nvGrpSpPr>
      <p:grpSpPr>
        <a:xfrm>
          <a:off x="0" y="0"/>
          <a:ext cx="0" cy="0"/>
          <a:chOff x="0" y="0"/>
          <a:chExt cx="0" cy="0"/>
        </a:xfrm>
      </p:grpSpPr>
      <p:sp>
        <p:nvSpPr>
          <p:cNvPr id="1435" name="Google Shape;1435;p18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436" name="Google Shape;1436;p1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437" name="Google Shape;1437;p18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38" name="Google Shape;1438;p18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39" name="Google Shape;1439;p18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6">
    <p:spTree>
      <p:nvGrpSpPr>
        <p:cNvPr id="1" name="Shape 1440"/>
        <p:cNvGrpSpPr/>
        <p:nvPr/>
      </p:nvGrpSpPr>
      <p:grpSpPr>
        <a:xfrm>
          <a:off x="0" y="0"/>
          <a:ext cx="0" cy="0"/>
          <a:chOff x="0" y="0"/>
          <a:chExt cx="0" cy="0"/>
        </a:xfrm>
      </p:grpSpPr>
      <p:sp>
        <p:nvSpPr>
          <p:cNvPr id="1441" name="Google Shape;1441;p18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42" name="Google Shape;1442;p18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43" name="Google Shape;1443;p18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4" name="Google Shape;1444;p18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5" name="Google Shape;1445;p18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46" name="Google Shape;1446;p1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7">
    <p:spTree>
      <p:nvGrpSpPr>
        <p:cNvPr id="1" name="Shape 1447"/>
        <p:cNvGrpSpPr/>
        <p:nvPr/>
      </p:nvGrpSpPr>
      <p:grpSpPr>
        <a:xfrm>
          <a:off x="0" y="0"/>
          <a:ext cx="0" cy="0"/>
          <a:chOff x="0" y="0"/>
          <a:chExt cx="0" cy="0"/>
        </a:xfrm>
      </p:grpSpPr>
      <p:sp>
        <p:nvSpPr>
          <p:cNvPr id="1448" name="Google Shape;1448;p18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49" name="Google Shape;1449;p18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50" name="Google Shape;1450;p18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51" name="Google Shape;1451;p18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52" name="Google Shape;1452;p1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matchingName="1_Title and Content">
  <p:cSld name="1_Title and Content 7">
    <p:spTree>
      <p:nvGrpSpPr>
        <p:cNvPr id="1" name="Shape 1453"/>
        <p:cNvGrpSpPr/>
        <p:nvPr/>
      </p:nvGrpSpPr>
      <p:grpSpPr>
        <a:xfrm>
          <a:off x="0" y="0"/>
          <a:ext cx="0" cy="0"/>
          <a:chOff x="0" y="0"/>
          <a:chExt cx="0" cy="0"/>
        </a:xfrm>
      </p:grpSpPr>
      <p:sp>
        <p:nvSpPr>
          <p:cNvPr id="1454" name="Google Shape;1454;p18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455" name="Google Shape;1455;p1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456" name="Google Shape;1456;p18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57" name="Google Shape;1457;p18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58" name="Google Shape;1458;p18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2430371"/>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7">
    <p:spTree>
      <p:nvGrpSpPr>
        <p:cNvPr id="1" name="Shape 1459"/>
        <p:cNvGrpSpPr/>
        <p:nvPr/>
      </p:nvGrpSpPr>
      <p:grpSpPr>
        <a:xfrm>
          <a:off x="0" y="0"/>
          <a:ext cx="0" cy="0"/>
          <a:chOff x="0" y="0"/>
          <a:chExt cx="0" cy="0"/>
        </a:xfrm>
      </p:grpSpPr>
      <p:sp>
        <p:nvSpPr>
          <p:cNvPr id="1460" name="Google Shape;1460;p18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61" name="Google Shape;1461;p18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62" name="Google Shape;1462;p18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63" name="Google Shape;1463;p18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64" name="Google Shape;1464;p18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65" name="Google Shape;1465;p1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matchingName="Cover">
  <p:cSld name="Cover 12">
    <p:spTree>
      <p:nvGrpSpPr>
        <p:cNvPr id="1" name="Shape 1466"/>
        <p:cNvGrpSpPr/>
        <p:nvPr/>
      </p:nvGrpSpPr>
      <p:grpSpPr>
        <a:xfrm>
          <a:off x="0" y="0"/>
          <a:ext cx="0" cy="0"/>
          <a:chOff x="0" y="0"/>
          <a:chExt cx="0" cy="0"/>
        </a:xfrm>
      </p:grpSpPr>
      <p:sp>
        <p:nvSpPr>
          <p:cNvPr id="1467" name="Google Shape;1467;p18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68" name="Google Shape;1468;p18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69" name="Google Shape;1469;p18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70" name="Google Shape;1470;p189"/>
          <p:cNvSpPr>
            <a:spLocks noGrp="1"/>
          </p:cNvSpPr>
          <p:nvPr>
            <p:ph type="pic" idx="2"/>
          </p:nvPr>
        </p:nvSpPr>
        <p:spPr>
          <a:xfrm>
            <a:off x="7118684" y="233915"/>
            <a:ext cx="5073316" cy="5943600"/>
          </a:xfrm>
          <a:prstGeom prst="rect">
            <a:avLst/>
          </a:prstGeom>
          <a:noFill/>
          <a:ln>
            <a:noFill/>
          </a:ln>
        </p:spPr>
      </p:sp>
      <p:grpSp>
        <p:nvGrpSpPr>
          <p:cNvPr id="1471" name="Google Shape;1471;p189"/>
          <p:cNvGrpSpPr/>
          <p:nvPr/>
        </p:nvGrpSpPr>
        <p:grpSpPr>
          <a:xfrm>
            <a:off x="0" y="5020348"/>
            <a:ext cx="12192000" cy="1837653"/>
            <a:chOff x="0" y="5020348"/>
            <a:chExt cx="12192000" cy="1837653"/>
          </a:xfrm>
        </p:grpSpPr>
        <p:sp>
          <p:nvSpPr>
            <p:cNvPr id="1472" name="Google Shape;1472;p18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73" name="Google Shape;1473;p18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74" name="Google Shape;1474;p18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matchingName="Divider">
  <p:cSld name="Divider 11">
    <p:bg>
      <p:bgPr>
        <a:solidFill>
          <a:schemeClr val="lt2"/>
        </a:solidFill>
        <a:effectLst/>
      </p:bgPr>
    </p:bg>
    <p:spTree>
      <p:nvGrpSpPr>
        <p:cNvPr id="1" name="Shape 1475"/>
        <p:cNvGrpSpPr/>
        <p:nvPr/>
      </p:nvGrpSpPr>
      <p:grpSpPr>
        <a:xfrm>
          <a:off x="0" y="0"/>
          <a:ext cx="0" cy="0"/>
          <a:chOff x="0" y="0"/>
          <a:chExt cx="0" cy="0"/>
        </a:xfrm>
      </p:grpSpPr>
      <p:grpSp>
        <p:nvGrpSpPr>
          <p:cNvPr id="1476" name="Google Shape;1476;p190"/>
          <p:cNvGrpSpPr/>
          <p:nvPr/>
        </p:nvGrpSpPr>
        <p:grpSpPr>
          <a:xfrm>
            <a:off x="0" y="5020347"/>
            <a:ext cx="12192000" cy="1837653"/>
            <a:chOff x="0" y="5020347"/>
            <a:chExt cx="12192000" cy="1837653"/>
          </a:xfrm>
        </p:grpSpPr>
        <p:sp>
          <p:nvSpPr>
            <p:cNvPr id="1477" name="Google Shape;1477;p19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78" name="Google Shape;1478;p19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79" name="Google Shape;1479;p19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80" name="Google Shape;1480;p19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81" name="Google Shape;1481;p19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82" name="Google Shape;1482;p19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matchingName="Photo Slide">
  <p:cSld name="Photo Slide 11">
    <p:spTree>
      <p:nvGrpSpPr>
        <p:cNvPr id="1" name="Shape 1483"/>
        <p:cNvGrpSpPr/>
        <p:nvPr/>
      </p:nvGrpSpPr>
      <p:grpSpPr>
        <a:xfrm>
          <a:off x="0" y="0"/>
          <a:ext cx="0" cy="0"/>
          <a:chOff x="0" y="0"/>
          <a:chExt cx="0" cy="0"/>
        </a:xfrm>
      </p:grpSpPr>
      <p:sp>
        <p:nvSpPr>
          <p:cNvPr id="1484" name="Google Shape;1484;p19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85" name="Google Shape;1485;p19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486" name="Google Shape;1486;p191"/>
          <p:cNvGrpSpPr/>
          <p:nvPr/>
        </p:nvGrpSpPr>
        <p:grpSpPr>
          <a:xfrm>
            <a:off x="0" y="5379426"/>
            <a:ext cx="2807368" cy="753891"/>
            <a:chOff x="0" y="5379426"/>
            <a:chExt cx="2807368" cy="753891"/>
          </a:xfrm>
        </p:grpSpPr>
        <p:sp>
          <p:nvSpPr>
            <p:cNvPr id="1487" name="Google Shape;1487;p19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88" name="Google Shape;1488;p19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489" name="Google Shape;1489;p191"/>
          <p:cNvSpPr>
            <a:spLocks noGrp="1"/>
          </p:cNvSpPr>
          <p:nvPr>
            <p:ph type="pic" idx="2"/>
          </p:nvPr>
        </p:nvSpPr>
        <p:spPr>
          <a:xfrm>
            <a:off x="2807368" y="457202"/>
            <a:ext cx="8915400" cy="5943598"/>
          </a:xfrm>
          <a:prstGeom prst="rect">
            <a:avLst/>
          </a:prstGeom>
          <a:noFill/>
          <a:ln>
            <a:noFill/>
          </a:ln>
        </p:spPr>
      </p:sp>
      <p:pic>
        <p:nvPicPr>
          <p:cNvPr id="1490" name="Google Shape;1490;p19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1491"/>
        <p:cNvGrpSpPr/>
        <p:nvPr/>
      </p:nvGrpSpPr>
      <p:grpSpPr>
        <a:xfrm>
          <a:off x="0" y="0"/>
          <a:ext cx="0" cy="0"/>
          <a:chOff x="0" y="0"/>
          <a:chExt cx="0" cy="0"/>
        </a:xfrm>
      </p:grpSpPr>
      <p:sp>
        <p:nvSpPr>
          <p:cNvPr id="1492" name="Google Shape;1492;p19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93" name="Google Shape;1493;p19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94" name="Google Shape;1494;p19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95" name="Google Shape;1495;p1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96" name="Google Shape;1496;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97" name="Google Shape;1497;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498" name="Google Shape;1498;p192"/>
          <p:cNvGrpSpPr/>
          <p:nvPr/>
        </p:nvGrpSpPr>
        <p:grpSpPr>
          <a:xfrm>
            <a:off x="7191542" y="1"/>
            <a:ext cx="5000459" cy="1425992"/>
            <a:chOff x="7191542" y="1"/>
            <a:chExt cx="5000459" cy="1425992"/>
          </a:xfrm>
        </p:grpSpPr>
        <p:pic>
          <p:nvPicPr>
            <p:cNvPr id="1499" name="Google Shape;1499;p1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00" name="Google Shape;1500;p192"/>
            <p:cNvGrpSpPr/>
            <p:nvPr/>
          </p:nvGrpSpPr>
          <p:grpSpPr>
            <a:xfrm>
              <a:off x="7191542" y="1"/>
              <a:ext cx="5000459" cy="1425992"/>
              <a:chOff x="7186272" y="0"/>
              <a:chExt cx="5005729" cy="1427495"/>
            </a:xfrm>
          </p:grpSpPr>
          <p:sp>
            <p:nvSpPr>
              <p:cNvPr id="1501" name="Google Shape;1501;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02" name="Google Shape;1502;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503" name="Google Shape;1503;p19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matchingName="Title and Content">
  <p:cSld name="Title and Content 11">
    <p:spTree>
      <p:nvGrpSpPr>
        <p:cNvPr id="1" name="Shape 1504"/>
        <p:cNvGrpSpPr/>
        <p:nvPr/>
      </p:nvGrpSpPr>
      <p:grpSpPr>
        <a:xfrm>
          <a:off x="0" y="0"/>
          <a:ext cx="0" cy="0"/>
          <a:chOff x="0" y="0"/>
          <a:chExt cx="0" cy="0"/>
        </a:xfrm>
      </p:grpSpPr>
      <p:grpSp>
        <p:nvGrpSpPr>
          <p:cNvPr id="1505" name="Google Shape;1505;p193"/>
          <p:cNvGrpSpPr/>
          <p:nvPr/>
        </p:nvGrpSpPr>
        <p:grpSpPr>
          <a:xfrm>
            <a:off x="7191542" y="1"/>
            <a:ext cx="5000459" cy="1425992"/>
            <a:chOff x="7191542" y="1"/>
            <a:chExt cx="5000459" cy="1425992"/>
          </a:xfrm>
        </p:grpSpPr>
        <p:pic>
          <p:nvPicPr>
            <p:cNvPr id="1506" name="Google Shape;1506;p1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07" name="Google Shape;1507;p193"/>
            <p:cNvGrpSpPr/>
            <p:nvPr/>
          </p:nvGrpSpPr>
          <p:grpSpPr>
            <a:xfrm>
              <a:off x="7191542" y="1"/>
              <a:ext cx="5000459" cy="1425992"/>
              <a:chOff x="7186272" y="0"/>
              <a:chExt cx="5005729" cy="1427495"/>
            </a:xfrm>
          </p:grpSpPr>
          <p:sp>
            <p:nvSpPr>
              <p:cNvPr id="1508" name="Google Shape;1508;p1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09" name="Google Shape;1509;p1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10" name="Google Shape;1510;p1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11" name="Google Shape;1511;p19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1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3" name="Google Shape;1513;p1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4" name="Google Shape;1514;p1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matchingName="Two Content">
  <p:cSld name="Two Content 10">
    <p:spTree>
      <p:nvGrpSpPr>
        <p:cNvPr id="1" name="Shape 1515"/>
        <p:cNvGrpSpPr/>
        <p:nvPr/>
      </p:nvGrpSpPr>
      <p:grpSpPr>
        <a:xfrm>
          <a:off x="0" y="0"/>
          <a:ext cx="0" cy="0"/>
          <a:chOff x="0" y="0"/>
          <a:chExt cx="0" cy="0"/>
        </a:xfrm>
      </p:grpSpPr>
      <p:sp>
        <p:nvSpPr>
          <p:cNvPr id="1516" name="Google Shape;1516;p1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17" name="Google Shape;1517;p19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518" name="Google Shape;1518;p194"/>
          <p:cNvGrpSpPr/>
          <p:nvPr/>
        </p:nvGrpSpPr>
        <p:grpSpPr>
          <a:xfrm>
            <a:off x="7191542" y="1"/>
            <a:ext cx="5000459" cy="1425992"/>
            <a:chOff x="7191542" y="1"/>
            <a:chExt cx="5000459" cy="1425992"/>
          </a:xfrm>
        </p:grpSpPr>
        <p:pic>
          <p:nvPicPr>
            <p:cNvPr id="1519" name="Google Shape;1519;p1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20" name="Google Shape;1520;p194"/>
            <p:cNvGrpSpPr/>
            <p:nvPr/>
          </p:nvGrpSpPr>
          <p:grpSpPr>
            <a:xfrm>
              <a:off x="7191542" y="1"/>
              <a:ext cx="5000459" cy="1425992"/>
              <a:chOff x="7186272" y="0"/>
              <a:chExt cx="5005729" cy="1427495"/>
            </a:xfrm>
          </p:grpSpPr>
          <p:sp>
            <p:nvSpPr>
              <p:cNvPr id="1521" name="Google Shape;1521;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22" name="Google Shape;1522;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23" name="Google Shape;1523;p19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24" name="Google Shape;1524;p19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25" name="Google Shape;1525;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26" name="Google Shape;1526;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matchingName="Comparison">
  <p:cSld name="Comparison 10">
    <p:spTree>
      <p:nvGrpSpPr>
        <p:cNvPr id="1" name="Shape 1527"/>
        <p:cNvGrpSpPr/>
        <p:nvPr/>
      </p:nvGrpSpPr>
      <p:grpSpPr>
        <a:xfrm>
          <a:off x="0" y="0"/>
          <a:ext cx="0" cy="0"/>
          <a:chOff x="0" y="0"/>
          <a:chExt cx="0" cy="0"/>
        </a:xfrm>
      </p:grpSpPr>
      <p:grpSp>
        <p:nvGrpSpPr>
          <p:cNvPr id="1528" name="Google Shape;1528;p195"/>
          <p:cNvGrpSpPr/>
          <p:nvPr/>
        </p:nvGrpSpPr>
        <p:grpSpPr>
          <a:xfrm>
            <a:off x="7191542" y="1"/>
            <a:ext cx="5000459" cy="1425992"/>
            <a:chOff x="7191542" y="1"/>
            <a:chExt cx="5000459" cy="1425992"/>
          </a:xfrm>
        </p:grpSpPr>
        <p:pic>
          <p:nvPicPr>
            <p:cNvPr id="1529" name="Google Shape;1529;p1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30" name="Google Shape;1530;p195"/>
            <p:cNvGrpSpPr/>
            <p:nvPr/>
          </p:nvGrpSpPr>
          <p:grpSpPr>
            <a:xfrm>
              <a:off x="7191542" y="1"/>
              <a:ext cx="5000459" cy="1425992"/>
              <a:chOff x="7186272" y="0"/>
              <a:chExt cx="5005729" cy="1427495"/>
            </a:xfrm>
          </p:grpSpPr>
          <p:sp>
            <p:nvSpPr>
              <p:cNvPr id="1531" name="Google Shape;1531;p1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32" name="Google Shape;1532;p1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33" name="Google Shape;1533;p1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34" name="Google Shape;1534;p19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35" name="Google Shape;1535;p19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36" name="Google Shape;1536;p19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37" name="Google Shape;1537;p19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38" name="Google Shape;1538;p1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39" name="Google Shape;1539;p1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40" name="Google Shape;1540;p1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matchingName="Title Only">
  <p:cSld name="Title Only 10">
    <p:spTree>
      <p:nvGrpSpPr>
        <p:cNvPr id="1" name="Shape 1541"/>
        <p:cNvGrpSpPr/>
        <p:nvPr/>
      </p:nvGrpSpPr>
      <p:grpSpPr>
        <a:xfrm>
          <a:off x="0" y="0"/>
          <a:ext cx="0" cy="0"/>
          <a:chOff x="0" y="0"/>
          <a:chExt cx="0" cy="0"/>
        </a:xfrm>
      </p:grpSpPr>
      <p:grpSp>
        <p:nvGrpSpPr>
          <p:cNvPr id="1542" name="Google Shape;1542;p196"/>
          <p:cNvGrpSpPr/>
          <p:nvPr/>
        </p:nvGrpSpPr>
        <p:grpSpPr>
          <a:xfrm>
            <a:off x="7191542" y="1"/>
            <a:ext cx="5000459" cy="1425992"/>
            <a:chOff x="7191542" y="1"/>
            <a:chExt cx="5000459" cy="1425992"/>
          </a:xfrm>
        </p:grpSpPr>
        <p:pic>
          <p:nvPicPr>
            <p:cNvPr id="1543" name="Google Shape;1543;p1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44" name="Google Shape;1544;p196"/>
            <p:cNvGrpSpPr/>
            <p:nvPr/>
          </p:nvGrpSpPr>
          <p:grpSpPr>
            <a:xfrm>
              <a:off x="7191542" y="1"/>
              <a:ext cx="5000459" cy="1425992"/>
              <a:chOff x="7186272" y="0"/>
              <a:chExt cx="5005729" cy="1427495"/>
            </a:xfrm>
          </p:grpSpPr>
          <p:sp>
            <p:nvSpPr>
              <p:cNvPr id="1545" name="Google Shape;1545;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46" name="Google Shape;1546;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47" name="Google Shape;1547;p1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48" name="Google Shape;1548;p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49" name="Google Shape;1549;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50" name="Google Shape;1550;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matchingName="End">
  <p:cSld name="End 11">
    <p:spTree>
      <p:nvGrpSpPr>
        <p:cNvPr id="1" name="Shape 1551"/>
        <p:cNvGrpSpPr/>
        <p:nvPr/>
      </p:nvGrpSpPr>
      <p:grpSpPr>
        <a:xfrm>
          <a:off x="0" y="0"/>
          <a:ext cx="0" cy="0"/>
          <a:chOff x="0" y="0"/>
          <a:chExt cx="0" cy="0"/>
        </a:xfrm>
      </p:grpSpPr>
      <p:grpSp>
        <p:nvGrpSpPr>
          <p:cNvPr id="1552" name="Google Shape;1552;p197"/>
          <p:cNvGrpSpPr/>
          <p:nvPr/>
        </p:nvGrpSpPr>
        <p:grpSpPr>
          <a:xfrm>
            <a:off x="0" y="0"/>
            <a:ext cx="12192000" cy="2148830"/>
            <a:chOff x="0" y="0"/>
            <a:chExt cx="12192000" cy="2148830"/>
          </a:xfrm>
        </p:grpSpPr>
        <p:sp>
          <p:nvSpPr>
            <p:cNvPr id="1553" name="Google Shape;1553;p19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54" name="Google Shape;1554;p19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555" name="Google Shape;1555;p19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56" name="Google Shape;1556;p19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7" name="Google Shape;1557;p19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558" name="Google Shape;1558;p19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559" name="Google Shape;1559;p19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88036761"/>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matchingName="Blank">
  <p:cSld name="Blank 9">
    <p:spTree>
      <p:nvGrpSpPr>
        <p:cNvPr id="1" name="Shape 1560"/>
        <p:cNvGrpSpPr/>
        <p:nvPr/>
      </p:nvGrpSpPr>
      <p:grpSpPr>
        <a:xfrm>
          <a:off x="0" y="0"/>
          <a:ext cx="0" cy="0"/>
          <a:chOff x="0" y="0"/>
          <a:chExt cx="0" cy="0"/>
        </a:xfrm>
      </p:grpSpPr>
      <p:sp>
        <p:nvSpPr>
          <p:cNvPr id="1561" name="Google Shape;1561;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62" name="Google Shape;1562;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3" name="Google Shape;1563;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64" name="Google Shape;1564;p198"/>
          <p:cNvGrpSpPr/>
          <p:nvPr/>
        </p:nvGrpSpPr>
        <p:grpSpPr>
          <a:xfrm>
            <a:off x="7191542" y="1"/>
            <a:ext cx="5000459" cy="1425992"/>
            <a:chOff x="7191542" y="1"/>
            <a:chExt cx="5000459" cy="1425992"/>
          </a:xfrm>
        </p:grpSpPr>
        <p:pic>
          <p:nvPicPr>
            <p:cNvPr id="1565" name="Google Shape;1565;p1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66" name="Google Shape;1566;p198"/>
            <p:cNvGrpSpPr/>
            <p:nvPr/>
          </p:nvGrpSpPr>
          <p:grpSpPr>
            <a:xfrm>
              <a:off x="7191542" y="1"/>
              <a:ext cx="5000459" cy="1425992"/>
              <a:chOff x="7186272" y="0"/>
              <a:chExt cx="5005729" cy="1427495"/>
            </a:xfrm>
          </p:grpSpPr>
          <p:sp>
            <p:nvSpPr>
              <p:cNvPr id="1567" name="Google Shape;1567;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68" name="Google Shape;1568;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1569"/>
        <p:cNvGrpSpPr/>
        <p:nvPr/>
      </p:nvGrpSpPr>
      <p:grpSpPr>
        <a:xfrm>
          <a:off x="0" y="0"/>
          <a:ext cx="0" cy="0"/>
          <a:chOff x="0" y="0"/>
          <a:chExt cx="0" cy="0"/>
        </a:xfrm>
      </p:grpSpPr>
      <p:sp>
        <p:nvSpPr>
          <p:cNvPr id="1570" name="Google Shape;1570;p19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71" name="Google Shape;1571;p19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2" name="Google Shape;1572;p19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73" name="Google Shape;1573;p199"/>
          <p:cNvSpPr>
            <a:spLocks noGrp="1"/>
          </p:cNvSpPr>
          <p:nvPr>
            <p:ph type="pic" idx="2"/>
          </p:nvPr>
        </p:nvSpPr>
        <p:spPr>
          <a:xfrm>
            <a:off x="7118684" y="233915"/>
            <a:ext cx="5073316" cy="5943600"/>
          </a:xfrm>
          <a:prstGeom prst="rect">
            <a:avLst/>
          </a:prstGeom>
          <a:noFill/>
          <a:ln>
            <a:noFill/>
          </a:ln>
        </p:spPr>
      </p:sp>
      <p:grpSp>
        <p:nvGrpSpPr>
          <p:cNvPr id="1574" name="Google Shape;1574;p199"/>
          <p:cNvGrpSpPr/>
          <p:nvPr/>
        </p:nvGrpSpPr>
        <p:grpSpPr>
          <a:xfrm>
            <a:off x="0" y="5020348"/>
            <a:ext cx="12192000" cy="1837653"/>
            <a:chOff x="0" y="5020348"/>
            <a:chExt cx="12192000" cy="1837653"/>
          </a:xfrm>
        </p:grpSpPr>
        <p:sp>
          <p:nvSpPr>
            <p:cNvPr id="1575" name="Google Shape;1575;p1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76" name="Google Shape;1576;p19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577" name="Google Shape;1577;p1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matchingName="Divider">
  <p:cSld name="Divider 12">
    <p:bg>
      <p:bgPr>
        <a:solidFill>
          <a:schemeClr val="lt2"/>
        </a:solidFill>
        <a:effectLst/>
      </p:bgPr>
    </p:bg>
    <p:spTree>
      <p:nvGrpSpPr>
        <p:cNvPr id="1" name="Shape 1578"/>
        <p:cNvGrpSpPr/>
        <p:nvPr/>
      </p:nvGrpSpPr>
      <p:grpSpPr>
        <a:xfrm>
          <a:off x="0" y="0"/>
          <a:ext cx="0" cy="0"/>
          <a:chOff x="0" y="0"/>
          <a:chExt cx="0" cy="0"/>
        </a:xfrm>
      </p:grpSpPr>
      <p:grpSp>
        <p:nvGrpSpPr>
          <p:cNvPr id="1579" name="Google Shape;1579;p200"/>
          <p:cNvGrpSpPr/>
          <p:nvPr/>
        </p:nvGrpSpPr>
        <p:grpSpPr>
          <a:xfrm>
            <a:off x="0" y="5020347"/>
            <a:ext cx="12192000" cy="1837653"/>
            <a:chOff x="0" y="5020347"/>
            <a:chExt cx="12192000" cy="1837653"/>
          </a:xfrm>
        </p:grpSpPr>
        <p:sp>
          <p:nvSpPr>
            <p:cNvPr id="1580" name="Google Shape;1580;p20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81" name="Google Shape;1581;p2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82" name="Google Shape;1582;p20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583" name="Google Shape;1583;p2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84" name="Google Shape;1584;p20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5" name="Google Shape;1585;p20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matchingName="Photo Slide">
  <p:cSld name="Photo Slide 12">
    <p:spTree>
      <p:nvGrpSpPr>
        <p:cNvPr id="1" name="Shape 1586"/>
        <p:cNvGrpSpPr/>
        <p:nvPr/>
      </p:nvGrpSpPr>
      <p:grpSpPr>
        <a:xfrm>
          <a:off x="0" y="0"/>
          <a:ext cx="0" cy="0"/>
          <a:chOff x="0" y="0"/>
          <a:chExt cx="0" cy="0"/>
        </a:xfrm>
      </p:grpSpPr>
      <p:sp>
        <p:nvSpPr>
          <p:cNvPr id="1587" name="Google Shape;1587;p20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88" name="Google Shape;1588;p20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89" name="Google Shape;1589;p201"/>
          <p:cNvGrpSpPr/>
          <p:nvPr/>
        </p:nvGrpSpPr>
        <p:grpSpPr>
          <a:xfrm>
            <a:off x="0" y="5379426"/>
            <a:ext cx="2807368" cy="753891"/>
            <a:chOff x="0" y="5379426"/>
            <a:chExt cx="2807368" cy="753891"/>
          </a:xfrm>
        </p:grpSpPr>
        <p:sp>
          <p:nvSpPr>
            <p:cNvPr id="1590" name="Google Shape;1590;p20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91" name="Google Shape;1591;p20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592" name="Google Shape;1592;p201"/>
          <p:cNvSpPr>
            <a:spLocks noGrp="1"/>
          </p:cNvSpPr>
          <p:nvPr>
            <p:ph type="pic" idx="2"/>
          </p:nvPr>
        </p:nvSpPr>
        <p:spPr>
          <a:xfrm>
            <a:off x="2807368" y="457202"/>
            <a:ext cx="8915400" cy="5943598"/>
          </a:xfrm>
          <a:prstGeom prst="rect">
            <a:avLst/>
          </a:prstGeom>
          <a:noFill/>
          <a:ln>
            <a:noFill/>
          </a:ln>
        </p:spPr>
      </p:sp>
      <p:pic>
        <p:nvPicPr>
          <p:cNvPr id="1593" name="Google Shape;1593;p20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1594"/>
        <p:cNvGrpSpPr/>
        <p:nvPr/>
      </p:nvGrpSpPr>
      <p:grpSpPr>
        <a:xfrm>
          <a:off x="0" y="0"/>
          <a:ext cx="0" cy="0"/>
          <a:chOff x="0" y="0"/>
          <a:chExt cx="0" cy="0"/>
        </a:xfrm>
      </p:grpSpPr>
      <p:sp>
        <p:nvSpPr>
          <p:cNvPr id="1595" name="Google Shape;1595;p2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96" name="Google Shape;1596;p2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7" name="Google Shape;1597;p2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8" name="Google Shape;1598;p2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99" name="Google Shape;1599;p2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00" name="Google Shape;1600;p2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01" name="Google Shape;1601;p202"/>
          <p:cNvGrpSpPr/>
          <p:nvPr/>
        </p:nvGrpSpPr>
        <p:grpSpPr>
          <a:xfrm>
            <a:off x="7191542" y="1"/>
            <a:ext cx="5000459" cy="1425992"/>
            <a:chOff x="7191542" y="1"/>
            <a:chExt cx="5000459" cy="1425992"/>
          </a:xfrm>
        </p:grpSpPr>
        <p:pic>
          <p:nvPicPr>
            <p:cNvPr id="1602" name="Google Shape;1602;p2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03" name="Google Shape;1603;p202"/>
            <p:cNvGrpSpPr/>
            <p:nvPr/>
          </p:nvGrpSpPr>
          <p:grpSpPr>
            <a:xfrm>
              <a:off x="7191542" y="1"/>
              <a:ext cx="5000459" cy="1425992"/>
              <a:chOff x="7186272" y="0"/>
              <a:chExt cx="5005729" cy="1427495"/>
            </a:xfrm>
          </p:grpSpPr>
          <p:sp>
            <p:nvSpPr>
              <p:cNvPr id="1604" name="Google Shape;1604;p2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05" name="Google Shape;1605;p2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606" name="Google Shape;1606;p20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matchingName="Title and Content">
  <p:cSld name="Title and Content 12">
    <p:spTree>
      <p:nvGrpSpPr>
        <p:cNvPr id="1" name="Shape 1607"/>
        <p:cNvGrpSpPr/>
        <p:nvPr/>
      </p:nvGrpSpPr>
      <p:grpSpPr>
        <a:xfrm>
          <a:off x="0" y="0"/>
          <a:ext cx="0" cy="0"/>
          <a:chOff x="0" y="0"/>
          <a:chExt cx="0" cy="0"/>
        </a:xfrm>
      </p:grpSpPr>
      <p:grpSp>
        <p:nvGrpSpPr>
          <p:cNvPr id="1608" name="Google Shape;1608;p203"/>
          <p:cNvGrpSpPr/>
          <p:nvPr/>
        </p:nvGrpSpPr>
        <p:grpSpPr>
          <a:xfrm>
            <a:off x="7191542" y="1"/>
            <a:ext cx="5000459" cy="1425992"/>
            <a:chOff x="7191542" y="1"/>
            <a:chExt cx="5000459" cy="1425992"/>
          </a:xfrm>
        </p:grpSpPr>
        <p:pic>
          <p:nvPicPr>
            <p:cNvPr id="1609" name="Google Shape;1609;p2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10" name="Google Shape;1610;p203"/>
            <p:cNvGrpSpPr/>
            <p:nvPr/>
          </p:nvGrpSpPr>
          <p:grpSpPr>
            <a:xfrm>
              <a:off x="7191542" y="1"/>
              <a:ext cx="5000459" cy="1425992"/>
              <a:chOff x="7186272" y="0"/>
              <a:chExt cx="5005729" cy="1427495"/>
            </a:xfrm>
          </p:grpSpPr>
          <p:sp>
            <p:nvSpPr>
              <p:cNvPr id="1611" name="Google Shape;1611;p2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12" name="Google Shape;1612;p2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13" name="Google Shape;1613;p2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4" name="Google Shape;1614;p20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15" name="Google Shape;1615;p2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16" name="Google Shape;1616;p2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17" name="Google Shape;1617;p2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matchingName="Two Content">
  <p:cSld name="Two Content 11">
    <p:spTree>
      <p:nvGrpSpPr>
        <p:cNvPr id="1" name="Shape 1618"/>
        <p:cNvGrpSpPr/>
        <p:nvPr/>
      </p:nvGrpSpPr>
      <p:grpSpPr>
        <a:xfrm>
          <a:off x="0" y="0"/>
          <a:ext cx="0" cy="0"/>
          <a:chOff x="0" y="0"/>
          <a:chExt cx="0" cy="0"/>
        </a:xfrm>
      </p:grpSpPr>
      <p:sp>
        <p:nvSpPr>
          <p:cNvPr id="1619" name="Google Shape;1619;p2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0" name="Google Shape;1620;p20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621" name="Google Shape;1621;p204"/>
          <p:cNvGrpSpPr/>
          <p:nvPr/>
        </p:nvGrpSpPr>
        <p:grpSpPr>
          <a:xfrm>
            <a:off x="7191542" y="1"/>
            <a:ext cx="5000459" cy="1425992"/>
            <a:chOff x="7191542" y="1"/>
            <a:chExt cx="5000459" cy="1425992"/>
          </a:xfrm>
        </p:grpSpPr>
        <p:pic>
          <p:nvPicPr>
            <p:cNvPr id="1622" name="Google Shape;1622;p2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23" name="Google Shape;1623;p204"/>
            <p:cNvGrpSpPr/>
            <p:nvPr/>
          </p:nvGrpSpPr>
          <p:grpSpPr>
            <a:xfrm>
              <a:off x="7191542" y="1"/>
              <a:ext cx="5000459" cy="1425992"/>
              <a:chOff x="7186272" y="0"/>
              <a:chExt cx="5005729" cy="1427495"/>
            </a:xfrm>
          </p:grpSpPr>
          <p:sp>
            <p:nvSpPr>
              <p:cNvPr id="1624" name="Google Shape;1624;p2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25" name="Google Shape;1625;p2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26" name="Google Shape;1626;p20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7" name="Google Shape;1627;p20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28" name="Google Shape;1628;p2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29" name="Google Shape;1629;p2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1630"/>
        <p:cNvGrpSpPr/>
        <p:nvPr/>
      </p:nvGrpSpPr>
      <p:grpSpPr>
        <a:xfrm>
          <a:off x="0" y="0"/>
          <a:ext cx="0" cy="0"/>
          <a:chOff x="0" y="0"/>
          <a:chExt cx="0" cy="0"/>
        </a:xfrm>
      </p:grpSpPr>
      <p:grpSp>
        <p:nvGrpSpPr>
          <p:cNvPr id="1631" name="Google Shape;1631;p205"/>
          <p:cNvGrpSpPr/>
          <p:nvPr/>
        </p:nvGrpSpPr>
        <p:grpSpPr>
          <a:xfrm>
            <a:off x="7191542" y="1"/>
            <a:ext cx="5000459" cy="1425992"/>
            <a:chOff x="7191542" y="1"/>
            <a:chExt cx="5000459" cy="1425992"/>
          </a:xfrm>
        </p:grpSpPr>
        <p:pic>
          <p:nvPicPr>
            <p:cNvPr id="1632" name="Google Shape;1632;p2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33" name="Google Shape;1633;p205"/>
            <p:cNvGrpSpPr/>
            <p:nvPr/>
          </p:nvGrpSpPr>
          <p:grpSpPr>
            <a:xfrm>
              <a:off x="7191542" y="1"/>
              <a:ext cx="5000459" cy="1425992"/>
              <a:chOff x="7186272" y="0"/>
              <a:chExt cx="5005729" cy="1427495"/>
            </a:xfrm>
          </p:grpSpPr>
          <p:sp>
            <p:nvSpPr>
              <p:cNvPr id="1634" name="Google Shape;1634;p2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35" name="Google Shape;1635;p2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36" name="Google Shape;1636;p2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7" name="Google Shape;1637;p20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38" name="Google Shape;1638;p20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9" name="Google Shape;1639;p20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40" name="Google Shape;1640;p20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1" name="Google Shape;1641;p2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42" name="Google Shape;1642;p2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43" name="Google Shape;1643;p2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1644"/>
        <p:cNvGrpSpPr/>
        <p:nvPr/>
      </p:nvGrpSpPr>
      <p:grpSpPr>
        <a:xfrm>
          <a:off x="0" y="0"/>
          <a:ext cx="0" cy="0"/>
          <a:chOff x="0" y="0"/>
          <a:chExt cx="0" cy="0"/>
        </a:xfrm>
      </p:grpSpPr>
      <p:grpSp>
        <p:nvGrpSpPr>
          <p:cNvPr id="1645" name="Google Shape;1645;p206"/>
          <p:cNvGrpSpPr/>
          <p:nvPr/>
        </p:nvGrpSpPr>
        <p:grpSpPr>
          <a:xfrm>
            <a:off x="7191542" y="1"/>
            <a:ext cx="5000459" cy="1425992"/>
            <a:chOff x="7191542" y="1"/>
            <a:chExt cx="5000459" cy="1425992"/>
          </a:xfrm>
        </p:grpSpPr>
        <p:pic>
          <p:nvPicPr>
            <p:cNvPr id="1646" name="Google Shape;1646;p2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47" name="Google Shape;1647;p206"/>
            <p:cNvGrpSpPr/>
            <p:nvPr/>
          </p:nvGrpSpPr>
          <p:grpSpPr>
            <a:xfrm>
              <a:off x="7191542" y="1"/>
              <a:ext cx="5000459" cy="1425992"/>
              <a:chOff x="7186272" y="0"/>
              <a:chExt cx="5005729" cy="1427495"/>
            </a:xfrm>
          </p:grpSpPr>
          <p:sp>
            <p:nvSpPr>
              <p:cNvPr id="1648" name="Google Shape;1648;p2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49" name="Google Shape;1649;p2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50" name="Google Shape;1650;p2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1" name="Google Shape;1651;p2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52" name="Google Shape;1652;p2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53" name="Google Shape;1653;p2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1654"/>
        <p:cNvGrpSpPr/>
        <p:nvPr/>
      </p:nvGrpSpPr>
      <p:grpSpPr>
        <a:xfrm>
          <a:off x="0" y="0"/>
          <a:ext cx="0" cy="0"/>
          <a:chOff x="0" y="0"/>
          <a:chExt cx="0" cy="0"/>
        </a:xfrm>
      </p:grpSpPr>
      <p:grpSp>
        <p:nvGrpSpPr>
          <p:cNvPr id="1655" name="Google Shape;1655;p207"/>
          <p:cNvGrpSpPr/>
          <p:nvPr/>
        </p:nvGrpSpPr>
        <p:grpSpPr>
          <a:xfrm>
            <a:off x="0" y="0"/>
            <a:ext cx="12192000" cy="2148830"/>
            <a:chOff x="0" y="0"/>
            <a:chExt cx="12192000" cy="2148830"/>
          </a:xfrm>
        </p:grpSpPr>
        <p:sp>
          <p:nvSpPr>
            <p:cNvPr id="1656" name="Google Shape;1656;p20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57" name="Google Shape;1657;p20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658" name="Google Shape;1658;p20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59" name="Google Shape;1659;p20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20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61" name="Google Shape;1661;p20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662" name="Google Shape;1662;p20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882342115"/>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matchingName="Blank">
  <p:cSld name="Blank 10">
    <p:spTree>
      <p:nvGrpSpPr>
        <p:cNvPr id="1" name="Shape 1663"/>
        <p:cNvGrpSpPr/>
        <p:nvPr/>
      </p:nvGrpSpPr>
      <p:grpSpPr>
        <a:xfrm>
          <a:off x="0" y="0"/>
          <a:ext cx="0" cy="0"/>
          <a:chOff x="0" y="0"/>
          <a:chExt cx="0" cy="0"/>
        </a:xfrm>
      </p:grpSpPr>
      <p:sp>
        <p:nvSpPr>
          <p:cNvPr id="1664" name="Google Shape;1664;p2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65" name="Google Shape;1665;p2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66" name="Google Shape;1666;p2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7" name="Google Shape;1667;p208"/>
          <p:cNvGrpSpPr/>
          <p:nvPr/>
        </p:nvGrpSpPr>
        <p:grpSpPr>
          <a:xfrm>
            <a:off x="7191542" y="1"/>
            <a:ext cx="5000459" cy="1425992"/>
            <a:chOff x="7191542" y="1"/>
            <a:chExt cx="5000459" cy="1425992"/>
          </a:xfrm>
        </p:grpSpPr>
        <p:pic>
          <p:nvPicPr>
            <p:cNvPr id="1668" name="Google Shape;1668;p2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69" name="Google Shape;1669;p208"/>
            <p:cNvGrpSpPr/>
            <p:nvPr/>
          </p:nvGrpSpPr>
          <p:grpSpPr>
            <a:xfrm>
              <a:off x="7191542" y="1"/>
              <a:ext cx="5000459" cy="1425992"/>
              <a:chOff x="7186272" y="0"/>
              <a:chExt cx="5005729" cy="1427495"/>
            </a:xfrm>
          </p:grpSpPr>
          <p:sp>
            <p:nvSpPr>
              <p:cNvPr id="1670" name="Google Shape;1670;p2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71" name="Google Shape;1671;p2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672"/>
        <p:cNvGrpSpPr/>
        <p:nvPr/>
      </p:nvGrpSpPr>
      <p:grpSpPr>
        <a:xfrm>
          <a:off x="0" y="0"/>
          <a:ext cx="0" cy="0"/>
          <a:chOff x="0" y="0"/>
          <a:chExt cx="0" cy="0"/>
        </a:xfrm>
      </p:grpSpPr>
      <p:sp>
        <p:nvSpPr>
          <p:cNvPr id="1673" name="Google Shape;1673;p209"/>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674" name="Google Shape;1674;p2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675" name="Google Shape;1675;p209"/>
          <p:cNvGrpSpPr/>
          <p:nvPr/>
        </p:nvGrpSpPr>
        <p:grpSpPr>
          <a:xfrm>
            <a:off x="0" y="0"/>
            <a:ext cx="1862667" cy="6629400"/>
            <a:chOff x="-15876" y="0"/>
            <a:chExt cx="1927803" cy="6858000"/>
          </a:xfrm>
        </p:grpSpPr>
        <p:sp>
          <p:nvSpPr>
            <p:cNvPr id="1676" name="Google Shape;1676;p209"/>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677" name="Google Shape;1677;p209"/>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678" name="Google Shape;1678;p209"/>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79" name="Google Shape;1679;p209"/>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0" name="Google Shape;1680;p209"/>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209"/>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682"/>
        <p:cNvGrpSpPr/>
        <p:nvPr/>
      </p:nvGrpSpPr>
      <p:grpSpPr>
        <a:xfrm>
          <a:off x="0" y="0"/>
          <a:ext cx="0" cy="0"/>
          <a:chOff x="0" y="0"/>
          <a:chExt cx="0" cy="0"/>
        </a:xfrm>
      </p:grpSpPr>
      <p:sp>
        <p:nvSpPr>
          <p:cNvPr id="1683" name="Google Shape;1683;p210"/>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684" name="Google Shape;1684;p210"/>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5" name="Google Shape;1685;p210"/>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210"/>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7" name="Google Shape;1687;p2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88" name="Google Shape;1688;p210"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1689"/>
        <p:cNvGrpSpPr/>
        <p:nvPr/>
      </p:nvGrpSpPr>
      <p:grpSpPr>
        <a:xfrm>
          <a:off x="0" y="0"/>
          <a:ext cx="0" cy="0"/>
          <a:chOff x="0" y="0"/>
          <a:chExt cx="0" cy="0"/>
        </a:xfrm>
      </p:grpSpPr>
      <p:sp>
        <p:nvSpPr>
          <p:cNvPr id="1690" name="Google Shape;1690;p21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1" name="Google Shape;1691;p21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2" name="Google Shape;1692;p21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693" name="Google Shape;1693;p2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4" name="Google Shape;1694;p2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695" name="Google Shape;1695;p21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696" name="Google Shape;1696;p21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697" name="Google Shape;1697;p21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98" name="Google Shape;1698;p21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2">
    <p:spTree>
      <p:nvGrpSpPr>
        <p:cNvPr id="1" name="Shape 1699"/>
        <p:cNvGrpSpPr/>
        <p:nvPr/>
      </p:nvGrpSpPr>
      <p:grpSpPr>
        <a:xfrm>
          <a:off x="0" y="0"/>
          <a:ext cx="0" cy="0"/>
          <a:chOff x="0" y="0"/>
          <a:chExt cx="0" cy="0"/>
        </a:xfrm>
      </p:grpSpPr>
      <p:sp>
        <p:nvSpPr>
          <p:cNvPr id="1700" name="Google Shape;1700;p212"/>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701" name="Google Shape;1701;p2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702" name="Google Shape;1702;p212"/>
          <p:cNvGrpSpPr/>
          <p:nvPr/>
        </p:nvGrpSpPr>
        <p:grpSpPr>
          <a:xfrm>
            <a:off x="0" y="0"/>
            <a:ext cx="1862667" cy="6629400"/>
            <a:chOff x="-15876" y="0"/>
            <a:chExt cx="1927803" cy="6858000"/>
          </a:xfrm>
        </p:grpSpPr>
        <p:sp>
          <p:nvSpPr>
            <p:cNvPr id="1703" name="Google Shape;1703;p212"/>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704" name="Google Shape;1704;p212"/>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705" name="Google Shape;1705;p212"/>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06" name="Google Shape;1706;p212"/>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7" name="Google Shape;1707;p212"/>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8" name="Google Shape;1708;p212"/>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2">
    <p:spTree>
      <p:nvGrpSpPr>
        <p:cNvPr id="1" name="Shape 1709"/>
        <p:cNvGrpSpPr/>
        <p:nvPr/>
      </p:nvGrpSpPr>
      <p:grpSpPr>
        <a:xfrm>
          <a:off x="0" y="0"/>
          <a:ext cx="0" cy="0"/>
          <a:chOff x="0" y="0"/>
          <a:chExt cx="0" cy="0"/>
        </a:xfrm>
      </p:grpSpPr>
      <p:sp>
        <p:nvSpPr>
          <p:cNvPr id="1710" name="Google Shape;1710;p213"/>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711" name="Google Shape;1711;p213"/>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2" name="Google Shape;1712;p213"/>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3" name="Google Shape;1713;p213"/>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4" name="Google Shape;1714;p2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15" name="Google Shape;1715;p213"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1" y="5969000"/>
            <a:ext cx="3704343" cy="651933"/>
          </a:xfrm>
          <a:prstGeom prst="rect">
            <a:avLst/>
          </a:prstGeom>
          <a:noFill/>
          <a:ln>
            <a:noFill/>
          </a:ln>
        </p:spPr>
      </p:pic>
    </p:spTree>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matchingName="Divider">
  <p:cSld name="Divider 13">
    <p:bg>
      <p:bgPr>
        <a:solidFill>
          <a:schemeClr val="lt2"/>
        </a:solidFill>
        <a:effectLst/>
      </p:bgPr>
    </p:bg>
    <p:spTree>
      <p:nvGrpSpPr>
        <p:cNvPr id="1" name="Shape 1716"/>
        <p:cNvGrpSpPr/>
        <p:nvPr/>
      </p:nvGrpSpPr>
      <p:grpSpPr>
        <a:xfrm>
          <a:off x="0" y="0"/>
          <a:ext cx="0" cy="0"/>
          <a:chOff x="0" y="0"/>
          <a:chExt cx="0" cy="0"/>
        </a:xfrm>
      </p:grpSpPr>
      <p:grpSp>
        <p:nvGrpSpPr>
          <p:cNvPr id="1717" name="Google Shape;1717;p214"/>
          <p:cNvGrpSpPr/>
          <p:nvPr/>
        </p:nvGrpSpPr>
        <p:grpSpPr>
          <a:xfrm>
            <a:off x="0" y="5020347"/>
            <a:ext cx="12192000" cy="1837653"/>
            <a:chOff x="0" y="5020347"/>
            <a:chExt cx="12192000" cy="1837653"/>
          </a:xfrm>
        </p:grpSpPr>
        <p:sp>
          <p:nvSpPr>
            <p:cNvPr id="1718" name="Google Shape;1718;p21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19" name="Google Shape;1719;p2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20" name="Google Shape;1720;p21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721" name="Google Shape;1721;p2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722" name="Google Shape;1722;p21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3" name="Google Shape;1723;p21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1724"/>
        <p:cNvGrpSpPr/>
        <p:nvPr/>
      </p:nvGrpSpPr>
      <p:grpSpPr>
        <a:xfrm>
          <a:off x="0" y="0"/>
          <a:ext cx="0" cy="0"/>
          <a:chOff x="0" y="0"/>
          <a:chExt cx="0" cy="0"/>
        </a:xfrm>
      </p:grpSpPr>
      <p:sp>
        <p:nvSpPr>
          <p:cNvPr id="1725" name="Google Shape;1725;p21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26" name="Google Shape;1726;p21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27" name="Google Shape;1727;p215"/>
          <p:cNvGrpSpPr/>
          <p:nvPr/>
        </p:nvGrpSpPr>
        <p:grpSpPr>
          <a:xfrm>
            <a:off x="0" y="5379426"/>
            <a:ext cx="2807368" cy="753891"/>
            <a:chOff x="0" y="5379426"/>
            <a:chExt cx="2807368" cy="753891"/>
          </a:xfrm>
        </p:grpSpPr>
        <p:sp>
          <p:nvSpPr>
            <p:cNvPr id="1728" name="Google Shape;1728;p21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29" name="Google Shape;1729;p21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730" name="Google Shape;1730;p215"/>
          <p:cNvSpPr>
            <a:spLocks noGrp="1"/>
          </p:cNvSpPr>
          <p:nvPr>
            <p:ph type="pic" idx="2"/>
          </p:nvPr>
        </p:nvSpPr>
        <p:spPr>
          <a:xfrm>
            <a:off x="2807368" y="457202"/>
            <a:ext cx="8915400" cy="5943598"/>
          </a:xfrm>
          <a:prstGeom prst="rect">
            <a:avLst/>
          </a:prstGeom>
          <a:noFill/>
          <a:ln>
            <a:noFill/>
          </a:ln>
        </p:spPr>
      </p:sp>
      <p:pic>
        <p:nvPicPr>
          <p:cNvPr id="1731" name="Google Shape;1731;p21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1732"/>
        <p:cNvGrpSpPr/>
        <p:nvPr/>
      </p:nvGrpSpPr>
      <p:grpSpPr>
        <a:xfrm>
          <a:off x="0" y="0"/>
          <a:ext cx="0" cy="0"/>
          <a:chOff x="0" y="0"/>
          <a:chExt cx="0" cy="0"/>
        </a:xfrm>
      </p:grpSpPr>
      <p:sp>
        <p:nvSpPr>
          <p:cNvPr id="1733" name="Google Shape;1733;p2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34" name="Google Shape;1734;p2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35" name="Google Shape;1735;p2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36" name="Google Shape;1736;p216"/>
          <p:cNvGrpSpPr/>
          <p:nvPr/>
        </p:nvGrpSpPr>
        <p:grpSpPr>
          <a:xfrm>
            <a:off x="7191542" y="1"/>
            <a:ext cx="5000459" cy="1425992"/>
            <a:chOff x="7191542" y="1"/>
            <a:chExt cx="5000459" cy="1425992"/>
          </a:xfrm>
        </p:grpSpPr>
        <p:pic>
          <p:nvPicPr>
            <p:cNvPr id="1737" name="Google Shape;1737;p2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38" name="Google Shape;1738;p216"/>
            <p:cNvGrpSpPr/>
            <p:nvPr/>
          </p:nvGrpSpPr>
          <p:grpSpPr>
            <a:xfrm>
              <a:off x="7191542" y="1"/>
              <a:ext cx="5000459" cy="1425992"/>
              <a:chOff x="7186272" y="0"/>
              <a:chExt cx="5005729" cy="1427495"/>
            </a:xfrm>
          </p:grpSpPr>
          <p:sp>
            <p:nvSpPr>
              <p:cNvPr id="1739" name="Google Shape;1739;p2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40" name="Google Shape;1740;p2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1741"/>
        <p:cNvGrpSpPr/>
        <p:nvPr/>
      </p:nvGrpSpPr>
      <p:grpSpPr>
        <a:xfrm>
          <a:off x="0" y="0"/>
          <a:ext cx="0" cy="0"/>
          <a:chOff x="0" y="0"/>
          <a:chExt cx="0" cy="0"/>
        </a:xfrm>
      </p:grpSpPr>
      <p:sp>
        <p:nvSpPr>
          <p:cNvPr id="1742" name="Google Shape;1742;p21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43" name="Google Shape;1743;p21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4" name="Google Shape;1744;p2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5" name="Google Shape;1745;p2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46" name="Google Shape;1746;p2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7" name="Google Shape;1747;p2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48" name="Google Shape;1748;p217"/>
          <p:cNvGrpSpPr/>
          <p:nvPr/>
        </p:nvGrpSpPr>
        <p:grpSpPr>
          <a:xfrm>
            <a:off x="7191542" y="1"/>
            <a:ext cx="5000459" cy="1425992"/>
            <a:chOff x="7191542" y="1"/>
            <a:chExt cx="5000459" cy="1425992"/>
          </a:xfrm>
        </p:grpSpPr>
        <p:pic>
          <p:nvPicPr>
            <p:cNvPr id="1749" name="Google Shape;1749;p2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50" name="Google Shape;1750;p217"/>
            <p:cNvGrpSpPr/>
            <p:nvPr/>
          </p:nvGrpSpPr>
          <p:grpSpPr>
            <a:xfrm>
              <a:off x="7191542" y="1"/>
              <a:ext cx="5000459" cy="1425992"/>
              <a:chOff x="7186272" y="0"/>
              <a:chExt cx="5005729" cy="1427495"/>
            </a:xfrm>
          </p:grpSpPr>
          <p:sp>
            <p:nvSpPr>
              <p:cNvPr id="1751" name="Google Shape;1751;p2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52" name="Google Shape;1752;p2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753" name="Google Shape;1753;p21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14054778"/>
      </p:ext>
    </p:extLst>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1754"/>
        <p:cNvGrpSpPr/>
        <p:nvPr/>
      </p:nvGrpSpPr>
      <p:grpSpPr>
        <a:xfrm>
          <a:off x="0" y="0"/>
          <a:ext cx="0" cy="0"/>
          <a:chOff x="0" y="0"/>
          <a:chExt cx="0" cy="0"/>
        </a:xfrm>
      </p:grpSpPr>
      <p:sp>
        <p:nvSpPr>
          <p:cNvPr id="1755" name="Google Shape;1755;p2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6" name="Google Shape;1756;p21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57" name="Google Shape;1757;p218"/>
          <p:cNvGrpSpPr/>
          <p:nvPr/>
        </p:nvGrpSpPr>
        <p:grpSpPr>
          <a:xfrm>
            <a:off x="7191542" y="1"/>
            <a:ext cx="5000459" cy="1425992"/>
            <a:chOff x="7191542" y="1"/>
            <a:chExt cx="5000459" cy="1425992"/>
          </a:xfrm>
        </p:grpSpPr>
        <p:pic>
          <p:nvPicPr>
            <p:cNvPr id="1758" name="Google Shape;1758;p2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59" name="Google Shape;1759;p218"/>
            <p:cNvGrpSpPr/>
            <p:nvPr/>
          </p:nvGrpSpPr>
          <p:grpSpPr>
            <a:xfrm>
              <a:off x="7191542" y="1"/>
              <a:ext cx="5000459" cy="1425992"/>
              <a:chOff x="7186272" y="0"/>
              <a:chExt cx="5005729" cy="1427495"/>
            </a:xfrm>
          </p:grpSpPr>
          <p:sp>
            <p:nvSpPr>
              <p:cNvPr id="1760" name="Google Shape;1760;p2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61" name="Google Shape;1761;p2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62" name="Google Shape;1762;p21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3" name="Google Shape;1763;p21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64" name="Google Shape;1764;p2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5" name="Google Shape;1765;p2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1766"/>
        <p:cNvGrpSpPr/>
        <p:nvPr/>
      </p:nvGrpSpPr>
      <p:grpSpPr>
        <a:xfrm>
          <a:off x="0" y="0"/>
          <a:ext cx="0" cy="0"/>
          <a:chOff x="0" y="0"/>
          <a:chExt cx="0" cy="0"/>
        </a:xfrm>
      </p:grpSpPr>
      <p:grpSp>
        <p:nvGrpSpPr>
          <p:cNvPr id="1767" name="Google Shape;1767;p219"/>
          <p:cNvGrpSpPr/>
          <p:nvPr/>
        </p:nvGrpSpPr>
        <p:grpSpPr>
          <a:xfrm>
            <a:off x="7191542" y="1"/>
            <a:ext cx="5000459" cy="1425992"/>
            <a:chOff x="7191542" y="1"/>
            <a:chExt cx="5000459" cy="1425992"/>
          </a:xfrm>
        </p:grpSpPr>
        <p:pic>
          <p:nvPicPr>
            <p:cNvPr id="1768" name="Google Shape;1768;p2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69" name="Google Shape;1769;p219"/>
            <p:cNvGrpSpPr/>
            <p:nvPr/>
          </p:nvGrpSpPr>
          <p:grpSpPr>
            <a:xfrm>
              <a:off x="7191542" y="1"/>
              <a:ext cx="5000459" cy="1425992"/>
              <a:chOff x="7186272" y="0"/>
              <a:chExt cx="5005729" cy="1427495"/>
            </a:xfrm>
          </p:grpSpPr>
          <p:sp>
            <p:nvSpPr>
              <p:cNvPr id="1770" name="Google Shape;1770;p2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71" name="Google Shape;1771;p2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72" name="Google Shape;1772;p2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3" name="Google Shape;1773;p21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4" name="Google Shape;1774;p21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5" name="Google Shape;1775;p21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6" name="Google Shape;1776;p21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7" name="Google Shape;1777;p2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78" name="Google Shape;1778;p2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79" name="Google Shape;1779;p2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1780"/>
        <p:cNvGrpSpPr/>
        <p:nvPr/>
      </p:nvGrpSpPr>
      <p:grpSpPr>
        <a:xfrm>
          <a:off x="0" y="0"/>
          <a:ext cx="0" cy="0"/>
          <a:chOff x="0" y="0"/>
          <a:chExt cx="0" cy="0"/>
        </a:xfrm>
      </p:grpSpPr>
      <p:grpSp>
        <p:nvGrpSpPr>
          <p:cNvPr id="1781" name="Google Shape;1781;p220"/>
          <p:cNvGrpSpPr/>
          <p:nvPr/>
        </p:nvGrpSpPr>
        <p:grpSpPr>
          <a:xfrm>
            <a:off x="7191542" y="1"/>
            <a:ext cx="5000459" cy="1425992"/>
            <a:chOff x="7191542" y="1"/>
            <a:chExt cx="5000459" cy="1425992"/>
          </a:xfrm>
        </p:grpSpPr>
        <p:pic>
          <p:nvPicPr>
            <p:cNvPr id="1782" name="Google Shape;1782;p2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83" name="Google Shape;1783;p220"/>
            <p:cNvGrpSpPr/>
            <p:nvPr/>
          </p:nvGrpSpPr>
          <p:grpSpPr>
            <a:xfrm>
              <a:off x="7191542" y="1"/>
              <a:ext cx="5000459" cy="1425992"/>
              <a:chOff x="7186272" y="0"/>
              <a:chExt cx="5005729" cy="1427495"/>
            </a:xfrm>
          </p:grpSpPr>
          <p:sp>
            <p:nvSpPr>
              <p:cNvPr id="1784" name="Google Shape;1784;p2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85" name="Google Shape;1785;p2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86" name="Google Shape;1786;p2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7" name="Google Shape;1787;p2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88" name="Google Shape;1788;p2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9" name="Google Shape;1789;p2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1790"/>
        <p:cNvGrpSpPr/>
        <p:nvPr/>
      </p:nvGrpSpPr>
      <p:grpSpPr>
        <a:xfrm>
          <a:off x="0" y="0"/>
          <a:ext cx="0" cy="0"/>
          <a:chOff x="0" y="0"/>
          <a:chExt cx="0" cy="0"/>
        </a:xfrm>
      </p:grpSpPr>
      <p:grpSp>
        <p:nvGrpSpPr>
          <p:cNvPr id="1791" name="Google Shape;1791;p221"/>
          <p:cNvGrpSpPr/>
          <p:nvPr/>
        </p:nvGrpSpPr>
        <p:grpSpPr>
          <a:xfrm>
            <a:off x="0" y="0"/>
            <a:ext cx="12192000" cy="2148830"/>
            <a:chOff x="0" y="0"/>
            <a:chExt cx="12192000" cy="2148830"/>
          </a:xfrm>
        </p:grpSpPr>
        <p:sp>
          <p:nvSpPr>
            <p:cNvPr id="1792" name="Google Shape;1792;p22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93" name="Google Shape;1793;p22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794" name="Google Shape;1794;p22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95" name="Google Shape;1795;p22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6" name="Google Shape;1796;p22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97" name="Google Shape;1797;p2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798" name="Google Shape;1798;p22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1799"/>
        <p:cNvGrpSpPr/>
        <p:nvPr/>
      </p:nvGrpSpPr>
      <p:grpSpPr>
        <a:xfrm>
          <a:off x="0" y="0"/>
          <a:ext cx="0" cy="0"/>
          <a:chOff x="0" y="0"/>
          <a:chExt cx="0" cy="0"/>
        </a:xfrm>
      </p:grpSpPr>
      <p:sp>
        <p:nvSpPr>
          <p:cNvPr id="1800" name="Google Shape;1800;p2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01" name="Google Shape;1801;p2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2" name="Google Shape;1802;p2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03" name="Google Shape;1803;p222"/>
          <p:cNvGrpSpPr/>
          <p:nvPr/>
        </p:nvGrpSpPr>
        <p:grpSpPr>
          <a:xfrm>
            <a:off x="7191542" y="1"/>
            <a:ext cx="5000459" cy="1425992"/>
            <a:chOff x="7191542" y="1"/>
            <a:chExt cx="5000459" cy="1425992"/>
          </a:xfrm>
        </p:grpSpPr>
        <p:pic>
          <p:nvPicPr>
            <p:cNvPr id="1804" name="Google Shape;1804;p22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05" name="Google Shape;1805;p222"/>
            <p:cNvGrpSpPr/>
            <p:nvPr/>
          </p:nvGrpSpPr>
          <p:grpSpPr>
            <a:xfrm>
              <a:off x="7191542" y="1"/>
              <a:ext cx="5000459" cy="1425992"/>
              <a:chOff x="7186272" y="0"/>
              <a:chExt cx="5005729" cy="1427495"/>
            </a:xfrm>
          </p:grpSpPr>
          <p:sp>
            <p:nvSpPr>
              <p:cNvPr id="1806" name="Google Shape;1806;p2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07" name="Google Shape;1807;p2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1808"/>
        <p:cNvGrpSpPr/>
        <p:nvPr/>
      </p:nvGrpSpPr>
      <p:grpSpPr>
        <a:xfrm>
          <a:off x="0" y="0"/>
          <a:ext cx="0" cy="0"/>
          <a:chOff x="0" y="0"/>
          <a:chExt cx="0" cy="0"/>
        </a:xfrm>
      </p:grpSpPr>
      <p:sp>
        <p:nvSpPr>
          <p:cNvPr id="1809" name="Google Shape;1809;p22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10" name="Google Shape;1810;p22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1" name="Google Shape;1811;p22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2" name="Google Shape;1812;p2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3" name="Google Shape;1813;p2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4" name="Google Shape;1814;p2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15" name="Google Shape;1815;p223"/>
          <p:cNvGrpSpPr/>
          <p:nvPr/>
        </p:nvGrpSpPr>
        <p:grpSpPr>
          <a:xfrm>
            <a:off x="7191542" y="1"/>
            <a:ext cx="5000459" cy="1425992"/>
            <a:chOff x="7191542" y="1"/>
            <a:chExt cx="5000459" cy="1425992"/>
          </a:xfrm>
        </p:grpSpPr>
        <p:pic>
          <p:nvPicPr>
            <p:cNvPr id="1816" name="Google Shape;1816;p2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17" name="Google Shape;1817;p223"/>
            <p:cNvGrpSpPr/>
            <p:nvPr/>
          </p:nvGrpSpPr>
          <p:grpSpPr>
            <a:xfrm>
              <a:off x="7191542" y="1"/>
              <a:ext cx="5000459" cy="1425992"/>
              <a:chOff x="7186272" y="0"/>
              <a:chExt cx="5005729" cy="1427495"/>
            </a:xfrm>
          </p:grpSpPr>
          <p:sp>
            <p:nvSpPr>
              <p:cNvPr id="1818" name="Google Shape;1818;p2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19" name="Google Shape;1819;p2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20" name="Google Shape;1820;p22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matchingName="Cover B">
  <p:cSld name="Cover B 3">
    <p:spTree>
      <p:nvGrpSpPr>
        <p:cNvPr id="1" name="Shape 1821"/>
        <p:cNvGrpSpPr/>
        <p:nvPr/>
      </p:nvGrpSpPr>
      <p:grpSpPr>
        <a:xfrm>
          <a:off x="0" y="0"/>
          <a:ext cx="0" cy="0"/>
          <a:chOff x="0" y="0"/>
          <a:chExt cx="0" cy="0"/>
        </a:xfrm>
      </p:grpSpPr>
      <p:sp>
        <p:nvSpPr>
          <p:cNvPr id="1822" name="Google Shape;1822;p22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3" name="Google Shape;1823;p22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824" name="Google Shape;1824;p224"/>
          <p:cNvGrpSpPr/>
          <p:nvPr/>
        </p:nvGrpSpPr>
        <p:grpSpPr>
          <a:xfrm flipH="1">
            <a:off x="-1" y="1"/>
            <a:ext cx="6418725" cy="1509822"/>
            <a:chOff x="7522541" y="1"/>
            <a:chExt cx="4669459" cy="1098357"/>
          </a:xfrm>
        </p:grpSpPr>
        <p:sp>
          <p:nvSpPr>
            <p:cNvPr id="1825" name="Google Shape;1825;p22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26" name="Google Shape;1826;p22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1827" name="Google Shape;1827;p2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1828"/>
        <p:cNvGrpSpPr/>
        <p:nvPr/>
      </p:nvGrpSpPr>
      <p:grpSpPr>
        <a:xfrm>
          <a:off x="0" y="0"/>
          <a:ext cx="0" cy="0"/>
          <a:chOff x="0" y="0"/>
          <a:chExt cx="0" cy="0"/>
        </a:xfrm>
      </p:grpSpPr>
      <p:sp>
        <p:nvSpPr>
          <p:cNvPr id="1829" name="Google Shape;1829;p22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30" name="Google Shape;1830;p22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1" name="Google Shape;1831;p22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32" name="Google Shape;1832;p225"/>
          <p:cNvSpPr>
            <a:spLocks noGrp="1"/>
          </p:cNvSpPr>
          <p:nvPr>
            <p:ph type="pic" idx="2"/>
          </p:nvPr>
        </p:nvSpPr>
        <p:spPr>
          <a:xfrm>
            <a:off x="7118684" y="233915"/>
            <a:ext cx="5073316" cy="5943600"/>
          </a:xfrm>
          <a:prstGeom prst="rect">
            <a:avLst/>
          </a:prstGeom>
          <a:noFill/>
          <a:ln>
            <a:noFill/>
          </a:ln>
        </p:spPr>
      </p:sp>
      <p:grpSp>
        <p:nvGrpSpPr>
          <p:cNvPr id="1833" name="Google Shape;1833;p225"/>
          <p:cNvGrpSpPr/>
          <p:nvPr/>
        </p:nvGrpSpPr>
        <p:grpSpPr>
          <a:xfrm>
            <a:off x="0" y="5020348"/>
            <a:ext cx="12192000" cy="1837653"/>
            <a:chOff x="0" y="5020348"/>
            <a:chExt cx="12192000" cy="1837653"/>
          </a:xfrm>
        </p:grpSpPr>
        <p:sp>
          <p:nvSpPr>
            <p:cNvPr id="1834" name="Google Shape;1834;p22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35" name="Google Shape;1835;p22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836" name="Google Shape;1836;p22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matchingName="Divider">
  <p:cSld name="Divider 14">
    <p:bg>
      <p:bgPr>
        <a:solidFill>
          <a:schemeClr val="lt2"/>
        </a:solidFill>
        <a:effectLst/>
      </p:bgPr>
    </p:bg>
    <p:spTree>
      <p:nvGrpSpPr>
        <p:cNvPr id="1" name="Shape 1837"/>
        <p:cNvGrpSpPr/>
        <p:nvPr/>
      </p:nvGrpSpPr>
      <p:grpSpPr>
        <a:xfrm>
          <a:off x="0" y="0"/>
          <a:ext cx="0" cy="0"/>
          <a:chOff x="0" y="0"/>
          <a:chExt cx="0" cy="0"/>
        </a:xfrm>
      </p:grpSpPr>
      <p:grpSp>
        <p:nvGrpSpPr>
          <p:cNvPr id="1838" name="Google Shape;1838;p226"/>
          <p:cNvGrpSpPr/>
          <p:nvPr/>
        </p:nvGrpSpPr>
        <p:grpSpPr>
          <a:xfrm>
            <a:off x="0" y="5020347"/>
            <a:ext cx="12192000" cy="1837653"/>
            <a:chOff x="0" y="5020347"/>
            <a:chExt cx="12192000" cy="1837653"/>
          </a:xfrm>
        </p:grpSpPr>
        <p:sp>
          <p:nvSpPr>
            <p:cNvPr id="1839" name="Google Shape;1839;p22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40" name="Google Shape;1840;p22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41" name="Google Shape;1841;p22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842" name="Google Shape;1842;p22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43" name="Google Shape;1843;p22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4" name="Google Shape;1844;p22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1845"/>
        <p:cNvGrpSpPr/>
        <p:nvPr/>
      </p:nvGrpSpPr>
      <p:grpSpPr>
        <a:xfrm>
          <a:off x="0" y="0"/>
          <a:ext cx="0" cy="0"/>
          <a:chOff x="0" y="0"/>
          <a:chExt cx="0" cy="0"/>
        </a:xfrm>
      </p:grpSpPr>
      <p:sp>
        <p:nvSpPr>
          <p:cNvPr id="1846" name="Google Shape;1846;p22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7" name="Google Shape;1847;p22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8" name="Google Shape;1848;p227"/>
          <p:cNvGrpSpPr/>
          <p:nvPr/>
        </p:nvGrpSpPr>
        <p:grpSpPr>
          <a:xfrm>
            <a:off x="0" y="5379426"/>
            <a:ext cx="2807368" cy="753891"/>
            <a:chOff x="0" y="5379426"/>
            <a:chExt cx="2807368" cy="753891"/>
          </a:xfrm>
        </p:grpSpPr>
        <p:sp>
          <p:nvSpPr>
            <p:cNvPr id="1849" name="Google Shape;1849;p22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50" name="Google Shape;1850;p22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851" name="Google Shape;1851;p227"/>
          <p:cNvSpPr>
            <a:spLocks noGrp="1"/>
          </p:cNvSpPr>
          <p:nvPr>
            <p:ph type="pic" idx="2"/>
          </p:nvPr>
        </p:nvSpPr>
        <p:spPr>
          <a:xfrm>
            <a:off x="2807368" y="457202"/>
            <a:ext cx="8915400" cy="5943598"/>
          </a:xfrm>
          <a:prstGeom prst="rect">
            <a:avLst/>
          </a:prstGeom>
          <a:noFill/>
          <a:ln>
            <a:noFill/>
          </a:ln>
        </p:spPr>
      </p:sp>
      <p:pic>
        <p:nvPicPr>
          <p:cNvPr id="1852" name="Google Shape;1852;p22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94052774"/>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1853"/>
        <p:cNvGrpSpPr/>
        <p:nvPr/>
      </p:nvGrpSpPr>
      <p:grpSpPr>
        <a:xfrm>
          <a:off x="0" y="0"/>
          <a:ext cx="0" cy="0"/>
          <a:chOff x="0" y="0"/>
          <a:chExt cx="0" cy="0"/>
        </a:xfrm>
      </p:grpSpPr>
      <p:sp>
        <p:nvSpPr>
          <p:cNvPr id="1854" name="Google Shape;1854;p22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55" name="Google Shape;1855;p22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56" name="Google Shape;1856;p22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7" name="Google Shape;1857;p2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58" name="Google Shape;1858;p2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9" name="Google Shape;1859;p2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60" name="Google Shape;1860;p228"/>
          <p:cNvGrpSpPr/>
          <p:nvPr/>
        </p:nvGrpSpPr>
        <p:grpSpPr>
          <a:xfrm>
            <a:off x="7191542" y="1"/>
            <a:ext cx="5000459" cy="1425992"/>
            <a:chOff x="7191542" y="1"/>
            <a:chExt cx="5000459" cy="1425992"/>
          </a:xfrm>
        </p:grpSpPr>
        <p:pic>
          <p:nvPicPr>
            <p:cNvPr id="1861" name="Google Shape;1861;p22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62" name="Google Shape;1862;p228"/>
            <p:cNvGrpSpPr/>
            <p:nvPr/>
          </p:nvGrpSpPr>
          <p:grpSpPr>
            <a:xfrm>
              <a:off x="7191542" y="1"/>
              <a:ext cx="5000459" cy="1425992"/>
              <a:chOff x="7186272" y="0"/>
              <a:chExt cx="5005729" cy="1427495"/>
            </a:xfrm>
          </p:grpSpPr>
          <p:sp>
            <p:nvSpPr>
              <p:cNvPr id="1863" name="Google Shape;1863;p2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64" name="Google Shape;1864;p2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65" name="Google Shape;1865;p22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matchingName="Quotation">
  <p:cSld name="Quotation 21">
    <p:spTree>
      <p:nvGrpSpPr>
        <p:cNvPr id="1" name="Shape 1866"/>
        <p:cNvGrpSpPr/>
        <p:nvPr/>
      </p:nvGrpSpPr>
      <p:grpSpPr>
        <a:xfrm>
          <a:off x="0" y="0"/>
          <a:ext cx="0" cy="0"/>
          <a:chOff x="0" y="0"/>
          <a:chExt cx="0" cy="0"/>
        </a:xfrm>
      </p:grpSpPr>
      <p:sp>
        <p:nvSpPr>
          <p:cNvPr id="1867" name="Google Shape;1867;p2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68" name="Google Shape;1868;p2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69" name="Google Shape;1869;p2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0" name="Google Shape;1870;p2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71" name="Google Shape;1871;p2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2" name="Google Shape;1872;p2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73" name="Google Shape;1873;p229"/>
          <p:cNvGrpSpPr/>
          <p:nvPr/>
        </p:nvGrpSpPr>
        <p:grpSpPr>
          <a:xfrm>
            <a:off x="7191542" y="1"/>
            <a:ext cx="5000459" cy="1425992"/>
            <a:chOff x="7191542" y="1"/>
            <a:chExt cx="5000459" cy="1425992"/>
          </a:xfrm>
        </p:grpSpPr>
        <p:pic>
          <p:nvPicPr>
            <p:cNvPr id="1874" name="Google Shape;1874;p2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75" name="Google Shape;1875;p229"/>
            <p:cNvGrpSpPr/>
            <p:nvPr/>
          </p:nvGrpSpPr>
          <p:grpSpPr>
            <a:xfrm>
              <a:off x="7191542" y="1"/>
              <a:ext cx="5000459" cy="1425992"/>
              <a:chOff x="7186272" y="0"/>
              <a:chExt cx="5005729" cy="1427495"/>
            </a:xfrm>
          </p:grpSpPr>
          <p:sp>
            <p:nvSpPr>
              <p:cNvPr id="1876" name="Google Shape;1876;p2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77" name="Google Shape;1877;p2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78" name="Google Shape;1878;p22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1879"/>
        <p:cNvGrpSpPr/>
        <p:nvPr/>
      </p:nvGrpSpPr>
      <p:grpSpPr>
        <a:xfrm>
          <a:off x="0" y="0"/>
          <a:ext cx="0" cy="0"/>
          <a:chOff x="0" y="0"/>
          <a:chExt cx="0" cy="0"/>
        </a:xfrm>
      </p:grpSpPr>
      <p:grpSp>
        <p:nvGrpSpPr>
          <p:cNvPr id="1880" name="Google Shape;1880;p230"/>
          <p:cNvGrpSpPr/>
          <p:nvPr/>
        </p:nvGrpSpPr>
        <p:grpSpPr>
          <a:xfrm>
            <a:off x="7191542" y="1"/>
            <a:ext cx="5000459" cy="1425992"/>
            <a:chOff x="7191542" y="1"/>
            <a:chExt cx="5000459" cy="1425992"/>
          </a:xfrm>
        </p:grpSpPr>
        <p:pic>
          <p:nvPicPr>
            <p:cNvPr id="1881" name="Google Shape;1881;p2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82" name="Google Shape;1882;p230"/>
            <p:cNvGrpSpPr/>
            <p:nvPr/>
          </p:nvGrpSpPr>
          <p:grpSpPr>
            <a:xfrm>
              <a:off x="7191542" y="1"/>
              <a:ext cx="5000459" cy="1425992"/>
              <a:chOff x="7186272" y="0"/>
              <a:chExt cx="5005729" cy="1427495"/>
            </a:xfrm>
          </p:grpSpPr>
          <p:sp>
            <p:nvSpPr>
              <p:cNvPr id="1883" name="Google Shape;1883;p2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4" name="Google Shape;1884;p2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885" name="Google Shape;1885;p2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86" name="Google Shape;1886;p23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7" name="Google Shape;1887;p2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8" name="Google Shape;1888;p2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9" name="Google Shape;1889;p2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1890"/>
        <p:cNvGrpSpPr/>
        <p:nvPr/>
      </p:nvGrpSpPr>
      <p:grpSpPr>
        <a:xfrm>
          <a:off x="0" y="0"/>
          <a:ext cx="0" cy="0"/>
          <a:chOff x="0" y="0"/>
          <a:chExt cx="0" cy="0"/>
        </a:xfrm>
      </p:grpSpPr>
      <p:sp>
        <p:nvSpPr>
          <p:cNvPr id="1891" name="Google Shape;1891;p2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2" name="Google Shape;1892;p23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3" name="Google Shape;1893;p231"/>
          <p:cNvGrpSpPr/>
          <p:nvPr/>
        </p:nvGrpSpPr>
        <p:grpSpPr>
          <a:xfrm>
            <a:off x="7191542" y="1"/>
            <a:ext cx="5000459" cy="1425992"/>
            <a:chOff x="7191542" y="1"/>
            <a:chExt cx="5000459" cy="1425992"/>
          </a:xfrm>
        </p:grpSpPr>
        <p:pic>
          <p:nvPicPr>
            <p:cNvPr id="1894" name="Google Shape;1894;p2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95" name="Google Shape;1895;p231"/>
            <p:cNvGrpSpPr/>
            <p:nvPr/>
          </p:nvGrpSpPr>
          <p:grpSpPr>
            <a:xfrm>
              <a:off x="7191542" y="1"/>
              <a:ext cx="5000459" cy="1425992"/>
              <a:chOff x="7186272" y="0"/>
              <a:chExt cx="5005729" cy="1427495"/>
            </a:xfrm>
          </p:grpSpPr>
          <p:sp>
            <p:nvSpPr>
              <p:cNvPr id="1896" name="Google Shape;1896;p2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97" name="Google Shape;1897;p2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898" name="Google Shape;1898;p23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9" name="Google Shape;1899;p23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00" name="Google Shape;1900;p2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1" name="Google Shape;1901;p2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matchingName="Comparison">
  <p:cSld name="Comparison 13">
    <p:spTree>
      <p:nvGrpSpPr>
        <p:cNvPr id="1" name="Shape 1902"/>
        <p:cNvGrpSpPr/>
        <p:nvPr/>
      </p:nvGrpSpPr>
      <p:grpSpPr>
        <a:xfrm>
          <a:off x="0" y="0"/>
          <a:ext cx="0" cy="0"/>
          <a:chOff x="0" y="0"/>
          <a:chExt cx="0" cy="0"/>
        </a:xfrm>
      </p:grpSpPr>
      <p:grpSp>
        <p:nvGrpSpPr>
          <p:cNvPr id="1903" name="Google Shape;1903;p232"/>
          <p:cNvGrpSpPr/>
          <p:nvPr/>
        </p:nvGrpSpPr>
        <p:grpSpPr>
          <a:xfrm>
            <a:off x="7191542" y="1"/>
            <a:ext cx="5000459" cy="1425992"/>
            <a:chOff x="7191542" y="1"/>
            <a:chExt cx="5000459" cy="1425992"/>
          </a:xfrm>
        </p:grpSpPr>
        <p:pic>
          <p:nvPicPr>
            <p:cNvPr id="1904" name="Google Shape;1904;p2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05" name="Google Shape;1905;p232"/>
            <p:cNvGrpSpPr/>
            <p:nvPr/>
          </p:nvGrpSpPr>
          <p:grpSpPr>
            <a:xfrm>
              <a:off x="7191542" y="1"/>
              <a:ext cx="5000459" cy="1425992"/>
              <a:chOff x="7186272" y="0"/>
              <a:chExt cx="5005729" cy="1427495"/>
            </a:xfrm>
          </p:grpSpPr>
          <p:sp>
            <p:nvSpPr>
              <p:cNvPr id="1906" name="Google Shape;1906;p2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7" name="Google Shape;1907;p2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08" name="Google Shape;1908;p2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9" name="Google Shape;1909;p23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0" name="Google Shape;1910;p23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1" name="Google Shape;1911;p23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2" name="Google Shape;1912;p23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3" name="Google Shape;1913;p2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14" name="Google Shape;1914;p2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5" name="Google Shape;1915;p2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matchingName="Title Only">
  <p:cSld name="Title Only 13">
    <p:spTree>
      <p:nvGrpSpPr>
        <p:cNvPr id="1" name="Shape 1916"/>
        <p:cNvGrpSpPr/>
        <p:nvPr/>
      </p:nvGrpSpPr>
      <p:grpSpPr>
        <a:xfrm>
          <a:off x="0" y="0"/>
          <a:ext cx="0" cy="0"/>
          <a:chOff x="0" y="0"/>
          <a:chExt cx="0" cy="0"/>
        </a:xfrm>
      </p:grpSpPr>
      <p:grpSp>
        <p:nvGrpSpPr>
          <p:cNvPr id="1917" name="Google Shape;1917;p233"/>
          <p:cNvGrpSpPr/>
          <p:nvPr/>
        </p:nvGrpSpPr>
        <p:grpSpPr>
          <a:xfrm>
            <a:off x="7191542" y="1"/>
            <a:ext cx="5000459" cy="1425992"/>
            <a:chOff x="7191542" y="1"/>
            <a:chExt cx="5000459" cy="1425992"/>
          </a:xfrm>
        </p:grpSpPr>
        <p:pic>
          <p:nvPicPr>
            <p:cNvPr id="1918" name="Google Shape;1918;p2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19" name="Google Shape;1919;p233"/>
            <p:cNvGrpSpPr/>
            <p:nvPr/>
          </p:nvGrpSpPr>
          <p:grpSpPr>
            <a:xfrm>
              <a:off x="7191542" y="1"/>
              <a:ext cx="5000459" cy="1425992"/>
              <a:chOff x="7186272" y="0"/>
              <a:chExt cx="5005729" cy="1427495"/>
            </a:xfrm>
          </p:grpSpPr>
          <p:sp>
            <p:nvSpPr>
              <p:cNvPr id="1920" name="Google Shape;1920;p2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1" name="Google Shape;1921;p2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22" name="Google Shape;1922;p2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3" name="Google Shape;1923;p2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24" name="Google Shape;1924;p2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5" name="Google Shape;1925;p2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matchingName="End">
  <p:cSld name="End 14">
    <p:spTree>
      <p:nvGrpSpPr>
        <p:cNvPr id="1" name="Shape 1926"/>
        <p:cNvGrpSpPr/>
        <p:nvPr/>
      </p:nvGrpSpPr>
      <p:grpSpPr>
        <a:xfrm>
          <a:off x="0" y="0"/>
          <a:ext cx="0" cy="0"/>
          <a:chOff x="0" y="0"/>
          <a:chExt cx="0" cy="0"/>
        </a:xfrm>
      </p:grpSpPr>
      <p:grpSp>
        <p:nvGrpSpPr>
          <p:cNvPr id="1927" name="Google Shape;1927;p234"/>
          <p:cNvGrpSpPr/>
          <p:nvPr/>
        </p:nvGrpSpPr>
        <p:grpSpPr>
          <a:xfrm>
            <a:off x="0" y="0"/>
            <a:ext cx="12192000" cy="2148830"/>
            <a:chOff x="0" y="0"/>
            <a:chExt cx="12192000" cy="2148830"/>
          </a:xfrm>
        </p:grpSpPr>
        <p:sp>
          <p:nvSpPr>
            <p:cNvPr id="1928" name="Google Shape;1928;p23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9" name="Google Shape;1929;p23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930" name="Google Shape;1930;p23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31" name="Google Shape;1931;p23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2" name="Google Shape;1932;p23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33" name="Google Shape;1933;p2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934" name="Google Shape;1934;p23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matchingName="Blank">
  <p:cSld name="Blank 13">
    <p:spTree>
      <p:nvGrpSpPr>
        <p:cNvPr id="1" name="Shape 1935"/>
        <p:cNvGrpSpPr/>
        <p:nvPr/>
      </p:nvGrpSpPr>
      <p:grpSpPr>
        <a:xfrm>
          <a:off x="0" y="0"/>
          <a:ext cx="0" cy="0"/>
          <a:chOff x="0" y="0"/>
          <a:chExt cx="0" cy="0"/>
        </a:xfrm>
      </p:grpSpPr>
      <p:sp>
        <p:nvSpPr>
          <p:cNvPr id="1936" name="Google Shape;1936;p2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37" name="Google Shape;1937;p2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8" name="Google Shape;1938;p2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39" name="Google Shape;1939;p235"/>
          <p:cNvGrpSpPr/>
          <p:nvPr/>
        </p:nvGrpSpPr>
        <p:grpSpPr>
          <a:xfrm>
            <a:off x="7191542" y="1"/>
            <a:ext cx="5000459" cy="1425992"/>
            <a:chOff x="7191542" y="1"/>
            <a:chExt cx="5000459" cy="1425992"/>
          </a:xfrm>
        </p:grpSpPr>
        <p:pic>
          <p:nvPicPr>
            <p:cNvPr id="1940" name="Google Shape;1940;p2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41" name="Google Shape;1941;p235"/>
            <p:cNvGrpSpPr/>
            <p:nvPr/>
          </p:nvGrpSpPr>
          <p:grpSpPr>
            <a:xfrm>
              <a:off x="7191542" y="1"/>
              <a:ext cx="5000459" cy="1425992"/>
              <a:chOff x="7186272" y="0"/>
              <a:chExt cx="5005729" cy="1427495"/>
            </a:xfrm>
          </p:grpSpPr>
          <p:sp>
            <p:nvSpPr>
              <p:cNvPr id="1942" name="Google Shape;1942;p2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43" name="Google Shape;1943;p2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showMasterSp="0" matchingName="Title Slide">
  <p:cSld name="Title Slide 2">
    <p:bg>
      <p:bgPr>
        <a:solidFill>
          <a:schemeClr val="lt1"/>
        </a:solidFill>
        <a:effectLst/>
      </p:bgPr>
    </p:bg>
    <p:spTree>
      <p:nvGrpSpPr>
        <p:cNvPr id="1" name="Shape 1944"/>
        <p:cNvGrpSpPr/>
        <p:nvPr/>
      </p:nvGrpSpPr>
      <p:grpSpPr>
        <a:xfrm>
          <a:off x="0" y="0"/>
          <a:ext cx="0" cy="0"/>
          <a:chOff x="0" y="0"/>
          <a:chExt cx="0" cy="0"/>
        </a:xfrm>
      </p:grpSpPr>
      <p:sp>
        <p:nvSpPr>
          <p:cNvPr id="1945" name="Google Shape;1945;p236"/>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46" name="Google Shape;1946;p236"/>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947" name="Google Shape;1947;p236"/>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948" name="Google Shape;1948;p236"/>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949" name="Google Shape;1949;p236"/>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950" name="Google Shape;1950;p236"/>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51" name="Google Shape;1951;p236"/>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2" name="Google Shape;1952;p236"/>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953" name="Google Shape;1953;p236"/>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4" name="Google Shape;1954;p236"/>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955" name="Google Shape;1955;p236"/>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1956"/>
        <p:cNvGrpSpPr/>
        <p:nvPr/>
      </p:nvGrpSpPr>
      <p:grpSpPr>
        <a:xfrm>
          <a:off x="0" y="0"/>
          <a:ext cx="0" cy="0"/>
          <a:chOff x="0" y="0"/>
          <a:chExt cx="0" cy="0"/>
        </a:xfrm>
      </p:grpSpPr>
      <p:sp>
        <p:nvSpPr>
          <p:cNvPr id="1957" name="Google Shape;1957;p2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58" name="Google Shape;1958;p2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9" name="Google Shape;1959;p2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0" name="Google Shape;1960;p2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61" name="Google Shape;1961;p2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2" name="Google Shape;1962;p2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63" name="Google Shape;1963;p237"/>
          <p:cNvGrpSpPr/>
          <p:nvPr/>
        </p:nvGrpSpPr>
        <p:grpSpPr>
          <a:xfrm>
            <a:off x="7191542" y="1"/>
            <a:ext cx="5000459" cy="1425992"/>
            <a:chOff x="7191542" y="1"/>
            <a:chExt cx="5000459" cy="1425992"/>
          </a:xfrm>
        </p:grpSpPr>
        <p:pic>
          <p:nvPicPr>
            <p:cNvPr id="1964" name="Google Shape;1964;p2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5" name="Google Shape;1965;p237"/>
            <p:cNvGrpSpPr/>
            <p:nvPr/>
          </p:nvGrpSpPr>
          <p:grpSpPr>
            <a:xfrm>
              <a:off x="7191542" y="1"/>
              <a:ext cx="5000459" cy="1425992"/>
              <a:chOff x="7186272" y="0"/>
              <a:chExt cx="5005729" cy="1427495"/>
            </a:xfrm>
          </p:grpSpPr>
          <p:sp>
            <p:nvSpPr>
              <p:cNvPr id="1966" name="Google Shape;1966;p2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67" name="Google Shape;1967;p2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968" name="Google Shape;1968;p23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47862978"/>
      </p:ext>
    </p:extLst>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1969"/>
        <p:cNvGrpSpPr/>
        <p:nvPr/>
      </p:nvGrpSpPr>
      <p:grpSpPr>
        <a:xfrm>
          <a:off x="0" y="0"/>
          <a:ext cx="0" cy="0"/>
          <a:chOff x="0" y="0"/>
          <a:chExt cx="0" cy="0"/>
        </a:xfrm>
      </p:grpSpPr>
      <p:sp>
        <p:nvSpPr>
          <p:cNvPr id="1970" name="Google Shape;1970;p23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71" name="Google Shape;1971;p23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2" name="Google Shape;1972;p23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3" name="Google Shape;1973;p2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74" name="Google Shape;1974;p2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75" name="Google Shape;1975;p2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76" name="Google Shape;1976;p238"/>
          <p:cNvGrpSpPr/>
          <p:nvPr/>
        </p:nvGrpSpPr>
        <p:grpSpPr>
          <a:xfrm>
            <a:off x="7191542" y="1"/>
            <a:ext cx="5000459" cy="1425992"/>
            <a:chOff x="7191542" y="1"/>
            <a:chExt cx="5000459" cy="1425992"/>
          </a:xfrm>
        </p:grpSpPr>
        <p:pic>
          <p:nvPicPr>
            <p:cNvPr id="1977" name="Google Shape;1977;p2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78" name="Google Shape;1978;p238"/>
            <p:cNvGrpSpPr/>
            <p:nvPr/>
          </p:nvGrpSpPr>
          <p:grpSpPr>
            <a:xfrm>
              <a:off x="7191542" y="1"/>
              <a:ext cx="5000459" cy="1425992"/>
              <a:chOff x="7186272" y="0"/>
              <a:chExt cx="5005729" cy="1427495"/>
            </a:xfrm>
          </p:grpSpPr>
          <p:sp>
            <p:nvSpPr>
              <p:cNvPr id="1979" name="Google Shape;1979;p2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80" name="Google Shape;1980;p2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981" name="Google Shape;1981;p23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62855407"/>
      </p:ext>
    </p:extLst>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85905"/>
      </p:ext>
    </p:extLst>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328018985"/>
      </p:ext>
    </p:extLst>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03852074"/>
      </p:ext>
    </p:extLst>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08673188"/>
      </p:ext>
    </p:extLst>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7241388"/>
      </p:ext>
    </p:extLst>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90251682"/>
      </p:ext>
    </p:extLst>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26602726"/>
      </p:ext>
    </p:extLst>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370380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8195552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76877181"/>
      </p:ext>
    </p:extLst>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51193254"/>
      </p:ext>
    </p:extLst>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75033953"/>
      </p:ext>
    </p:extLst>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20263086"/>
      </p:ext>
    </p:extLst>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4972685"/>
      </p:ext>
    </p:extLst>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1636893"/>
      </p:ext>
    </p:extLst>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502425385"/>
      </p:ext>
    </p:extLst>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66030827"/>
      </p:ext>
    </p:extLst>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3943296"/>
      </p:ext>
    </p:extLst>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856956841"/>
      </p:ext>
    </p:extLst>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5553534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50889900"/>
      </p:ext>
    </p:extLst>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25594533"/>
      </p:ext>
    </p:extLst>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1469619"/>
      </p:ext>
    </p:extLst>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24564841"/>
      </p:ext>
    </p:extLst>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6"/>
            <a:ext cx="1945206" cy="879974"/>
          </a:xfrm>
          <a:prstGeom prst="rect">
            <a:avLst/>
          </a:prstGeom>
        </p:spPr>
      </p:pic>
    </p:spTree>
    <p:extLst>
      <p:ext uri="{BB962C8B-B14F-4D97-AF65-F5344CB8AC3E}">
        <p14:creationId xmlns:p14="http://schemas.microsoft.com/office/powerpoint/2010/main" val="1454966026"/>
      </p:ext>
    </p:extLst>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0009905"/>
      </p:ext>
    </p:extLst>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929445205"/>
      </p:ext>
    </p:extLst>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00911803"/>
      </p:ext>
    </p:extLst>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06135247"/>
      </p:ext>
    </p:extLst>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21861708"/>
      </p:ext>
    </p:extLst>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578843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6107529"/>
      </p:ext>
    </p:extLst>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56787223"/>
      </p:ext>
    </p:extLst>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0606863"/>
      </p:ext>
    </p:extLst>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24030843"/>
      </p:ext>
    </p:extLst>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88264017"/>
      </p:ext>
    </p:extLst>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60118114"/>
      </p:ext>
    </p:extLst>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609859"/>
      </p:ext>
    </p:extLst>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425449869"/>
      </p:ext>
    </p:extLst>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2815068536"/>
      </p:ext>
    </p:extLst>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3334833"/>
      </p:ext>
    </p:extLst>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35730026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4698859"/>
      </p:ext>
    </p:extLst>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47225440"/>
      </p:ext>
    </p:extLst>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11735149"/>
      </p:ext>
    </p:extLst>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04945590"/>
      </p:ext>
    </p:extLst>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9571665"/>
      </p:ext>
    </p:extLst>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740378"/>
      </p:ext>
    </p:extLst>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4104072"/>
      </p:ext>
    </p:extLst>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4913747"/>
      </p:ext>
    </p:extLst>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03596403"/>
      </p:ext>
    </p:extLst>
  </p:cSld>
  <p:clrMapOvr>
    <a:masterClrMapping/>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86434869"/>
      </p:ext>
    </p:extLst>
  </p:cSld>
  <p:clrMapOvr>
    <a:masterClrMapping/>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9441696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1201835"/>
      </p:ext>
    </p:extLst>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65626881"/>
      </p:ext>
    </p:extLst>
  </p:cSld>
  <p:clrMapOvr>
    <a:masterClrMapping/>
  </p:clrMapOvr>
</p:sldLayout>
</file>

<file path=ppt/slideLayouts/slideLayout941.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65031512"/>
      </p:ext>
    </p:extLst>
  </p:cSld>
  <p:clrMapOvr>
    <a:masterClrMapping/>
  </p:clrMapOvr>
</p:sldLayout>
</file>

<file path=ppt/slideLayouts/slideLayout942.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14377172"/>
      </p:ext>
    </p:extLst>
  </p:cSld>
  <p:clrMapOvr>
    <a:masterClrMapping/>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7450957"/>
      </p:ext>
    </p:extLst>
  </p:cSld>
  <p:clrMapOvr>
    <a:masterClrMapping/>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2253097"/>
      </p:ext>
    </p:extLst>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47838219"/>
      </p:ext>
    </p:extLst>
  </p:cSld>
  <p:clrMapOvr>
    <a:masterClrMapping/>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6207789"/>
      </p:ext>
    </p:extLst>
  </p:cSld>
  <p:clrMapOvr>
    <a:masterClrMapping/>
  </p:clrMapOvr>
</p:sldLayout>
</file>

<file path=ppt/slideLayouts/slideLayout947.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85190849"/>
      </p:ext>
    </p:extLst>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33842160"/>
      </p:ext>
    </p:extLst>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3791037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5538182"/>
      </p:ext>
    </p:extLst>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27201667"/>
      </p:ext>
    </p:extLst>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0/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3072634230"/>
      </p:ext>
    </p:extLst>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44505291"/>
      </p:ext>
    </p:extLst>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10179259"/>
      </p:ext>
    </p:extLst>
  </p:cSld>
  <p:clrMapOvr>
    <a:masterClrMapping/>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8520828"/>
      </p:ext>
    </p:extLst>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9120567"/>
      </p:ext>
    </p:extLst>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40056760"/>
      </p:ext>
    </p:extLst>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26625420"/>
      </p:ext>
    </p:extLst>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57275443"/>
      </p:ext>
    </p:extLst>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5403986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45375"/>
      </p:ext>
    </p:extLst>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82661367"/>
      </p:ext>
    </p:extLst>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93411898"/>
      </p:ext>
    </p:extLst>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preserve="1" userDrawn="1">
  <p:cSld name="2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2226780"/>
      </p:ext>
    </p:extLst>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917705470"/>
      </p:ext>
    </p:extLst>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58830055"/>
      </p:ext>
    </p:extLst>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30752121"/>
      </p:ext>
    </p:extLst>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73632738"/>
      </p:ext>
    </p:extLst>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71440932"/>
      </p:ext>
    </p:extLst>
  </p:cSld>
  <p:clrMapOvr>
    <a:masterClrMapping/>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321769"/>
      </p:ext>
    </p:extLst>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601215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32901630"/>
      </p:ext>
    </p:extLst>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17365490"/>
      </p:ext>
    </p:extLst>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06672969"/>
      </p:ext>
    </p:extLst>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2352784"/>
      </p:ext>
    </p:extLst>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177459683"/>
      </p:ext>
    </p:extLst>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21586515"/>
      </p:ext>
    </p:extLst>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54257207"/>
      </p:ext>
    </p:extLst>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41187486"/>
      </p:ext>
    </p:extLst>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36050142"/>
      </p:ext>
    </p:extLst>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0333381"/>
      </p:ext>
    </p:extLst>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7738625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11840102"/>
      </p:ext>
    </p:extLst>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2389978"/>
      </p:ext>
    </p:extLst>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95788077"/>
      </p:ext>
    </p:extLst>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9288766"/>
      </p:ext>
    </p:extLst>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019168215"/>
      </p:ext>
    </p:extLst>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09294127"/>
      </p:ext>
    </p:extLst>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40791873"/>
      </p:ext>
    </p:extLst>
  </p:cSld>
  <p:clrMapOvr>
    <a:masterClrMapping/>
  </p:clrMapOvr>
</p:sldLayout>
</file>

<file path=ppt/slideLayouts/slideLayout986.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96566223"/>
      </p:ext>
    </p:extLst>
  </p:cSld>
  <p:clrMapOvr>
    <a:masterClrMapping/>
  </p:clrMapOvr>
</p:sldLayout>
</file>

<file path=ppt/slideLayouts/slideLayout987.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4162847"/>
      </p:ext>
    </p:extLst>
  </p:cSld>
  <p:clrMapOvr>
    <a:masterClrMapping/>
  </p:clrMapOvr>
</p:sldLayout>
</file>

<file path=ppt/slideLayouts/slideLayout988.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3806591"/>
      </p:ext>
    </p:extLst>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048452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04300062"/>
      </p:ext>
    </p:extLst>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364751158"/>
      </p:ext>
    </p:extLst>
  </p:cSld>
  <p:clrMapOvr>
    <a:masterClrMapping/>
  </p:clrMapOvr>
</p:sldLayout>
</file>

<file path=ppt/slideLayouts/slideLayout991.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82584017"/>
      </p:ext>
    </p:extLst>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54653779"/>
      </p:ext>
    </p:extLst>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507472"/>
      </p:ext>
    </p:extLst>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68568015"/>
      </p:ext>
    </p:extLst>
  </p:cSld>
  <p:clrMapOvr>
    <a:masterClrMapping/>
  </p:clrMapOvr>
</p:sldLayout>
</file>

<file path=ppt/slideLayouts/slideLayout995.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826239605"/>
      </p:ext>
    </p:extLst>
  </p:cSld>
  <p:clrMapOvr>
    <a:masterClrMapping/>
  </p:clrMapOvr>
</p:sldLayout>
</file>

<file path=ppt/slideLayouts/slideLayout996.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15009034"/>
      </p:ext>
    </p:extLst>
  </p:cSld>
  <p:clrMapOvr>
    <a:masterClrMapping/>
  </p:clrMapOvr>
</p:sldLayout>
</file>

<file path=ppt/slideLayouts/slideLayout997.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48763561"/>
      </p:ext>
    </p:extLst>
  </p:cSld>
  <p:clrMapOvr>
    <a:masterClrMapping/>
  </p:clrMapOvr>
</p:sldLayout>
</file>

<file path=ppt/slideLayouts/slideLayout998.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12766965"/>
      </p:ext>
    </p:extLst>
  </p:cSld>
  <p:clrMapOvr>
    <a:masterClrMapping/>
  </p:clrMapOvr>
</p:sldLayout>
</file>

<file path=ppt/slideLayouts/slideLayout999.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43340930"/>
      </p:ext>
    </p:extLst>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671" Type="http://schemas.openxmlformats.org/officeDocument/2006/relationships/slideLayout" Target="../slideLayouts/slideLayout671.xml"/><Relationship Id="rId21" Type="http://schemas.openxmlformats.org/officeDocument/2006/relationships/slideLayout" Target="../slideLayouts/slideLayout21.xml"/><Relationship Id="rId324" Type="http://schemas.openxmlformats.org/officeDocument/2006/relationships/slideLayout" Target="../slideLayouts/slideLayout324.xml"/><Relationship Id="rId531" Type="http://schemas.openxmlformats.org/officeDocument/2006/relationships/slideLayout" Target="../slideLayouts/slideLayout531.xml"/><Relationship Id="rId629" Type="http://schemas.openxmlformats.org/officeDocument/2006/relationships/slideLayout" Target="../slideLayouts/slideLayout629.xml"/><Relationship Id="rId170" Type="http://schemas.openxmlformats.org/officeDocument/2006/relationships/slideLayout" Target="../slideLayouts/slideLayout170.xml"/><Relationship Id="rId268" Type="http://schemas.openxmlformats.org/officeDocument/2006/relationships/slideLayout" Target="../slideLayouts/slideLayout268.xml"/><Relationship Id="rId475" Type="http://schemas.openxmlformats.org/officeDocument/2006/relationships/slideLayout" Target="../slideLayouts/slideLayout475.xml"/><Relationship Id="rId682" Type="http://schemas.openxmlformats.org/officeDocument/2006/relationships/theme" Target="../theme/theme1.xml"/><Relationship Id="rId32" Type="http://schemas.openxmlformats.org/officeDocument/2006/relationships/slideLayout" Target="../slideLayouts/slideLayout32.xml"/><Relationship Id="rId128" Type="http://schemas.openxmlformats.org/officeDocument/2006/relationships/slideLayout" Target="../slideLayouts/slideLayout128.xml"/><Relationship Id="rId335" Type="http://schemas.openxmlformats.org/officeDocument/2006/relationships/slideLayout" Target="../slideLayouts/slideLayout335.xml"/><Relationship Id="rId542" Type="http://schemas.openxmlformats.org/officeDocument/2006/relationships/slideLayout" Target="../slideLayouts/slideLayout542.xml"/><Relationship Id="rId181" Type="http://schemas.openxmlformats.org/officeDocument/2006/relationships/slideLayout" Target="../slideLayouts/slideLayout181.xml"/><Relationship Id="rId402" Type="http://schemas.openxmlformats.org/officeDocument/2006/relationships/slideLayout" Target="../slideLayouts/slideLayout402.xml"/><Relationship Id="rId279" Type="http://schemas.openxmlformats.org/officeDocument/2006/relationships/slideLayout" Target="../slideLayouts/slideLayout279.xml"/><Relationship Id="rId486" Type="http://schemas.openxmlformats.org/officeDocument/2006/relationships/slideLayout" Target="../slideLayouts/slideLayout486.xml"/><Relationship Id="rId43" Type="http://schemas.openxmlformats.org/officeDocument/2006/relationships/slideLayout" Target="../slideLayouts/slideLayout43.xml"/><Relationship Id="rId139" Type="http://schemas.openxmlformats.org/officeDocument/2006/relationships/slideLayout" Target="../slideLayouts/slideLayout139.xml"/><Relationship Id="rId346" Type="http://schemas.openxmlformats.org/officeDocument/2006/relationships/slideLayout" Target="../slideLayouts/slideLayout346.xml"/><Relationship Id="rId553" Type="http://schemas.openxmlformats.org/officeDocument/2006/relationships/slideLayout" Target="../slideLayouts/slideLayout553.xml"/><Relationship Id="rId192" Type="http://schemas.openxmlformats.org/officeDocument/2006/relationships/slideLayout" Target="../slideLayouts/slideLayout192.xml"/><Relationship Id="rId206" Type="http://schemas.openxmlformats.org/officeDocument/2006/relationships/slideLayout" Target="../slideLayouts/slideLayout206.xml"/><Relationship Id="rId413" Type="http://schemas.openxmlformats.org/officeDocument/2006/relationships/slideLayout" Target="../slideLayouts/slideLayout413.xml"/><Relationship Id="rId497" Type="http://schemas.openxmlformats.org/officeDocument/2006/relationships/slideLayout" Target="../slideLayouts/slideLayout497.xml"/><Relationship Id="rId620" Type="http://schemas.openxmlformats.org/officeDocument/2006/relationships/slideLayout" Target="../slideLayouts/slideLayout620.xml"/><Relationship Id="rId357" Type="http://schemas.openxmlformats.org/officeDocument/2006/relationships/slideLayout" Target="../slideLayouts/slideLayout357.xml"/><Relationship Id="rId54" Type="http://schemas.openxmlformats.org/officeDocument/2006/relationships/slideLayout" Target="../slideLayouts/slideLayout54.xml"/><Relationship Id="rId217" Type="http://schemas.openxmlformats.org/officeDocument/2006/relationships/slideLayout" Target="../slideLayouts/slideLayout217.xml"/><Relationship Id="rId564" Type="http://schemas.openxmlformats.org/officeDocument/2006/relationships/slideLayout" Target="../slideLayouts/slideLayout564.xml"/><Relationship Id="rId424" Type="http://schemas.openxmlformats.org/officeDocument/2006/relationships/slideLayout" Target="../slideLayouts/slideLayout424.xml"/><Relationship Id="rId631" Type="http://schemas.openxmlformats.org/officeDocument/2006/relationships/slideLayout" Target="../slideLayouts/slideLayout631.xml"/><Relationship Id="rId270" Type="http://schemas.openxmlformats.org/officeDocument/2006/relationships/slideLayout" Target="../slideLayouts/slideLayout270.xml"/><Relationship Id="rId65" Type="http://schemas.openxmlformats.org/officeDocument/2006/relationships/slideLayout" Target="../slideLayouts/slideLayout65.xml"/><Relationship Id="rId130" Type="http://schemas.openxmlformats.org/officeDocument/2006/relationships/slideLayout" Target="../slideLayouts/slideLayout130.xml"/><Relationship Id="rId368" Type="http://schemas.openxmlformats.org/officeDocument/2006/relationships/slideLayout" Target="../slideLayouts/slideLayout368.xml"/><Relationship Id="rId575" Type="http://schemas.openxmlformats.org/officeDocument/2006/relationships/slideLayout" Target="../slideLayouts/slideLayout575.xml"/><Relationship Id="rId228" Type="http://schemas.openxmlformats.org/officeDocument/2006/relationships/slideLayout" Target="../slideLayouts/slideLayout228.xml"/><Relationship Id="rId435" Type="http://schemas.openxmlformats.org/officeDocument/2006/relationships/slideLayout" Target="../slideLayouts/slideLayout435.xml"/><Relationship Id="rId642" Type="http://schemas.openxmlformats.org/officeDocument/2006/relationships/slideLayout" Target="../slideLayouts/slideLayout642.xml"/><Relationship Id="rId281" Type="http://schemas.openxmlformats.org/officeDocument/2006/relationships/slideLayout" Target="../slideLayouts/slideLayout281.xml"/><Relationship Id="rId502" Type="http://schemas.openxmlformats.org/officeDocument/2006/relationships/slideLayout" Target="../slideLayouts/slideLayout502.xml"/><Relationship Id="rId76" Type="http://schemas.openxmlformats.org/officeDocument/2006/relationships/slideLayout" Target="../slideLayouts/slideLayout76.xml"/><Relationship Id="rId141" Type="http://schemas.openxmlformats.org/officeDocument/2006/relationships/slideLayout" Target="../slideLayouts/slideLayout141.xml"/><Relationship Id="rId379" Type="http://schemas.openxmlformats.org/officeDocument/2006/relationships/slideLayout" Target="../slideLayouts/slideLayout379.xml"/><Relationship Id="rId586" Type="http://schemas.openxmlformats.org/officeDocument/2006/relationships/slideLayout" Target="../slideLayouts/slideLayout586.xml"/><Relationship Id="rId7" Type="http://schemas.openxmlformats.org/officeDocument/2006/relationships/slideLayout" Target="../slideLayouts/slideLayout7.xml"/><Relationship Id="rId239" Type="http://schemas.openxmlformats.org/officeDocument/2006/relationships/slideLayout" Target="../slideLayouts/slideLayout239.xml"/><Relationship Id="rId446" Type="http://schemas.openxmlformats.org/officeDocument/2006/relationships/slideLayout" Target="../slideLayouts/slideLayout446.xml"/><Relationship Id="rId653" Type="http://schemas.openxmlformats.org/officeDocument/2006/relationships/slideLayout" Target="../slideLayouts/slideLayout653.xml"/><Relationship Id="rId292" Type="http://schemas.openxmlformats.org/officeDocument/2006/relationships/slideLayout" Target="../slideLayouts/slideLayout292.xml"/><Relationship Id="rId306" Type="http://schemas.openxmlformats.org/officeDocument/2006/relationships/slideLayout" Target="../slideLayouts/slideLayout306.xml"/><Relationship Id="rId87" Type="http://schemas.openxmlformats.org/officeDocument/2006/relationships/slideLayout" Target="../slideLayouts/slideLayout87.xml"/><Relationship Id="rId513" Type="http://schemas.openxmlformats.org/officeDocument/2006/relationships/slideLayout" Target="../slideLayouts/slideLayout513.xml"/><Relationship Id="rId597" Type="http://schemas.openxmlformats.org/officeDocument/2006/relationships/slideLayout" Target="../slideLayouts/slideLayout597.xml"/><Relationship Id="rId152" Type="http://schemas.openxmlformats.org/officeDocument/2006/relationships/slideLayout" Target="../slideLayouts/slideLayout152.xml"/><Relationship Id="rId457" Type="http://schemas.openxmlformats.org/officeDocument/2006/relationships/slideLayout" Target="../slideLayouts/slideLayout457.xml"/><Relationship Id="rId664" Type="http://schemas.openxmlformats.org/officeDocument/2006/relationships/slideLayout" Target="../slideLayouts/slideLayout664.xml"/><Relationship Id="rId14" Type="http://schemas.openxmlformats.org/officeDocument/2006/relationships/slideLayout" Target="../slideLayouts/slideLayout14.xml"/><Relationship Id="rId317" Type="http://schemas.openxmlformats.org/officeDocument/2006/relationships/slideLayout" Target="../slideLayouts/slideLayout317.xml"/><Relationship Id="rId524" Type="http://schemas.openxmlformats.org/officeDocument/2006/relationships/slideLayout" Target="../slideLayouts/slideLayout524.xml"/><Relationship Id="rId98" Type="http://schemas.openxmlformats.org/officeDocument/2006/relationships/slideLayout" Target="../slideLayouts/slideLayout98.xml"/><Relationship Id="rId163" Type="http://schemas.openxmlformats.org/officeDocument/2006/relationships/slideLayout" Target="../slideLayouts/slideLayout163.xml"/><Relationship Id="rId370" Type="http://schemas.openxmlformats.org/officeDocument/2006/relationships/slideLayout" Target="../slideLayouts/slideLayout370.xml"/><Relationship Id="rId230" Type="http://schemas.openxmlformats.org/officeDocument/2006/relationships/slideLayout" Target="../slideLayouts/slideLayout230.xml"/><Relationship Id="rId468" Type="http://schemas.openxmlformats.org/officeDocument/2006/relationships/slideLayout" Target="../slideLayouts/slideLayout468.xml"/><Relationship Id="rId675" Type="http://schemas.openxmlformats.org/officeDocument/2006/relationships/slideLayout" Target="../slideLayouts/slideLayout675.xml"/><Relationship Id="rId25" Type="http://schemas.openxmlformats.org/officeDocument/2006/relationships/slideLayout" Target="../slideLayouts/slideLayout25.xml"/><Relationship Id="rId328" Type="http://schemas.openxmlformats.org/officeDocument/2006/relationships/slideLayout" Target="../slideLayouts/slideLayout328.xml"/><Relationship Id="rId535" Type="http://schemas.openxmlformats.org/officeDocument/2006/relationships/slideLayout" Target="../slideLayouts/slideLayout535.xml"/><Relationship Id="rId174" Type="http://schemas.openxmlformats.org/officeDocument/2006/relationships/slideLayout" Target="../slideLayouts/slideLayout174.xml"/><Relationship Id="rId381" Type="http://schemas.openxmlformats.org/officeDocument/2006/relationships/slideLayout" Target="../slideLayouts/slideLayout381.xml"/><Relationship Id="rId602" Type="http://schemas.openxmlformats.org/officeDocument/2006/relationships/slideLayout" Target="../slideLayouts/slideLayout602.xml"/><Relationship Id="rId241" Type="http://schemas.openxmlformats.org/officeDocument/2006/relationships/slideLayout" Target="../slideLayouts/slideLayout241.xml"/><Relationship Id="rId479" Type="http://schemas.openxmlformats.org/officeDocument/2006/relationships/slideLayout" Target="../slideLayouts/slideLayout479.xml"/><Relationship Id="rId36" Type="http://schemas.openxmlformats.org/officeDocument/2006/relationships/slideLayout" Target="../slideLayouts/slideLayout36.xml"/><Relationship Id="rId339" Type="http://schemas.openxmlformats.org/officeDocument/2006/relationships/slideLayout" Target="../slideLayouts/slideLayout339.xml"/><Relationship Id="rId546" Type="http://schemas.openxmlformats.org/officeDocument/2006/relationships/slideLayout" Target="../slideLayouts/slideLayout546.xml"/><Relationship Id="rId101" Type="http://schemas.openxmlformats.org/officeDocument/2006/relationships/slideLayout" Target="../slideLayouts/slideLayout101.xml"/><Relationship Id="rId185" Type="http://schemas.openxmlformats.org/officeDocument/2006/relationships/slideLayout" Target="../slideLayouts/slideLayout185.xml"/><Relationship Id="rId406" Type="http://schemas.openxmlformats.org/officeDocument/2006/relationships/slideLayout" Target="../slideLayouts/slideLayout406.xml"/><Relationship Id="rId392" Type="http://schemas.openxmlformats.org/officeDocument/2006/relationships/slideLayout" Target="../slideLayouts/slideLayout392.xml"/><Relationship Id="rId613" Type="http://schemas.openxmlformats.org/officeDocument/2006/relationships/slideLayout" Target="../slideLayouts/slideLayout613.xml"/><Relationship Id="rId252" Type="http://schemas.openxmlformats.org/officeDocument/2006/relationships/slideLayout" Target="../slideLayouts/slideLayout252.xml"/><Relationship Id="rId47" Type="http://schemas.openxmlformats.org/officeDocument/2006/relationships/slideLayout" Target="../slideLayouts/slideLayout47.xml"/><Relationship Id="rId112" Type="http://schemas.openxmlformats.org/officeDocument/2006/relationships/slideLayout" Target="../slideLayouts/slideLayout112.xml"/><Relationship Id="rId557" Type="http://schemas.openxmlformats.org/officeDocument/2006/relationships/slideLayout" Target="../slideLayouts/slideLayout557.xml"/><Relationship Id="rId196" Type="http://schemas.openxmlformats.org/officeDocument/2006/relationships/slideLayout" Target="../slideLayouts/slideLayout196.xml"/><Relationship Id="rId417" Type="http://schemas.openxmlformats.org/officeDocument/2006/relationships/slideLayout" Target="../slideLayouts/slideLayout417.xml"/><Relationship Id="rId624" Type="http://schemas.openxmlformats.org/officeDocument/2006/relationships/slideLayout" Target="../slideLayouts/slideLayout624.xml"/><Relationship Id="rId263" Type="http://schemas.openxmlformats.org/officeDocument/2006/relationships/slideLayout" Target="../slideLayouts/slideLayout263.xml"/><Relationship Id="rId470" Type="http://schemas.openxmlformats.org/officeDocument/2006/relationships/slideLayout" Target="../slideLayouts/slideLayout470.xml"/><Relationship Id="rId58" Type="http://schemas.openxmlformats.org/officeDocument/2006/relationships/slideLayout" Target="../slideLayouts/slideLayout58.xml"/><Relationship Id="rId123" Type="http://schemas.openxmlformats.org/officeDocument/2006/relationships/slideLayout" Target="../slideLayouts/slideLayout123.xml"/><Relationship Id="rId330" Type="http://schemas.openxmlformats.org/officeDocument/2006/relationships/slideLayout" Target="../slideLayouts/slideLayout330.xml"/><Relationship Id="rId568" Type="http://schemas.openxmlformats.org/officeDocument/2006/relationships/slideLayout" Target="../slideLayouts/slideLayout568.xml"/><Relationship Id="rId428" Type="http://schemas.openxmlformats.org/officeDocument/2006/relationships/slideLayout" Target="../slideLayouts/slideLayout428.xml"/><Relationship Id="rId635" Type="http://schemas.openxmlformats.org/officeDocument/2006/relationships/slideLayout" Target="../slideLayouts/slideLayout635.xml"/><Relationship Id="rId274" Type="http://schemas.openxmlformats.org/officeDocument/2006/relationships/slideLayout" Target="../slideLayouts/slideLayout274.xml"/><Relationship Id="rId481" Type="http://schemas.openxmlformats.org/officeDocument/2006/relationships/slideLayout" Target="../slideLayouts/slideLayout481.xml"/><Relationship Id="rId69" Type="http://schemas.openxmlformats.org/officeDocument/2006/relationships/slideLayout" Target="../slideLayouts/slideLayout69.xml"/><Relationship Id="rId134" Type="http://schemas.openxmlformats.org/officeDocument/2006/relationships/slideLayout" Target="../slideLayouts/slideLayout134.xml"/><Relationship Id="rId579" Type="http://schemas.openxmlformats.org/officeDocument/2006/relationships/slideLayout" Target="../slideLayouts/slideLayout579.xml"/><Relationship Id="rId341" Type="http://schemas.openxmlformats.org/officeDocument/2006/relationships/slideLayout" Target="../slideLayouts/slideLayout341.xml"/><Relationship Id="rId439" Type="http://schemas.openxmlformats.org/officeDocument/2006/relationships/slideLayout" Target="../slideLayouts/slideLayout439.xml"/><Relationship Id="rId646" Type="http://schemas.openxmlformats.org/officeDocument/2006/relationships/slideLayout" Target="../slideLayouts/slideLayout646.xml"/><Relationship Id="rId201" Type="http://schemas.openxmlformats.org/officeDocument/2006/relationships/slideLayout" Target="../slideLayouts/slideLayout201.xml"/><Relationship Id="rId285" Type="http://schemas.openxmlformats.org/officeDocument/2006/relationships/slideLayout" Target="../slideLayouts/slideLayout285.xml"/><Relationship Id="rId506" Type="http://schemas.openxmlformats.org/officeDocument/2006/relationships/slideLayout" Target="../slideLayouts/slideLayout506.xml"/><Relationship Id="rId492" Type="http://schemas.openxmlformats.org/officeDocument/2006/relationships/slideLayout" Target="../slideLayouts/slideLayout492.xml"/><Relationship Id="rId91" Type="http://schemas.openxmlformats.org/officeDocument/2006/relationships/slideLayout" Target="../slideLayouts/slideLayout91.xml"/><Relationship Id="rId145" Type="http://schemas.openxmlformats.org/officeDocument/2006/relationships/slideLayout" Target="../slideLayouts/slideLayout145.xml"/><Relationship Id="rId187" Type="http://schemas.openxmlformats.org/officeDocument/2006/relationships/slideLayout" Target="../slideLayouts/slideLayout187.xml"/><Relationship Id="rId352" Type="http://schemas.openxmlformats.org/officeDocument/2006/relationships/slideLayout" Target="../slideLayouts/slideLayout352.xml"/><Relationship Id="rId394" Type="http://schemas.openxmlformats.org/officeDocument/2006/relationships/slideLayout" Target="../slideLayouts/slideLayout394.xml"/><Relationship Id="rId408" Type="http://schemas.openxmlformats.org/officeDocument/2006/relationships/slideLayout" Target="../slideLayouts/slideLayout408.xml"/><Relationship Id="rId615" Type="http://schemas.openxmlformats.org/officeDocument/2006/relationships/slideLayout" Target="../slideLayouts/slideLayout615.xml"/><Relationship Id="rId212" Type="http://schemas.openxmlformats.org/officeDocument/2006/relationships/slideLayout" Target="../slideLayouts/slideLayout212.xml"/><Relationship Id="rId254" Type="http://schemas.openxmlformats.org/officeDocument/2006/relationships/slideLayout" Target="../slideLayouts/slideLayout254.xml"/><Relationship Id="rId657" Type="http://schemas.openxmlformats.org/officeDocument/2006/relationships/slideLayout" Target="../slideLayouts/slideLayout657.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296" Type="http://schemas.openxmlformats.org/officeDocument/2006/relationships/slideLayout" Target="../slideLayouts/slideLayout296.xml"/><Relationship Id="rId461" Type="http://schemas.openxmlformats.org/officeDocument/2006/relationships/slideLayout" Target="../slideLayouts/slideLayout461.xml"/><Relationship Id="rId517" Type="http://schemas.openxmlformats.org/officeDocument/2006/relationships/slideLayout" Target="../slideLayouts/slideLayout517.xml"/><Relationship Id="rId559" Type="http://schemas.openxmlformats.org/officeDocument/2006/relationships/slideLayout" Target="../slideLayouts/slideLayout559.xml"/><Relationship Id="rId60" Type="http://schemas.openxmlformats.org/officeDocument/2006/relationships/slideLayout" Target="../slideLayouts/slideLayout60.xml"/><Relationship Id="rId156" Type="http://schemas.openxmlformats.org/officeDocument/2006/relationships/slideLayout" Target="../slideLayouts/slideLayout156.xml"/><Relationship Id="rId198" Type="http://schemas.openxmlformats.org/officeDocument/2006/relationships/slideLayout" Target="../slideLayouts/slideLayout198.xml"/><Relationship Id="rId321" Type="http://schemas.openxmlformats.org/officeDocument/2006/relationships/slideLayout" Target="../slideLayouts/slideLayout321.xml"/><Relationship Id="rId363" Type="http://schemas.openxmlformats.org/officeDocument/2006/relationships/slideLayout" Target="../slideLayouts/slideLayout363.xml"/><Relationship Id="rId419" Type="http://schemas.openxmlformats.org/officeDocument/2006/relationships/slideLayout" Target="../slideLayouts/slideLayout419.xml"/><Relationship Id="rId570" Type="http://schemas.openxmlformats.org/officeDocument/2006/relationships/slideLayout" Target="../slideLayouts/slideLayout570.xml"/><Relationship Id="rId626" Type="http://schemas.openxmlformats.org/officeDocument/2006/relationships/slideLayout" Target="../slideLayouts/slideLayout626.xml"/><Relationship Id="rId223" Type="http://schemas.openxmlformats.org/officeDocument/2006/relationships/slideLayout" Target="../slideLayouts/slideLayout223.xml"/><Relationship Id="rId430" Type="http://schemas.openxmlformats.org/officeDocument/2006/relationships/slideLayout" Target="../slideLayouts/slideLayout430.xml"/><Relationship Id="rId668" Type="http://schemas.openxmlformats.org/officeDocument/2006/relationships/slideLayout" Target="../slideLayouts/slideLayout668.xml"/><Relationship Id="rId18" Type="http://schemas.openxmlformats.org/officeDocument/2006/relationships/slideLayout" Target="../slideLayouts/slideLayout18.xml"/><Relationship Id="rId265" Type="http://schemas.openxmlformats.org/officeDocument/2006/relationships/slideLayout" Target="../slideLayouts/slideLayout265.xml"/><Relationship Id="rId472" Type="http://schemas.openxmlformats.org/officeDocument/2006/relationships/slideLayout" Target="../slideLayouts/slideLayout472.xml"/><Relationship Id="rId528" Type="http://schemas.openxmlformats.org/officeDocument/2006/relationships/slideLayout" Target="../slideLayouts/slideLayout528.xml"/><Relationship Id="rId125" Type="http://schemas.openxmlformats.org/officeDocument/2006/relationships/slideLayout" Target="../slideLayouts/slideLayout125.xml"/><Relationship Id="rId167" Type="http://schemas.openxmlformats.org/officeDocument/2006/relationships/slideLayout" Target="../slideLayouts/slideLayout167.xml"/><Relationship Id="rId332" Type="http://schemas.openxmlformats.org/officeDocument/2006/relationships/slideLayout" Target="../slideLayouts/slideLayout332.xml"/><Relationship Id="rId374" Type="http://schemas.openxmlformats.org/officeDocument/2006/relationships/slideLayout" Target="../slideLayouts/slideLayout374.xml"/><Relationship Id="rId581" Type="http://schemas.openxmlformats.org/officeDocument/2006/relationships/slideLayout" Target="../slideLayouts/slideLayout581.xml"/><Relationship Id="rId71" Type="http://schemas.openxmlformats.org/officeDocument/2006/relationships/slideLayout" Target="../slideLayouts/slideLayout71.xml"/><Relationship Id="rId234" Type="http://schemas.openxmlformats.org/officeDocument/2006/relationships/slideLayout" Target="../slideLayouts/slideLayout234.xml"/><Relationship Id="rId637" Type="http://schemas.openxmlformats.org/officeDocument/2006/relationships/slideLayout" Target="../slideLayouts/slideLayout637.xml"/><Relationship Id="rId679" Type="http://schemas.openxmlformats.org/officeDocument/2006/relationships/slideLayout" Target="../slideLayouts/slideLayout679.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76" Type="http://schemas.openxmlformats.org/officeDocument/2006/relationships/slideLayout" Target="../slideLayouts/slideLayout276.xml"/><Relationship Id="rId441" Type="http://schemas.openxmlformats.org/officeDocument/2006/relationships/slideLayout" Target="../slideLayouts/slideLayout441.xml"/><Relationship Id="rId483" Type="http://schemas.openxmlformats.org/officeDocument/2006/relationships/slideLayout" Target="../slideLayouts/slideLayout483.xml"/><Relationship Id="rId539" Type="http://schemas.openxmlformats.org/officeDocument/2006/relationships/slideLayout" Target="../slideLayouts/slideLayout539.xml"/><Relationship Id="rId40" Type="http://schemas.openxmlformats.org/officeDocument/2006/relationships/slideLayout" Target="../slideLayouts/slideLayout40.xml"/><Relationship Id="rId136" Type="http://schemas.openxmlformats.org/officeDocument/2006/relationships/slideLayout" Target="../slideLayouts/slideLayout136.xml"/><Relationship Id="rId178" Type="http://schemas.openxmlformats.org/officeDocument/2006/relationships/slideLayout" Target="../slideLayouts/slideLayout178.xml"/><Relationship Id="rId301" Type="http://schemas.openxmlformats.org/officeDocument/2006/relationships/slideLayout" Target="../slideLayouts/slideLayout301.xml"/><Relationship Id="rId343" Type="http://schemas.openxmlformats.org/officeDocument/2006/relationships/slideLayout" Target="../slideLayouts/slideLayout343.xml"/><Relationship Id="rId550" Type="http://schemas.openxmlformats.org/officeDocument/2006/relationships/slideLayout" Target="../slideLayouts/slideLayout550.xml"/><Relationship Id="rId82" Type="http://schemas.openxmlformats.org/officeDocument/2006/relationships/slideLayout" Target="../slideLayouts/slideLayout82.xml"/><Relationship Id="rId203" Type="http://schemas.openxmlformats.org/officeDocument/2006/relationships/slideLayout" Target="../slideLayouts/slideLayout203.xml"/><Relationship Id="rId385" Type="http://schemas.openxmlformats.org/officeDocument/2006/relationships/slideLayout" Target="../slideLayouts/slideLayout385.xml"/><Relationship Id="rId592" Type="http://schemas.openxmlformats.org/officeDocument/2006/relationships/slideLayout" Target="../slideLayouts/slideLayout592.xml"/><Relationship Id="rId606" Type="http://schemas.openxmlformats.org/officeDocument/2006/relationships/slideLayout" Target="../slideLayouts/slideLayout606.xml"/><Relationship Id="rId648" Type="http://schemas.openxmlformats.org/officeDocument/2006/relationships/slideLayout" Target="../slideLayouts/slideLayout648.xml"/><Relationship Id="rId245" Type="http://schemas.openxmlformats.org/officeDocument/2006/relationships/slideLayout" Target="../slideLayouts/slideLayout245.xml"/><Relationship Id="rId287" Type="http://schemas.openxmlformats.org/officeDocument/2006/relationships/slideLayout" Target="../slideLayouts/slideLayout287.xml"/><Relationship Id="rId410" Type="http://schemas.openxmlformats.org/officeDocument/2006/relationships/slideLayout" Target="../slideLayouts/slideLayout410.xml"/><Relationship Id="rId452" Type="http://schemas.openxmlformats.org/officeDocument/2006/relationships/slideLayout" Target="../slideLayouts/slideLayout452.xml"/><Relationship Id="rId494" Type="http://schemas.openxmlformats.org/officeDocument/2006/relationships/slideLayout" Target="../slideLayouts/slideLayout494.xml"/><Relationship Id="rId508" Type="http://schemas.openxmlformats.org/officeDocument/2006/relationships/slideLayout" Target="../slideLayouts/slideLayout508.xml"/><Relationship Id="rId105" Type="http://schemas.openxmlformats.org/officeDocument/2006/relationships/slideLayout" Target="../slideLayouts/slideLayout105.xml"/><Relationship Id="rId147" Type="http://schemas.openxmlformats.org/officeDocument/2006/relationships/slideLayout" Target="../slideLayouts/slideLayout147.xml"/><Relationship Id="rId312" Type="http://schemas.openxmlformats.org/officeDocument/2006/relationships/slideLayout" Target="../slideLayouts/slideLayout312.xml"/><Relationship Id="rId354" Type="http://schemas.openxmlformats.org/officeDocument/2006/relationships/slideLayout" Target="../slideLayouts/slideLayout354.xml"/><Relationship Id="rId51" Type="http://schemas.openxmlformats.org/officeDocument/2006/relationships/slideLayout" Target="../slideLayouts/slideLayout51.xml"/><Relationship Id="rId93" Type="http://schemas.openxmlformats.org/officeDocument/2006/relationships/slideLayout" Target="../slideLayouts/slideLayout93.xml"/><Relationship Id="rId189" Type="http://schemas.openxmlformats.org/officeDocument/2006/relationships/slideLayout" Target="../slideLayouts/slideLayout189.xml"/><Relationship Id="rId396" Type="http://schemas.openxmlformats.org/officeDocument/2006/relationships/slideLayout" Target="../slideLayouts/slideLayout396.xml"/><Relationship Id="rId561" Type="http://schemas.openxmlformats.org/officeDocument/2006/relationships/slideLayout" Target="../slideLayouts/slideLayout561.xml"/><Relationship Id="rId617" Type="http://schemas.openxmlformats.org/officeDocument/2006/relationships/slideLayout" Target="../slideLayouts/slideLayout617.xml"/><Relationship Id="rId659" Type="http://schemas.openxmlformats.org/officeDocument/2006/relationships/slideLayout" Target="../slideLayouts/slideLayout659.xml"/><Relationship Id="rId214" Type="http://schemas.openxmlformats.org/officeDocument/2006/relationships/slideLayout" Target="../slideLayouts/slideLayout214.xml"/><Relationship Id="rId256" Type="http://schemas.openxmlformats.org/officeDocument/2006/relationships/slideLayout" Target="../slideLayouts/slideLayout256.xml"/><Relationship Id="rId298" Type="http://schemas.openxmlformats.org/officeDocument/2006/relationships/slideLayout" Target="../slideLayouts/slideLayout298.xml"/><Relationship Id="rId421" Type="http://schemas.openxmlformats.org/officeDocument/2006/relationships/slideLayout" Target="../slideLayouts/slideLayout421.xml"/><Relationship Id="rId463" Type="http://schemas.openxmlformats.org/officeDocument/2006/relationships/slideLayout" Target="../slideLayouts/slideLayout463.xml"/><Relationship Id="rId519" Type="http://schemas.openxmlformats.org/officeDocument/2006/relationships/slideLayout" Target="../slideLayouts/slideLayout519.xml"/><Relationship Id="rId670" Type="http://schemas.openxmlformats.org/officeDocument/2006/relationships/slideLayout" Target="../slideLayouts/slideLayout670.xml"/><Relationship Id="rId116" Type="http://schemas.openxmlformats.org/officeDocument/2006/relationships/slideLayout" Target="../slideLayouts/slideLayout116.xml"/><Relationship Id="rId158" Type="http://schemas.openxmlformats.org/officeDocument/2006/relationships/slideLayout" Target="../slideLayouts/slideLayout158.xml"/><Relationship Id="rId323" Type="http://schemas.openxmlformats.org/officeDocument/2006/relationships/slideLayout" Target="../slideLayouts/slideLayout323.xml"/><Relationship Id="rId530" Type="http://schemas.openxmlformats.org/officeDocument/2006/relationships/slideLayout" Target="../slideLayouts/slideLayout530.xml"/><Relationship Id="rId20" Type="http://schemas.openxmlformats.org/officeDocument/2006/relationships/slideLayout" Target="../slideLayouts/slideLayout20.xml"/><Relationship Id="rId62" Type="http://schemas.openxmlformats.org/officeDocument/2006/relationships/slideLayout" Target="../slideLayouts/slideLayout62.xml"/><Relationship Id="rId365" Type="http://schemas.openxmlformats.org/officeDocument/2006/relationships/slideLayout" Target="../slideLayouts/slideLayout365.xml"/><Relationship Id="rId572" Type="http://schemas.openxmlformats.org/officeDocument/2006/relationships/slideLayout" Target="../slideLayouts/slideLayout572.xml"/><Relationship Id="rId628" Type="http://schemas.openxmlformats.org/officeDocument/2006/relationships/slideLayout" Target="../slideLayouts/slideLayout628.xml"/><Relationship Id="rId225" Type="http://schemas.openxmlformats.org/officeDocument/2006/relationships/slideLayout" Target="../slideLayouts/slideLayout225.xml"/><Relationship Id="rId267" Type="http://schemas.openxmlformats.org/officeDocument/2006/relationships/slideLayout" Target="../slideLayouts/slideLayout267.xml"/><Relationship Id="rId432" Type="http://schemas.openxmlformats.org/officeDocument/2006/relationships/slideLayout" Target="../slideLayouts/slideLayout432.xml"/><Relationship Id="rId474" Type="http://schemas.openxmlformats.org/officeDocument/2006/relationships/slideLayout" Target="../slideLayouts/slideLayout474.xml"/><Relationship Id="rId127" Type="http://schemas.openxmlformats.org/officeDocument/2006/relationships/slideLayout" Target="../slideLayouts/slideLayout127.xml"/><Relationship Id="rId681" Type="http://schemas.openxmlformats.org/officeDocument/2006/relationships/slideLayout" Target="../slideLayouts/slideLayout681.xml"/><Relationship Id="rId31" Type="http://schemas.openxmlformats.org/officeDocument/2006/relationships/slideLayout" Target="../slideLayouts/slideLayout31.xml"/><Relationship Id="rId73" Type="http://schemas.openxmlformats.org/officeDocument/2006/relationships/slideLayout" Target="../slideLayouts/slideLayout73.xml"/><Relationship Id="rId169" Type="http://schemas.openxmlformats.org/officeDocument/2006/relationships/slideLayout" Target="../slideLayouts/slideLayout169.xml"/><Relationship Id="rId334" Type="http://schemas.openxmlformats.org/officeDocument/2006/relationships/slideLayout" Target="../slideLayouts/slideLayout334.xml"/><Relationship Id="rId376" Type="http://schemas.openxmlformats.org/officeDocument/2006/relationships/slideLayout" Target="../slideLayouts/slideLayout376.xml"/><Relationship Id="rId541" Type="http://schemas.openxmlformats.org/officeDocument/2006/relationships/slideLayout" Target="../slideLayouts/slideLayout541.xml"/><Relationship Id="rId583" Type="http://schemas.openxmlformats.org/officeDocument/2006/relationships/slideLayout" Target="../slideLayouts/slideLayout583.xml"/><Relationship Id="rId639" Type="http://schemas.openxmlformats.org/officeDocument/2006/relationships/slideLayout" Target="../slideLayouts/slideLayout639.xml"/><Relationship Id="rId4" Type="http://schemas.openxmlformats.org/officeDocument/2006/relationships/slideLayout" Target="../slideLayouts/slideLayout4.xml"/><Relationship Id="rId180" Type="http://schemas.openxmlformats.org/officeDocument/2006/relationships/slideLayout" Target="../slideLayouts/slideLayout180.xml"/><Relationship Id="rId236" Type="http://schemas.openxmlformats.org/officeDocument/2006/relationships/slideLayout" Target="../slideLayouts/slideLayout236.xml"/><Relationship Id="rId278" Type="http://schemas.openxmlformats.org/officeDocument/2006/relationships/slideLayout" Target="../slideLayouts/slideLayout278.xml"/><Relationship Id="rId401" Type="http://schemas.openxmlformats.org/officeDocument/2006/relationships/slideLayout" Target="../slideLayouts/slideLayout401.xml"/><Relationship Id="rId443" Type="http://schemas.openxmlformats.org/officeDocument/2006/relationships/slideLayout" Target="../slideLayouts/slideLayout443.xml"/><Relationship Id="rId650" Type="http://schemas.openxmlformats.org/officeDocument/2006/relationships/slideLayout" Target="../slideLayouts/slideLayout650.xml"/><Relationship Id="rId303" Type="http://schemas.openxmlformats.org/officeDocument/2006/relationships/slideLayout" Target="../slideLayouts/slideLayout303.xml"/><Relationship Id="rId485" Type="http://schemas.openxmlformats.org/officeDocument/2006/relationships/slideLayout" Target="../slideLayouts/slideLayout485.xml"/><Relationship Id="rId42" Type="http://schemas.openxmlformats.org/officeDocument/2006/relationships/slideLayout" Target="../slideLayouts/slideLayout42.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345" Type="http://schemas.openxmlformats.org/officeDocument/2006/relationships/slideLayout" Target="../slideLayouts/slideLayout345.xml"/><Relationship Id="rId387" Type="http://schemas.openxmlformats.org/officeDocument/2006/relationships/slideLayout" Target="../slideLayouts/slideLayout387.xml"/><Relationship Id="rId510" Type="http://schemas.openxmlformats.org/officeDocument/2006/relationships/slideLayout" Target="../slideLayouts/slideLayout510.xml"/><Relationship Id="rId552" Type="http://schemas.openxmlformats.org/officeDocument/2006/relationships/slideLayout" Target="../slideLayouts/slideLayout552.xml"/><Relationship Id="rId594" Type="http://schemas.openxmlformats.org/officeDocument/2006/relationships/slideLayout" Target="../slideLayouts/slideLayout594.xml"/><Relationship Id="rId608" Type="http://schemas.openxmlformats.org/officeDocument/2006/relationships/slideLayout" Target="../slideLayouts/slideLayout608.xml"/><Relationship Id="rId191" Type="http://schemas.openxmlformats.org/officeDocument/2006/relationships/slideLayout" Target="../slideLayouts/slideLayout191.xml"/><Relationship Id="rId205" Type="http://schemas.openxmlformats.org/officeDocument/2006/relationships/slideLayout" Target="../slideLayouts/slideLayout205.xml"/><Relationship Id="rId247" Type="http://schemas.openxmlformats.org/officeDocument/2006/relationships/slideLayout" Target="../slideLayouts/slideLayout247.xml"/><Relationship Id="rId412" Type="http://schemas.openxmlformats.org/officeDocument/2006/relationships/slideLayout" Target="../slideLayouts/slideLayout412.xml"/><Relationship Id="rId107" Type="http://schemas.openxmlformats.org/officeDocument/2006/relationships/slideLayout" Target="../slideLayouts/slideLayout107.xml"/><Relationship Id="rId289" Type="http://schemas.openxmlformats.org/officeDocument/2006/relationships/slideLayout" Target="../slideLayouts/slideLayout289.xml"/><Relationship Id="rId454" Type="http://schemas.openxmlformats.org/officeDocument/2006/relationships/slideLayout" Target="../slideLayouts/slideLayout454.xml"/><Relationship Id="rId496" Type="http://schemas.openxmlformats.org/officeDocument/2006/relationships/slideLayout" Target="../slideLayouts/slideLayout496.xml"/><Relationship Id="rId661" Type="http://schemas.openxmlformats.org/officeDocument/2006/relationships/slideLayout" Target="../slideLayouts/slideLayout661.xml"/><Relationship Id="rId11" Type="http://schemas.openxmlformats.org/officeDocument/2006/relationships/slideLayout" Target="../slideLayouts/slideLayout11.xml"/><Relationship Id="rId53" Type="http://schemas.openxmlformats.org/officeDocument/2006/relationships/slideLayout" Target="../slideLayouts/slideLayout53.xml"/><Relationship Id="rId149" Type="http://schemas.openxmlformats.org/officeDocument/2006/relationships/slideLayout" Target="../slideLayouts/slideLayout149.xml"/><Relationship Id="rId314" Type="http://schemas.openxmlformats.org/officeDocument/2006/relationships/slideLayout" Target="../slideLayouts/slideLayout314.xml"/><Relationship Id="rId356" Type="http://schemas.openxmlformats.org/officeDocument/2006/relationships/slideLayout" Target="../slideLayouts/slideLayout356.xml"/><Relationship Id="rId398" Type="http://schemas.openxmlformats.org/officeDocument/2006/relationships/slideLayout" Target="../slideLayouts/slideLayout398.xml"/><Relationship Id="rId521" Type="http://schemas.openxmlformats.org/officeDocument/2006/relationships/slideLayout" Target="../slideLayouts/slideLayout521.xml"/><Relationship Id="rId563" Type="http://schemas.openxmlformats.org/officeDocument/2006/relationships/slideLayout" Target="../slideLayouts/slideLayout563.xml"/><Relationship Id="rId619" Type="http://schemas.openxmlformats.org/officeDocument/2006/relationships/slideLayout" Target="../slideLayouts/slideLayout619.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216" Type="http://schemas.openxmlformats.org/officeDocument/2006/relationships/slideLayout" Target="../slideLayouts/slideLayout216.xml"/><Relationship Id="rId423" Type="http://schemas.openxmlformats.org/officeDocument/2006/relationships/slideLayout" Target="../slideLayouts/slideLayout423.xml"/><Relationship Id="rId258" Type="http://schemas.openxmlformats.org/officeDocument/2006/relationships/slideLayout" Target="../slideLayouts/slideLayout258.xml"/><Relationship Id="rId465" Type="http://schemas.openxmlformats.org/officeDocument/2006/relationships/slideLayout" Target="../slideLayouts/slideLayout465.xml"/><Relationship Id="rId630" Type="http://schemas.openxmlformats.org/officeDocument/2006/relationships/slideLayout" Target="../slideLayouts/slideLayout630.xml"/><Relationship Id="rId672" Type="http://schemas.openxmlformats.org/officeDocument/2006/relationships/slideLayout" Target="../slideLayouts/slideLayout672.xml"/><Relationship Id="rId22" Type="http://schemas.openxmlformats.org/officeDocument/2006/relationships/slideLayout" Target="../slideLayouts/slideLayout22.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325" Type="http://schemas.openxmlformats.org/officeDocument/2006/relationships/slideLayout" Target="../slideLayouts/slideLayout325.xml"/><Relationship Id="rId367" Type="http://schemas.openxmlformats.org/officeDocument/2006/relationships/slideLayout" Target="../slideLayouts/slideLayout367.xml"/><Relationship Id="rId532" Type="http://schemas.openxmlformats.org/officeDocument/2006/relationships/slideLayout" Target="../slideLayouts/slideLayout532.xml"/><Relationship Id="rId574" Type="http://schemas.openxmlformats.org/officeDocument/2006/relationships/slideLayout" Target="../slideLayouts/slideLayout574.xml"/><Relationship Id="rId171" Type="http://schemas.openxmlformats.org/officeDocument/2006/relationships/slideLayout" Target="../slideLayouts/slideLayout171.xml"/><Relationship Id="rId227" Type="http://schemas.openxmlformats.org/officeDocument/2006/relationships/slideLayout" Target="../slideLayouts/slideLayout227.xml"/><Relationship Id="rId269" Type="http://schemas.openxmlformats.org/officeDocument/2006/relationships/slideLayout" Target="../slideLayouts/slideLayout269.xml"/><Relationship Id="rId434" Type="http://schemas.openxmlformats.org/officeDocument/2006/relationships/slideLayout" Target="../slideLayouts/slideLayout434.xml"/><Relationship Id="rId476" Type="http://schemas.openxmlformats.org/officeDocument/2006/relationships/slideLayout" Target="../slideLayouts/slideLayout476.xml"/><Relationship Id="rId641" Type="http://schemas.openxmlformats.org/officeDocument/2006/relationships/slideLayout" Target="../slideLayouts/slideLayout641.xml"/><Relationship Id="rId33" Type="http://schemas.openxmlformats.org/officeDocument/2006/relationships/slideLayout" Target="../slideLayouts/slideLayout33.xml"/><Relationship Id="rId129" Type="http://schemas.openxmlformats.org/officeDocument/2006/relationships/slideLayout" Target="../slideLayouts/slideLayout129.xml"/><Relationship Id="rId280" Type="http://schemas.openxmlformats.org/officeDocument/2006/relationships/slideLayout" Target="../slideLayouts/slideLayout280.xml"/><Relationship Id="rId336" Type="http://schemas.openxmlformats.org/officeDocument/2006/relationships/slideLayout" Target="../slideLayouts/slideLayout336.xml"/><Relationship Id="rId501" Type="http://schemas.openxmlformats.org/officeDocument/2006/relationships/slideLayout" Target="../slideLayouts/slideLayout501.xml"/><Relationship Id="rId543" Type="http://schemas.openxmlformats.org/officeDocument/2006/relationships/slideLayout" Target="../slideLayouts/slideLayout543.xml"/><Relationship Id="rId75" Type="http://schemas.openxmlformats.org/officeDocument/2006/relationships/slideLayout" Target="../slideLayouts/slideLayout75.xml"/><Relationship Id="rId140" Type="http://schemas.openxmlformats.org/officeDocument/2006/relationships/slideLayout" Target="../slideLayouts/slideLayout140.xml"/><Relationship Id="rId182" Type="http://schemas.openxmlformats.org/officeDocument/2006/relationships/slideLayout" Target="../slideLayouts/slideLayout182.xml"/><Relationship Id="rId378" Type="http://schemas.openxmlformats.org/officeDocument/2006/relationships/slideLayout" Target="../slideLayouts/slideLayout378.xml"/><Relationship Id="rId403" Type="http://schemas.openxmlformats.org/officeDocument/2006/relationships/slideLayout" Target="../slideLayouts/slideLayout403.xml"/><Relationship Id="rId585" Type="http://schemas.openxmlformats.org/officeDocument/2006/relationships/slideLayout" Target="../slideLayouts/slideLayout585.xml"/><Relationship Id="rId6" Type="http://schemas.openxmlformats.org/officeDocument/2006/relationships/slideLayout" Target="../slideLayouts/slideLayout6.xml"/><Relationship Id="rId238" Type="http://schemas.openxmlformats.org/officeDocument/2006/relationships/slideLayout" Target="../slideLayouts/slideLayout238.xml"/><Relationship Id="rId445" Type="http://schemas.openxmlformats.org/officeDocument/2006/relationships/slideLayout" Target="../slideLayouts/slideLayout445.xml"/><Relationship Id="rId487" Type="http://schemas.openxmlformats.org/officeDocument/2006/relationships/slideLayout" Target="../slideLayouts/slideLayout487.xml"/><Relationship Id="rId610" Type="http://schemas.openxmlformats.org/officeDocument/2006/relationships/slideLayout" Target="../slideLayouts/slideLayout610.xml"/><Relationship Id="rId652" Type="http://schemas.openxmlformats.org/officeDocument/2006/relationships/slideLayout" Target="../slideLayouts/slideLayout652.xml"/><Relationship Id="rId291" Type="http://schemas.openxmlformats.org/officeDocument/2006/relationships/slideLayout" Target="../slideLayouts/slideLayout291.xml"/><Relationship Id="rId305" Type="http://schemas.openxmlformats.org/officeDocument/2006/relationships/slideLayout" Target="../slideLayouts/slideLayout305.xml"/><Relationship Id="rId347" Type="http://schemas.openxmlformats.org/officeDocument/2006/relationships/slideLayout" Target="../slideLayouts/slideLayout347.xml"/><Relationship Id="rId512" Type="http://schemas.openxmlformats.org/officeDocument/2006/relationships/slideLayout" Target="../slideLayouts/slideLayout512.xml"/><Relationship Id="rId44" Type="http://schemas.openxmlformats.org/officeDocument/2006/relationships/slideLayout" Target="../slideLayouts/slideLayout44.xml"/><Relationship Id="rId86" Type="http://schemas.openxmlformats.org/officeDocument/2006/relationships/slideLayout" Target="../slideLayouts/slideLayout86.xml"/><Relationship Id="rId151" Type="http://schemas.openxmlformats.org/officeDocument/2006/relationships/slideLayout" Target="../slideLayouts/slideLayout151.xml"/><Relationship Id="rId389" Type="http://schemas.openxmlformats.org/officeDocument/2006/relationships/slideLayout" Target="../slideLayouts/slideLayout389.xml"/><Relationship Id="rId554" Type="http://schemas.openxmlformats.org/officeDocument/2006/relationships/slideLayout" Target="../slideLayouts/slideLayout554.xml"/><Relationship Id="rId596" Type="http://schemas.openxmlformats.org/officeDocument/2006/relationships/slideLayout" Target="../slideLayouts/slideLayout596.xml"/><Relationship Id="rId193" Type="http://schemas.openxmlformats.org/officeDocument/2006/relationships/slideLayout" Target="../slideLayouts/slideLayout193.xml"/><Relationship Id="rId207" Type="http://schemas.openxmlformats.org/officeDocument/2006/relationships/slideLayout" Target="../slideLayouts/slideLayout207.xml"/><Relationship Id="rId249" Type="http://schemas.openxmlformats.org/officeDocument/2006/relationships/slideLayout" Target="../slideLayouts/slideLayout249.xml"/><Relationship Id="rId414" Type="http://schemas.openxmlformats.org/officeDocument/2006/relationships/slideLayout" Target="../slideLayouts/slideLayout414.xml"/><Relationship Id="rId456" Type="http://schemas.openxmlformats.org/officeDocument/2006/relationships/slideLayout" Target="../slideLayouts/slideLayout456.xml"/><Relationship Id="rId498" Type="http://schemas.openxmlformats.org/officeDocument/2006/relationships/slideLayout" Target="../slideLayouts/slideLayout498.xml"/><Relationship Id="rId621" Type="http://schemas.openxmlformats.org/officeDocument/2006/relationships/slideLayout" Target="../slideLayouts/slideLayout621.xml"/><Relationship Id="rId663" Type="http://schemas.openxmlformats.org/officeDocument/2006/relationships/slideLayout" Target="../slideLayouts/slideLayout663.xml"/><Relationship Id="rId13" Type="http://schemas.openxmlformats.org/officeDocument/2006/relationships/slideLayout" Target="../slideLayouts/slideLayout13.xml"/><Relationship Id="rId109" Type="http://schemas.openxmlformats.org/officeDocument/2006/relationships/slideLayout" Target="../slideLayouts/slideLayout109.xml"/><Relationship Id="rId260" Type="http://schemas.openxmlformats.org/officeDocument/2006/relationships/slideLayout" Target="../slideLayouts/slideLayout260.xml"/><Relationship Id="rId316" Type="http://schemas.openxmlformats.org/officeDocument/2006/relationships/slideLayout" Target="../slideLayouts/slideLayout316.xml"/><Relationship Id="rId523" Type="http://schemas.openxmlformats.org/officeDocument/2006/relationships/slideLayout" Target="../slideLayouts/slideLayout523.xml"/><Relationship Id="rId55" Type="http://schemas.openxmlformats.org/officeDocument/2006/relationships/slideLayout" Target="../slideLayouts/slideLayout55.xml"/><Relationship Id="rId97" Type="http://schemas.openxmlformats.org/officeDocument/2006/relationships/slideLayout" Target="../slideLayouts/slideLayout97.xml"/><Relationship Id="rId120" Type="http://schemas.openxmlformats.org/officeDocument/2006/relationships/slideLayout" Target="../slideLayouts/slideLayout120.xml"/><Relationship Id="rId358" Type="http://schemas.openxmlformats.org/officeDocument/2006/relationships/slideLayout" Target="../slideLayouts/slideLayout358.xml"/><Relationship Id="rId565" Type="http://schemas.openxmlformats.org/officeDocument/2006/relationships/slideLayout" Target="../slideLayouts/slideLayout565.xml"/><Relationship Id="rId162" Type="http://schemas.openxmlformats.org/officeDocument/2006/relationships/slideLayout" Target="../slideLayouts/slideLayout162.xml"/><Relationship Id="rId218" Type="http://schemas.openxmlformats.org/officeDocument/2006/relationships/slideLayout" Target="../slideLayouts/slideLayout218.xml"/><Relationship Id="rId425" Type="http://schemas.openxmlformats.org/officeDocument/2006/relationships/slideLayout" Target="../slideLayouts/slideLayout425.xml"/><Relationship Id="rId467" Type="http://schemas.openxmlformats.org/officeDocument/2006/relationships/slideLayout" Target="../slideLayouts/slideLayout467.xml"/><Relationship Id="rId632" Type="http://schemas.openxmlformats.org/officeDocument/2006/relationships/slideLayout" Target="../slideLayouts/slideLayout632.xml"/><Relationship Id="rId271" Type="http://schemas.openxmlformats.org/officeDocument/2006/relationships/slideLayout" Target="../slideLayouts/slideLayout271.xml"/><Relationship Id="rId674" Type="http://schemas.openxmlformats.org/officeDocument/2006/relationships/slideLayout" Target="../slideLayouts/slideLayout674.xml"/><Relationship Id="rId24" Type="http://schemas.openxmlformats.org/officeDocument/2006/relationships/slideLayout" Target="../slideLayouts/slideLayout24.xml"/><Relationship Id="rId66" Type="http://schemas.openxmlformats.org/officeDocument/2006/relationships/slideLayout" Target="../slideLayouts/slideLayout66.xml"/><Relationship Id="rId131" Type="http://schemas.openxmlformats.org/officeDocument/2006/relationships/slideLayout" Target="../slideLayouts/slideLayout131.xml"/><Relationship Id="rId327" Type="http://schemas.openxmlformats.org/officeDocument/2006/relationships/slideLayout" Target="../slideLayouts/slideLayout327.xml"/><Relationship Id="rId369" Type="http://schemas.openxmlformats.org/officeDocument/2006/relationships/slideLayout" Target="../slideLayouts/slideLayout369.xml"/><Relationship Id="rId534" Type="http://schemas.openxmlformats.org/officeDocument/2006/relationships/slideLayout" Target="../slideLayouts/slideLayout534.xml"/><Relationship Id="rId576" Type="http://schemas.openxmlformats.org/officeDocument/2006/relationships/slideLayout" Target="../slideLayouts/slideLayout576.xml"/><Relationship Id="rId173" Type="http://schemas.openxmlformats.org/officeDocument/2006/relationships/slideLayout" Target="../slideLayouts/slideLayout173.xml"/><Relationship Id="rId229" Type="http://schemas.openxmlformats.org/officeDocument/2006/relationships/slideLayout" Target="../slideLayouts/slideLayout229.xml"/><Relationship Id="rId380" Type="http://schemas.openxmlformats.org/officeDocument/2006/relationships/slideLayout" Target="../slideLayouts/slideLayout380.xml"/><Relationship Id="rId436" Type="http://schemas.openxmlformats.org/officeDocument/2006/relationships/slideLayout" Target="../slideLayouts/slideLayout436.xml"/><Relationship Id="rId601" Type="http://schemas.openxmlformats.org/officeDocument/2006/relationships/slideLayout" Target="../slideLayouts/slideLayout601.xml"/><Relationship Id="rId643" Type="http://schemas.openxmlformats.org/officeDocument/2006/relationships/slideLayout" Target="../slideLayouts/slideLayout643.xml"/><Relationship Id="rId240" Type="http://schemas.openxmlformats.org/officeDocument/2006/relationships/slideLayout" Target="../slideLayouts/slideLayout240.xml"/><Relationship Id="rId478" Type="http://schemas.openxmlformats.org/officeDocument/2006/relationships/slideLayout" Target="../slideLayouts/slideLayout478.xml"/><Relationship Id="rId35" Type="http://schemas.openxmlformats.org/officeDocument/2006/relationships/slideLayout" Target="../slideLayouts/slideLayout35.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282" Type="http://schemas.openxmlformats.org/officeDocument/2006/relationships/slideLayout" Target="../slideLayouts/slideLayout282.xml"/><Relationship Id="rId338" Type="http://schemas.openxmlformats.org/officeDocument/2006/relationships/slideLayout" Target="../slideLayouts/slideLayout338.xml"/><Relationship Id="rId503" Type="http://schemas.openxmlformats.org/officeDocument/2006/relationships/slideLayout" Target="../slideLayouts/slideLayout503.xml"/><Relationship Id="rId545" Type="http://schemas.openxmlformats.org/officeDocument/2006/relationships/slideLayout" Target="../slideLayouts/slideLayout545.xml"/><Relationship Id="rId587" Type="http://schemas.openxmlformats.org/officeDocument/2006/relationships/slideLayout" Target="../slideLayouts/slideLayout587.xml"/><Relationship Id="rId8" Type="http://schemas.openxmlformats.org/officeDocument/2006/relationships/slideLayout" Target="../slideLayouts/slideLayout8.xml"/><Relationship Id="rId142" Type="http://schemas.openxmlformats.org/officeDocument/2006/relationships/slideLayout" Target="../slideLayouts/slideLayout142.xml"/><Relationship Id="rId184" Type="http://schemas.openxmlformats.org/officeDocument/2006/relationships/slideLayout" Target="../slideLayouts/slideLayout184.xml"/><Relationship Id="rId391" Type="http://schemas.openxmlformats.org/officeDocument/2006/relationships/slideLayout" Target="../slideLayouts/slideLayout391.xml"/><Relationship Id="rId405" Type="http://schemas.openxmlformats.org/officeDocument/2006/relationships/slideLayout" Target="../slideLayouts/slideLayout405.xml"/><Relationship Id="rId447" Type="http://schemas.openxmlformats.org/officeDocument/2006/relationships/slideLayout" Target="../slideLayouts/slideLayout447.xml"/><Relationship Id="rId612" Type="http://schemas.openxmlformats.org/officeDocument/2006/relationships/slideLayout" Target="../slideLayouts/slideLayout612.xml"/><Relationship Id="rId251" Type="http://schemas.openxmlformats.org/officeDocument/2006/relationships/slideLayout" Target="../slideLayouts/slideLayout251.xml"/><Relationship Id="rId489" Type="http://schemas.openxmlformats.org/officeDocument/2006/relationships/slideLayout" Target="../slideLayouts/slideLayout489.xml"/><Relationship Id="rId654" Type="http://schemas.openxmlformats.org/officeDocument/2006/relationships/slideLayout" Target="../slideLayouts/slideLayout654.xml"/><Relationship Id="rId46" Type="http://schemas.openxmlformats.org/officeDocument/2006/relationships/slideLayout" Target="../slideLayouts/slideLayout46.xml"/><Relationship Id="rId293" Type="http://schemas.openxmlformats.org/officeDocument/2006/relationships/slideLayout" Target="../slideLayouts/slideLayout293.xml"/><Relationship Id="rId307" Type="http://schemas.openxmlformats.org/officeDocument/2006/relationships/slideLayout" Target="../slideLayouts/slideLayout307.xml"/><Relationship Id="rId349" Type="http://schemas.openxmlformats.org/officeDocument/2006/relationships/slideLayout" Target="../slideLayouts/slideLayout349.xml"/><Relationship Id="rId514" Type="http://schemas.openxmlformats.org/officeDocument/2006/relationships/slideLayout" Target="../slideLayouts/slideLayout514.xml"/><Relationship Id="rId556" Type="http://schemas.openxmlformats.org/officeDocument/2006/relationships/slideLayout" Target="../slideLayouts/slideLayout556.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3" Type="http://schemas.openxmlformats.org/officeDocument/2006/relationships/slideLayout" Target="../slideLayouts/slideLayout153.xml"/><Relationship Id="rId195" Type="http://schemas.openxmlformats.org/officeDocument/2006/relationships/slideLayout" Target="../slideLayouts/slideLayout195.xml"/><Relationship Id="rId209" Type="http://schemas.openxmlformats.org/officeDocument/2006/relationships/slideLayout" Target="../slideLayouts/slideLayout209.xml"/><Relationship Id="rId360" Type="http://schemas.openxmlformats.org/officeDocument/2006/relationships/slideLayout" Target="../slideLayouts/slideLayout360.xml"/><Relationship Id="rId416" Type="http://schemas.openxmlformats.org/officeDocument/2006/relationships/slideLayout" Target="../slideLayouts/slideLayout416.xml"/><Relationship Id="rId598" Type="http://schemas.openxmlformats.org/officeDocument/2006/relationships/slideLayout" Target="../slideLayouts/slideLayout598.xml"/><Relationship Id="rId220" Type="http://schemas.openxmlformats.org/officeDocument/2006/relationships/slideLayout" Target="../slideLayouts/slideLayout220.xml"/><Relationship Id="rId458" Type="http://schemas.openxmlformats.org/officeDocument/2006/relationships/slideLayout" Target="../slideLayouts/slideLayout458.xml"/><Relationship Id="rId623" Type="http://schemas.openxmlformats.org/officeDocument/2006/relationships/slideLayout" Target="../slideLayouts/slideLayout623.xml"/><Relationship Id="rId665" Type="http://schemas.openxmlformats.org/officeDocument/2006/relationships/slideLayout" Target="../slideLayouts/slideLayout665.xml"/><Relationship Id="rId15" Type="http://schemas.openxmlformats.org/officeDocument/2006/relationships/slideLayout" Target="../slideLayouts/slideLayout15.xml"/><Relationship Id="rId57" Type="http://schemas.openxmlformats.org/officeDocument/2006/relationships/slideLayout" Target="../slideLayouts/slideLayout57.xml"/><Relationship Id="rId262" Type="http://schemas.openxmlformats.org/officeDocument/2006/relationships/slideLayout" Target="../slideLayouts/slideLayout262.xml"/><Relationship Id="rId318" Type="http://schemas.openxmlformats.org/officeDocument/2006/relationships/slideLayout" Target="../slideLayouts/slideLayout318.xml"/><Relationship Id="rId525" Type="http://schemas.openxmlformats.org/officeDocument/2006/relationships/slideLayout" Target="../slideLayouts/slideLayout525.xml"/><Relationship Id="rId567" Type="http://schemas.openxmlformats.org/officeDocument/2006/relationships/slideLayout" Target="../slideLayouts/slideLayout567.xml"/><Relationship Id="rId99" Type="http://schemas.openxmlformats.org/officeDocument/2006/relationships/slideLayout" Target="../slideLayouts/slideLayout99.xml"/><Relationship Id="rId122" Type="http://schemas.openxmlformats.org/officeDocument/2006/relationships/slideLayout" Target="../slideLayouts/slideLayout122.xml"/><Relationship Id="rId164" Type="http://schemas.openxmlformats.org/officeDocument/2006/relationships/slideLayout" Target="../slideLayouts/slideLayout164.xml"/><Relationship Id="rId371" Type="http://schemas.openxmlformats.org/officeDocument/2006/relationships/slideLayout" Target="../slideLayouts/slideLayout371.xml"/><Relationship Id="rId427" Type="http://schemas.openxmlformats.org/officeDocument/2006/relationships/slideLayout" Target="../slideLayouts/slideLayout427.xml"/><Relationship Id="rId469" Type="http://schemas.openxmlformats.org/officeDocument/2006/relationships/slideLayout" Target="../slideLayouts/slideLayout469.xml"/><Relationship Id="rId634" Type="http://schemas.openxmlformats.org/officeDocument/2006/relationships/slideLayout" Target="../slideLayouts/slideLayout634.xml"/><Relationship Id="rId676" Type="http://schemas.openxmlformats.org/officeDocument/2006/relationships/slideLayout" Target="../slideLayouts/slideLayout676.xml"/><Relationship Id="rId26" Type="http://schemas.openxmlformats.org/officeDocument/2006/relationships/slideLayout" Target="../slideLayouts/slideLayout26.xml"/><Relationship Id="rId231" Type="http://schemas.openxmlformats.org/officeDocument/2006/relationships/slideLayout" Target="../slideLayouts/slideLayout231.xml"/><Relationship Id="rId273" Type="http://schemas.openxmlformats.org/officeDocument/2006/relationships/slideLayout" Target="../slideLayouts/slideLayout273.xml"/><Relationship Id="rId329" Type="http://schemas.openxmlformats.org/officeDocument/2006/relationships/slideLayout" Target="../slideLayouts/slideLayout329.xml"/><Relationship Id="rId480" Type="http://schemas.openxmlformats.org/officeDocument/2006/relationships/slideLayout" Target="../slideLayouts/slideLayout480.xml"/><Relationship Id="rId536" Type="http://schemas.openxmlformats.org/officeDocument/2006/relationships/slideLayout" Target="../slideLayouts/slideLayout536.xml"/><Relationship Id="rId68" Type="http://schemas.openxmlformats.org/officeDocument/2006/relationships/slideLayout" Target="../slideLayouts/slideLayout68.xml"/><Relationship Id="rId133" Type="http://schemas.openxmlformats.org/officeDocument/2006/relationships/slideLayout" Target="../slideLayouts/slideLayout133.xml"/><Relationship Id="rId175" Type="http://schemas.openxmlformats.org/officeDocument/2006/relationships/slideLayout" Target="../slideLayouts/slideLayout175.xml"/><Relationship Id="rId340" Type="http://schemas.openxmlformats.org/officeDocument/2006/relationships/slideLayout" Target="../slideLayouts/slideLayout340.xml"/><Relationship Id="rId578" Type="http://schemas.openxmlformats.org/officeDocument/2006/relationships/slideLayout" Target="../slideLayouts/slideLayout578.xml"/><Relationship Id="rId200" Type="http://schemas.openxmlformats.org/officeDocument/2006/relationships/slideLayout" Target="../slideLayouts/slideLayout200.xml"/><Relationship Id="rId382" Type="http://schemas.openxmlformats.org/officeDocument/2006/relationships/slideLayout" Target="../slideLayouts/slideLayout382.xml"/><Relationship Id="rId438" Type="http://schemas.openxmlformats.org/officeDocument/2006/relationships/slideLayout" Target="../slideLayouts/slideLayout438.xml"/><Relationship Id="rId603" Type="http://schemas.openxmlformats.org/officeDocument/2006/relationships/slideLayout" Target="../slideLayouts/slideLayout603.xml"/><Relationship Id="rId645" Type="http://schemas.openxmlformats.org/officeDocument/2006/relationships/slideLayout" Target="../slideLayouts/slideLayout645.xml"/><Relationship Id="rId242" Type="http://schemas.openxmlformats.org/officeDocument/2006/relationships/slideLayout" Target="../slideLayouts/slideLayout242.xml"/><Relationship Id="rId284" Type="http://schemas.openxmlformats.org/officeDocument/2006/relationships/slideLayout" Target="../slideLayouts/slideLayout284.xml"/><Relationship Id="rId491" Type="http://schemas.openxmlformats.org/officeDocument/2006/relationships/slideLayout" Target="../slideLayouts/slideLayout491.xml"/><Relationship Id="rId505" Type="http://schemas.openxmlformats.org/officeDocument/2006/relationships/slideLayout" Target="../slideLayouts/slideLayout505.xml"/><Relationship Id="rId37" Type="http://schemas.openxmlformats.org/officeDocument/2006/relationships/slideLayout" Target="../slideLayouts/slideLayout37.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44" Type="http://schemas.openxmlformats.org/officeDocument/2006/relationships/slideLayout" Target="../slideLayouts/slideLayout144.xml"/><Relationship Id="rId547" Type="http://schemas.openxmlformats.org/officeDocument/2006/relationships/slideLayout" Target="../slideLayouts/slideLayout547.xml"/><Relationship Id="rId589" Type="http://schemas.openxmlformats.org/officeDocument/2006/relationships/slideLayout" Target="../slideLayouts/slideLayout589.xml"/><Relationship Id="rId90" Type="http://schemas.openxmlformats.org/officeDocument/2006/relationships/slideLayout" Target="../slideLayouts/slideLayout90.xml"/><Relationship Id="rId186" Type="http://schemas.openxmlformats.org/officeDocument/2006/relationships/slideLayout" Target="../slideLayouts/slideLayout186.xml"/><Relationship Id="rId351" Type="http://schemas.openxmlformats.org/officeDocument/2006/relationships/slideLayout" Target="../slideLayouts/slideLayout351.xml"/><Relationship Id="rId393" Type="http://schemas.openxmlformats.org/officeDocument/2006/relationships/slideLayout" Target="../slideLayouts/slideLayout393.xml"/><Relationship Id="rId407" Type="http://schemas.openxmlformats.org/officeDocument/2006/relationships/slideLayout" Target="../slideLayouts/slideLayout407.xml"/><Relationship Id="rId449" Type="http://schemas.openxmlformats.org/officeDocument/2006/relationships/slideLayout" Target="../slideLayouts/slideLayout449.xml"/><Relationship Id="rId614" Type="http://schemas.openxmlformats.org/officeDocument/2006/relationships/slideLayout" Target="../slideLayouts/slideLayout614.xml"/><Relationship Id="rId656" Type="http://schemas.openxmlformats.org/officeDocument/2006/relationships/slideLayout" Target="../slideLayouts/slideLayout656.xml"/><Relationship Id="rId211" Type="http://schemas.openxmlformats.org/officeDocument/2006/relationships/slideLayout" Target="../slideLayouts/slideLayout211.xml"/><Relationship Id="rId253" Type="http://schemas.openxmlformats.org/officeDocument/2006/relationships/slideLayout" Target="../slideLayouts/slideLayout253.xml"/><Relationship Id="rId295" Type="http://schemas.openxmlformats.org/officeDocument/2006/relationships/slideLayout" Target="../slideLayouts/slideLayout295.xml"/><Relationship Id="rId309" Type="http://schemas.openxmlformats.org/officeDocument/2006/relationships/slideLayout" Target="../slideLayouts/slideLayout309.xml"/><Relationship Id="rId460" Type="http://schemas.openxmlformats.org/officeDocument/2006/relationships/slideLayout" Target="../slideLayouts/slideLayout460.xml"/><Relationship Id="rId516" Type="http://schemas.openxmlformats.org/officeDocument/2006/relationships/slideLayout" Target="../slideLayouts/slideLayout516.xml"/><Relationship Id="rId48" Type="http://schemas.openxmlformats.org/officeDocument/2006/relationships/slideLayout" Target="../slideLayouts/slideLayout48.xml"/><Relationship Id="rId113" Type="http://schemas.openxmlformats.org/officeDocument/2006/relationships/slideLayout" Target="../slideLayouts/slideLayout113.xml"/><Relationship Id="rId320" Type="http://schemas.openxmlformats.org/officeDocument/2006/relationships/slideLayout" Target="../slideLayouts/slideLayout320.xml"/><Relationship Id="rId558" Type="http://schemas.openxmlformats.org/officeDocument/2006/relationships/slideLayout" Target="../slideLayouts/slideLayout558.xml"/><Relationship Id="rId155" Type="http://schemas.openxmlformats.org/officeDocument/2006/relationships/slideLayout" Target="../slideLayouts/slideLayout155.xml"/><Relationship Id="rId197" Type="http://schemas.openxmlformats.org/officeDocument/2006/relationships/slideLayout" Target="../slideLayouts/slideLayout197.xml"/><Relationship Id="rId362" Type="http://schemas.openxmlformats.org/officeDocument/2006/relationships/slideLayout" Target="../slideLayouts/slideLayout362.xml"/><Relationship Id="rId418" Type="http://schemas.openxmlformats.org/officeDocument/2006/relationships/slideLayout" Target="../slideLayouts/slideLayout418.xml"/><Relationship Id="rId625" Type="http://schemas.openxmlformats.org/officeDocument/2006/relationships/slideLayout" Target="../slideLayouts/slideLayout625.xml"/><Relationship Id="rId222" Type="http://schemas.openxmlformats.org/officeDocument/2006/relationships/slideLayout" Target="../slideLayouts/slideLayout222.xml"/><Relationship Id="rId264" Type="http://schemas.openxmlformats.org/officeDocument/2006/relationships/slideLayout" Target="../slideLayouts/slideLayout264.xml"/><Relationship Id="rId471" Type="http://schemas.openxmlformats.org/officeDocument/2006/relationships/slideLayout" Target="../slideLayouts/slideLayout471.xml"/><Relationship Id="rId667" Type="http://schemas.openxmlformats.org/officeDocument/2006/relationships/slideLayout" Target="../slideLayouts/slideLayout667.xml"/><Relationship Id="rId17" Type="http://schemas.openxmlformats.org/officeDocument/2006/relationships/slideLayout" Target="../slideLayouts/slideLayout17.xml"/><Relationship Id="rId59" Type="http://schemas.openxmlformats.org/officeDocument/2006/relationships/slideLayout" Target="../slideLayouts/slideLayout59.xml"/><Relationship Id="rId124" Type="http://schemas.openxmlformats.org/officeDocument/2006/relationships/slideLayout" Target="../slideLayouts/slideLayout124.xml"/><Relationship Id="rId527" Type="http://schemas.openxmlformats.org/officeDocument/2006/relationships/slideLayout" Target="../slideLayouts/slideLayout527.xml"/><Relationship Id="rId569" Type="http://schemas.openxmlformats.org/officeDocument/2006/relationships/slideLayout" Target="../slideLayouts/slideLayout569.xml"/><Relationship Id="rId70" Type="http://schemas.openxmlformats.org/officeDocument/2006/relationships/slideLayout" Target="../slideLayouts/slideLayout70.xml"/><Relationship Id="rId166" Type="http://schemas.openxmlformats.org/officeDocument/2006/relationships/slideLayout" Target="../slideLayouts/slideLayout166.xml"/><Relationship Id="rId331" Type="http://schemas.openxmlformats.org/officeDocument/2006/relationships/slideLayout" Target="../slideLayouts/slideLayout331.xml"/><Relationship Id="rId373" Type="http://schemas.openxmlformats.org/officeDocument/2006/relationships/slideLayout" Target="../slideLayouts/slideLayout373.xml"/><Relationship Id="rId429" Type="http://schemas.openxmlformats.org/officeDocument/2006/relationships/slideLayout" Target="../slideLayouts/slideLayout429.xml"/><Relationship Id="rId580" Type="http://schemas.openxmlformats.org/officeDocument/2006/relationships/slideLayout" Target="../slideLayouts/slideLayout580.xml"/><Relationship Id="rId636" Type="http://schemas.openxmlformats.org/officeDocument/2006/relationships/slideLayout" Target="../slideLayouts/slideLayout636.xml"/><Relationship Id="rId1" Type="http://schemas.openxmlformats.org/officeDocument/2006/relationships/slideLayout" Target="../slideLayouts/slideLayout1.xml"/><Relationship Id="rId233" Type="http://schemas.openxmlformats.org/officeDocument/2006/relationships/slideLayout" Target="../slideLayouts/slideLayout233.xml"/><Relationship Id="rId440" Type="http://schemas.openxmlformats.org/officeDocument/2006/relationships/slideLayout" Target="../slideLayouts/slideLayout440.xml"/><Relationship Id="rId678" Type="http://schemas.openxmlformats.org/officeDocument/2006/relationships/slideLayout" Target="../slideLayouts/slideLayout678.xml"/><Relationship Id="rId28" Type="http://schemas.openxmlformats.org/officeDocument/2006/relationships/slideLayout" Target="../slideLayouts/slideLayout28.xml"/><Relationship Id="rId275" Type="http://schemas.openxmlformats.org/officeDocument/2006/relationships/slideLayout" Target="../slideLayouts/slideLayout275.xml"/><Relationship Id="rId300" Type="http://schemas.openxmlformats.org/officeDocument/2006/relationships/slideLayout" Target="../slideLayouts/slideLayout300.xml"/><Relationship Id="rId482" Type="http://schemas.openxmlformats.org/officeDocument/2006/relationships/slideLayout" Target="../slideLayouts/slideLayout482.xml"/><Relationship Id="rId538" Type="http://schemas.openxmlformats.org/officeDocument/2006/relationships/slideLayout" Target="../slideLayouts/slideLayout538.xml"/><Relationship Id="rId81" Type="http://schemas.openxmlformats.org/officeDocument/2006/relationships/slideLayout" Target="../slideLayouts/slideLayout81.xml"/><Relationship Id="rId135" Type="http://schemas.openxmlformats.org/officeDocument/2006/relationships/slideLayout" Target="../slideLayouts/slideLayout135.xml"/><Relationship Id="rId177" Type="http://schemas.openxmlformats.org/officeDocument/2006/relationships/slideLayout" Target="../slideLayouts/slideLayout177.xml"/><Relationship Id="rId342" Type="http://schemas.openxmlformats.org/officeDocument/2006/relationships/slideLayout" Target="../slideLayouts/slideLayout342.xml"/><Relationship Id="rId384" Type="http://schemas.openxmlformats.org/officeDocument/2006/relationships/slideLayout" Target="../slideLayouts/slideLayout384.xml"/><Relationship Id="rId591" Type="http://schemas.openxmlformats.org/officeDocument/2006/relationships/slideLayout" Target="../slideLayouts/slideLayout591.xml"/><Relationship Id="rId605" Type="http://schemas.openxmlformats.org/officeDocument/2006/relationships/slideLayout" Target="../slideLayouts/slideLayout605.xml"/><Relationship Id="rId202" Type="http://schemas.openxmlformats.org/officeDocument/2006/relationships/slideLayout" Target="../slideLayouts/slideLayout202.xml"/><Relationship Id="rId244" Type="http://schemas.openxmlformats.org/officeDocument/2006/relationships/slideLayout" Target="../slideLayouts/slideLayout244.xml"/><Relationship Id="rId647" Type="http://schemas.openxmlformats.org/officeDocument/2006/relationships/slideLayout" Target="../slideLayouts/slideLayout647.xml"/><Relationship Id="rId39" Type="http://schemas.openxmlformats.org/officeDocument/2006/relationships/slideLayout" Target="../slideLayouts/slideLayout39.xml"/><Relationship Id="rId286" Type="http://schemas.openxmlformats.org/officeDocument/2006/relationships/slideLayout" Target="../slideLayouts/slideLayout286.xml"/><Relationship Id="rId451" Type="http://schemas.openxmlformats.org/officeDocument/2006/relationships/slideLayout" Target="../slideLayouts/slideLayout451.xml"/><Relationship Id="rId493" Type="http://schemas.openxmlformats.org/officeDocument/2006/relationships/slideLayout" Target="../slideLayouts/slideLayout493.xml"/><Relationship Id="rId507" Type="http://schemas.openxmlformats.org/officeDocument/2006/relationships/slideLayout" Target="../slideLayouts/slideLayout507.xml"/><Relationship Id="rId549" Type="http://schemas.openxmlformats.org/officeDocument/2006/relationships/slideLayout" Target="../slideLayouts/slideLayout549.xml"/><Relationship Id="rId50" Type="http://schemas.openxmlformats.org/officeDocument/2006/relationships/slideLayout" Target="../slideLayouts/slideLayout50.xml"/><Relationship Id="rId104" Type="http://schemas.openxmlformats.org/officeDocument/2006/relationships/slideLayout" Target="../slideLayouts/slideLayout104.xml"/><Relationship Id="rId146" Type="http://schemas.openxmlformats.org/officeDocument/2006/relationships/slideLayout" Target="../slideLayouts/slideLayout146.xml"/><Relationship Id="rId188" Type="http://schemas.openxmlformats.org/officeDocument/2006/relationships/slideLayout" Target="../slideLayouts/slideLayout188.xml"/><Relationship Id="rId311" Type="http://schemas.openxmlformats.org/officeDocument/2006/relationships/slideLayout" Target="../slideLayouts/slideLayout311.xml"/><Relationship Id="rId353" Type="http://schemas.openxmlformats.org/officeDocument/2006/relationships/slideLayout" Target="../slideLayouts/slideLayout353.xml"/><Relationship Id="rId395" Type="http://schemas.openxmlformats.org/officeDocument/2006/relationships/slideLayout" Target="../slideLayouts/slideLayout395.xml"/><Relationship Id="rId409" Type="http://schemas.openxmlformats.org/officeDocument/2006/relationships/slideLayout" Target="../slideLayouts/slideLayout409.xml"/><Relationship Id="rId560" Type="http://schemas.openxmlformats.org/officeDocument/2006/relationships/slideLayout" Target="../slideLayouts/slideLayout560.xml"/><Relationship Id="rId92" Type="http://schemas.openxmlformats.org/officeDocument/2006/relationships/slideLayout" Target="../slideLayouts/slideLayout92.xml"/><Relationship Id="rId213" Type="http://schemas.openxmlformats.org/officeDocument/2006/relationships/slideLayout" Target="../slideLayouts/slideLayout213.xml"/><Relationship Id="rId420" Type="http://schemas.openxmlformats.org/officeDocument/2006/relationships/slideLayout" Target="../slideLayouts/slideLayout420.xml"/><Relationship Id="rId616" Type="http://schemas.openxmlformats.org/officeDocument/2006/relationships/slideLayout" Target="../slideLayouts/slideLayout616.xml"/><Relationship Id="rId658" Type="http://schemas.openxmlformats.org/officeDocument/2006/relationships/slideLayout" Target="../slideLayouts/slideLayout658.xml"/><Relationship Id="rId255" Type="http://schemas.openxmlformats.org/officeDocument/2006/relationships/slideLayout" Target="../slideLayouts/slideLayout255.xml"/><Relationship Id="rId297" Type="http://schemas.openxmlformats.org/officeDocument/2006/relationships/slideLayout" Target="../slideLayouts/slideLayout297.xml"/><Relationship Id="rId462" Type="http://schemas.openxmlformats.org/officeDocument/2006/relationships/slideLayout" Target="../slideLayouts/slideLayout462.xml"/><Relationship Id="rId518" Type="http://schemas.openxmlformats.org/officeDocument/2006/relationships/slideLayout" Target="../slideLayouts/slideLayout518.xml"/><Relationship Id="rId115" Type="http://schemas.openxmlformats.org/officeDocument/2006/relationships/slideLayout" Target="../slideLayouts/slideLayout115.xml"/><Relationship Id="rId157" Type="http://schemas.openxmlformats.org/officeDocument/2006/relationships/slideLayout" Target="../slideLayouts/slideLayout157.xml"/><Relationship Id="rId322" Type="http://schemas.openxmlformats.org/officeDocument/2006/relationships/slideLayout" Target="../slideLayouts/slideLayout322.xml"/><Relationship Id="rId364" Type="http://schemas.openxmlformats.org/officeDocument/2006/relationships/slideLayout" Target="../slideLayouts/slideLayout364.xml"/><Relationship Id="rId61" Type="http://schemas.openxmlformats.org/officeDocument/2006/relationships/slideLayout" Target="../slideLayouts/slideLayout61.xml"/><Relationship Id="rId199" Type="http://schemas.openxmlformats.org/officeDocument/2006/relationships/slideLayout" Target="../slideLayouts/slideLayout199.xml"/><Relationship Id="rId571" Type="http://schemas.openxmlformats.org/officeDocument/2006/relationships/slideLayout" Target="../slideLayouts/slideLayout571.xml"/><Relationship Id="rId627" Type="http://schemas.openxmlformats.org/officeDocument/2006/relationships/slideLayout" Target="../slideLayouts/slideLayout627.xml"/><Relationship Id="rId669" Type="http://schemas.openxmlformats.org/officeDocument/2006/relationships/slideLayout" Target="../slideLayouts/slideLayout669.xml"/><Relationship Id="rId19" Type="http://schemas.openxmlformats.org/officeDocument/2006/relationships/slideLayout" Target="../slideLayouts/slideLayout19.xml"/><Relationship Id="rId224" Type="http://schemas.openxmlformats.org/officeDocument/2006/relationships/slideLayout" Target="../slideLayouts/slideLayout224.xml"/><Relationship Id="rId266" Type="http://schemas.openxmlformats.org/officeDocument/2006/relationships/slideLayout" Target="../slideLayouts/slideLayout266.xml"/><Relationship Id="rId431" Type="http://schemas.openxmlformats.org/officeDocument/2006/relationships/slideLayout" Target="../slideLayouts/slideLayout431.xml"/><Relationship Id="rId473" Type="http://schemas.openxmlformats.org/officeDocument/2006/relationships/slideLayout" Target="../slideLayouts/slideLayout473.xml"/><Relationship Id="rId529" Type="http://schemas.openxmlformats.org/officeDocument/2006/relationships/slideLayout" Target="../slideLayouts/slideLayout529.xml"/><Relationship Id="rId680" Type="http://schemas.openxmlformats.org/officeDocument/2006/relationships/slideLayout" Target="../slideLayouts/slideLayout680.xml"/><Relationship Id="rId30" Type="http://schemas.openxmlformats.org/officeDocument/2006/relationships/slideLayout" Target="../slideLayouts/slideLayout30.xml"/><Relationship Id="rId126" Type="http://schemas.openxmlformats.org/officeDocument/2006/relationships/slideLayout" Target="../slideLayouts/slideLayout126.xml"/><Relationship Id="rId168" Type="http://schemas.openxmlformats.org/officeDocument/2006/relationships/slideLayout" Target="../slideLayouts/slideLayout168.xml"/><Relationship Id="rId333" Type="http://schemas.openxmlformats.org/officeDocument/2006/relationships/slideLayout" Target="../slideLayouts/slideLayout333.xml"/><Relationship Id="rId540" Type="http://schemas.openxmlformats.org/officeDocument/2006/relationships/slideLayout" Target="../slideLayouts/slideLayout540.xml"/><Relationship Id="rId72" Type="http://schemas.openxmlformats.org/officeDocument/2006/relationships/slideLayout" Target="../slideLayouts/slideLayout72.xml"/><Relationship Id="rId375" Type="http://schemas.openxmlformats.org/officeDocument/2006/relationships/slideLayout" Target="../slideLayouts/slideLayout375.xml"/><Relationship Id="rId582" Type="http://schemas.openxmlformats.org/officeDocument/2006/relationships/slideLayout" Target="../slideLayouts/slideLayout582.xml"/><Relationship Id="rId638" Type="http://schemas.openxmlformats.org/officeDocument/2006/relationships/slideLayout" Target="../slideLayouts/slideLayout638.xml"/><Relationship Id="rId3" Type="http://schemas.openxmlformats.org/officeDocument/2006/relationships/slideLayout" Target="../slideLayouts/slideLayout3.xml"/><Relationship Id="rId235" Type="http://schemas.openxmlformats.org/officeDocument/2006/relationships/slideLayout" Target="../slideLayouts/slideLayout235.xml"/><Relationship Id="rId277" Type="http://schemas.openxmlformats.org/officeDocument/2006/relationships/slideLayout" Target="../slideLayouts/slideLayout277.xml"/><Relationship Id="rId400" Type="http://schemas.openxmlformats.org/officeDocument/2006/relationships/slideLayout" Target="../slideLayouts/slideLayout400.xml"/><Relationship Id="rId442" Type="http://schemas.openxmlformats.org/officeDocument/2006/relationships/slideLayout" Target="../slideLayouts/slideLayout442.xml"/><Relationship Id="rId484" Type="http://schemas.openxmlformats.org/officeDocument/2006/relationships/slideLayout" Target="../slideLayouts/slideLayout484.xml"/><Relationship Id="rId137" Type="http://schemas.openxmlformats.org/officeDocument/2006/relationships/slideLayout" Target="../slideLayouts/slideLayout137.xml"/><Relationship Id="rId302" Type="http://schemas.openxmlformats.org/officeDocument/2006/relationships/slideLayout" Target="../slideLayouts/slideLayout302.xml"/><Relationship Id="rId344" Type="http://schemas.openxmlformats.org/officeDocument/2006/relationships/slideLayout" Target="../slideLayouts/slideLayout344.xml"/><Relationship Id="rId41" Type="http://schemas.openxmlformats.org/officeDocument/2006/relationships/slideLayout" Target="../slideLayouts/slideLayout41.xml"/><Relationship Id="rId83" Type="http://schemas.openxmlformats.org/officeDocument/2006/relationships/slideLayout" Target="../slideLayouts/slideLayout83.xml"/><Relationship Id="rId179" Type="http://schemas.openxmlformats.org/officeDocument/2006/relationships/slideLayout" Target="../slideLayouts/slideLayout179.xml"/><Relationship Id="rId386" Type="http://schemas.openxmlformats.org/officeDocument/2006/relationships/slideLayout" Target="../slideLayouts/slideLayout386.xml"/><Relationship Id="rId551" Type="http://schemas.openxmlformats.org/officeDocument/2006/relationships/slideLayout" Target="../slideLayouts/slideLayout551.xml"/><Relationship Id="rId593" Type="http://schemas.openxmlformats.org/officeDocument/2006/relationships/slideLayout" Target="../slideLayouts/slideLayout593.xml"/><Relationship Id="rId607" Type="http://schemas.openxmlformats.org/officeDocument/2006/relationships/slideLayout" Target="../slideLayouts/slideLayout607.xml"/><Relationship Id="rId649" Type="http://schemas.openxmlformats.org/officeDocument/2006/relationships/slideLayout" Target="../slideLayouts/slideLayout649.xml"/><Relationship Id="rId190" Type="http://schemas.openxmlformats.org/officeDocument/2006/relationships/slideLayout" Target="../slideLayouts/slideLayout190.xml"/><Relationship Id="rId204" Type="http://schemas.openxmlformats.org/officeDocument/2006/relationships/slideLayout" Target="../slideLayouts/slideLayout204.xml"/><Relationship Id="rId246" Type="http://schemas.openxmlformats.org/officeDocument/2006/relationships/slideLayout" Target="../slideLayouts/slideLayout246.xml"/><Relationship Id="rId288" Type="http://schemas.openxmlformats.org/officeDocument/2006/relationships/slideLayout" Target="../slideLayouts/slideLayout288.xml"/><Relationship Id="rId411" Type="http://schemas.openxmlformats.org/officeDocument/2006/relationships/slideLayout" Target="../slideLayouts/slideLayout411.xml"/><Relationship Id="rId453" Type="http://schemas.openxmlformats.org/officeDocument/2006/relationships/slideLayout" Target="../slideLayouts/slideLayout453.xml"/><Relationship Id="rId509" Type="http://schemas.openxmlformats.org/officeDocument/2006/relationships/slideLayout" Target="../slideLayouts/slideLayout509.xml"/><Relationship Id="rId660" Type="http://schemas.openxmlformats.org/officeDocument/2006/relationships/slideLayout" Target="../slideLayouts/slideLayout660.xml"/><Relationship Id="rId106" Type="http://schemas.openxmlformats.org/officeDocument/2006/relationships/slideLayout" Target="../slideLayouts/slideLayout106.xml"/><Relationship Id="rId313" Type="http://schemas.openxmlformats.org/officeDocument/2006/relationships/slideLayout" Target="../slideLayouts/slideLayout313.xml"/><Relationship Id="rId495" Type="http://schemas.openxmlformats.org/officeDocument/2006/relationships/slideLayout" Target="../slideLayouts/slideLayout495.xml"/><Relationship Id="rId10" Type="http://schemas.openxmlformats.org/officeDocument/2006/relationships/slideLayout" Target="../slideLayouts/slideLayout10.xml"/><Relationship Id="rId52" Type="http://schemas.openxmlformats.org/officeDocument/2006/relationships/slideLayout" Target="../slideLayouts/slideLayout52.xml"/><Relationship Id="rId94" Type="http://schemas.openxmlformats.org/officeDocument/2006/relationships/slideLayout" Target="../slideLayouts/slideLayout94.xml"/><Relationship Id="rId148" Type="http://schemas.openxmlformats.org/officeDocument/2006/relationships/slideLayout" Target="../slideLayouts/slideLayout148.xml"/><Relationship Id="rId355" Type="http://schemas.openxmlformats.org/officeDocument/2006/relationships/slideLayout" Target="../slideLayouts/slideLayout355.xml"/><Relationship Id="rId397" Type="http://schemas.openxmlformats.org/officeDocument/2006/relationships/slideLayout" Target="../slideLayouts/slideLayout397.xml"/><Relationship Id="rId520" Type="http://schemas.openxmlformats.org/officeDocument/2006/relationships/slideLayout" Target="../slideLayouts/slideLayout520.xml"/><Relationship Id="rId562" Type="http://schemas.openxmlformats.org/officeDocument/2006/relationships/slideLayout" Target="../slideLayouts/slideLayout562.xml"/><Relationship Id="rId618" Type="http://schemas.openxmlformats.org/officeDocument/2006/relationships/slideLayout" Target="../slideLayouts/slideLayout618.xml"/><Relationship Id="rId215" Type="http://schemas.openxmlformats.org/officeDocument/2006/relationships/slideLayout" Target="../slideLayouts/slideLayout215.xml"/><Relationship Id="rId257" Type="http://schemas.openxmlformats.org/officeDocument/2006/relationships/slideLayout" Target="../slideLayouts/slideLayout257.xml"/><Relationship Id="rId422" Type="http://schemas.openxmlformats.org/officeDocument/2006/relationships/slideLayout" Target="../slideLayouts/slideLayout422.xml"/><Relationship Id="rId464" Type="http://schemas.openxmlformats.org/officeDocument/2006/relationships/slideLayout" Target="../slideLayouts/slideLayout464.xml"/><Relationship Id="rId299" Type="http://schemas.openxmlformats.org/officeDocument/2006/relationships/slideLayout" Target="../slideLayouts/slideLayout299.xml"/><Relationship Id="rId63" Type="http://schemas.openxmlformats.org/officeDocument/2006/relationships/slideLayout" Target="../slideLayouts/slideLayout63.xml"/><Relationship Id="rId159" Type="http://schemas.openxmlformats.org/officeDocument/2006/relationships/slideLayout" Target="../slideLayouts/slideLayout159.xml"/><Relationship Id="rId366" Type="http://schemas.openxmlformats.org/officeDocument/2006/relationships/slideLayout" Target="../slideLayouts/slideLayout366.xml"/><Relationship Id="rId573" Type="http://schemas.openxmlformats.org/officeDocument/2006/relationships/slideLayout" Target="../slideLayouts/slideLayout573.xml"/><Relationship Id="rId226" Type="http://schemas.openxmlformats.org/officeDocument/2006/relationships/slideLayout" Target="../slideLayouts/slideLayout226.xml"/><Relationship Id="rId433" Type="http://schemas.openxmlformats.org/officeDocument/2006/relationships/slideLayout" Target="../slideLayouts/slideLayout433.xml"/><Relationship Id="rId640" Type="http://schemas.openxmlformats.org/officeDocument/2006/relationships/slideLayout" Target="../slideLayouts/slideLayout640.xml"/><Relationship Id="rId74" Type="http://schemas.openxmlformats.org/officeDocument/2006/relationships/slideLayout" Target="../slideLayouts/slideLayout74.xml"/><Relationship Id="rId377" Type="http://schemas.openxmlformats.org/officeDocument/2006/relationships/slideLayout" Target="../slideLayouts/slideLayout377.xml"/><Relationship Id="rId500" Type="http://schemas.openxmlformats.org/officeDocument/2006/relationships/slideLayout" Target="../slideLayouts/slideLayout500.xml"/><Relationship Id="rId584" Type="http://schemas.openxmlformats.org/officeDocument/2006/relationships/slideLayout" Target="../slideLayouts/slideLayout584.xml"/><Relationship Id="rId5" Type="http://schemas.openxmlformats.org/officeDocument/2006/relationships/slideLayout" Target="../slideLayouts/slideLayout5.xml"/><Relationship Id="rId237" Type="http://schemas.openxmlformats.org/officeDocument/2006/relationships/slideLayout" Target="../slideLayouts/slideLayout237.xml"/><Relationship Id="rId444" Type="http://schemas.openxmlformats.org/officeDocument/2006/relationships/slideLayout" Target="../slideLayouts/slideLayout444.xml"/><Relationship Id="rId651" Type="http://schemas.openxmlformats.org/officeDocument/2006/relationships/slideLayout" Target="../slideLayouts/slideLayout651.xml"/><Relationship Id="rId290" Type="http://schemas.openxmlformats.org/officeDocument/2006/relationships/slideLayout" Target="../slideLayouts/slideLayout290.xml"/><Relationship Id="rId304" Type="http://schemas.openxmlformats.org/officeDocument/2006/relationships/slideLayout" Target="../slideLayouts/slideLayout304.xml"/><Relationship Id="rId388" Type="http://schemas.openxmlformats.org/officeDocument/2006/relationships/slideLayout" Target="../slideLayouts/slideLayout388.xml"/><Relationship Id="rId511" Type="http://schemas.openxmlformats.org/officeDocument/2006/relationships/slideLayout" Target="../slideLayouts/slideLayout511.xml"/><Relationship Id="rId609" Type="http://schemas.openxmlformats.org/officeDocument/2006/relationships/slideLayout" Target="../slideLayouts/slideLayout609.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595" Type="http://schemas.openxmlformats.org/officeDocument/2006/relationships/slideLayout" Target="../slideLayouts/slideLayout595.xml"/><Relationship Id="rId248" Type="http://schemas.openxmlformats.org/officeDocument/2006/relationships/slideLayout" Target="../slideLayouts/slideLayout248.xml"/><Relationship Id="rId455" Type="http://schemas.openxmlformats.org/officeDocument/2006/relationships/slideLayout" Target="../slideLayouts/slideLayout455.xml"/><Relationship Id="rId662" Type="http://schemas.openxmlformats.org/officeDocument/2006/relationships/slideLayout" Target="../slideLayouts/slideLayout662.xml"/><Relationship Id="rId12" Type="http://schemas.openxmlformats.org/officeDocument/2006/relationships/slideLayout" Target="../slideLayouts/slideLayout12.xml"/><Relationship Id="rId108" Type="http://schemas.openxmlformats.org/officeDocument/2006/relationships/slideLayout" Target="../slideLayouts/slideLayout108.xml"/><Relationship Id="rId315" Type="http://schemas.openxmlformats.org/officeDocument/2006/relationships/slideLayout" Target="../slideLayouts/slideLayout315.xml"/><Relationship Id="rId522" Type="http://schemas.openxmlformats.org/officeDocument/2006/relationships/slideLayout" Target="../slideLayouts/slideLayout522.xml"/><Relationship Id="rId96" Type="http://schemas.openxmlformats.org/officeDocument/2006/relationships/slideLayout" Target="../slideLayouts/slideLayout96.xml"/><Relationship Id="rId161" Type="http://schemas.openxmlformats.org/officeDocument/2006/relationships/slideLayout" Target="../slideLayouts/slideLayout161.xml"/><Relationship Id="rId399" Type="http://schemas.openxmlformats.org/officeDocument/2006/relationships/slideLayout" Target="../slideLayouts/slideLayout399.xml"/><Relationship Id="rId259" Type="http://schemas.openxmlformats.org/officeDocument/2006/relationships/slideLayout" Target="../slideLayouts/slideLayout259.xml"/><Relationship Id="rId466" Type="http://schemas.openxmlformats.org/officeDocument/2006/relationships/slideLayout" Target="../slideLayouts/slideLayout466.xml"/><Relationship Id="rId673" Type="http://schemas.openxmlformats.org/officeDocument/2006/relationships/slideLayout" Target="../slideLayouts/slideLayout673.xml"/><Relationship Id="rId23" Type="http://schemas.openxmlformats.org/officeDocument/2006/relationships/slideLayout" Target="../slideLayouts/slideLayout23.xml"/><Relationship Id="rId119" Type="http://schemas.openxmlformats.org/officeDocument/2006/relationships/slideLayout" Target="../slideLayouts/slideLayout119.xml"/><Relationship Id="rId326" Type="http://schemas.openxmlformats.org/officeDocument/2006/relationships/slideLayout" Target="../slideLayouts/slideLayout326.xml"/><Relationship Id="rId533" Type="http://schemas.openxmlformats.org/officeDocument/2006/relationships/slideLayout" Target="../slideLayouts/slideLayout533.xml"/><Relationship Id="rId172" Type="http://schemas.openxmlformats.org/officeDocument/2006/relationships/slideLayout" Target="../slideLayouts/slideLayout172.xml"/><Relationship Id="rId477" Type="http://schemas.openxmlformats.org/officeDocument/2006/relationships/slideLayout" Target="../slideLayouts/slideLayout477.xml"/><Relationship Id="rId600" Type="http://schemas.openxmlformats.org/officeDocument/2006/relationships/slideLayout" Target="../slideLayouts/slideLayout600.xml"/><Relationship Id="rId337" Type="http://schemas.openxmlformats.org/officeDocument/2006/relationships/slideLayout" Target="../slideLayouts/slideLayout337.xml"/><Relationship Id="rId34" Type="http://schemas.openxmlformats.org/officeDocument/2006/relationships/slideLayout" Target="../slideLayouts/slideLayout34.xml"/><Relationship Id="rId544" Type="http://schemas.openxmlformats.org/officeDocument/2006/relationships/slideLayout" Target="../slideLayouts/slideLayout544.xml"/><Relationship Id="rId183" Type="http://schemas.openxmlformats.org/officeDocument/2006/relationships/slideLayout" Target="../slideLayouts/slideLayout183.xml"/><Relationship Id="rId390" Type="http://schemas.openxmlformats.org/officeDocument/2006/relationships/slideLayout" Target="../slideLayouts/slideLayout390.xml"/><Relationship Id="rId404" Type="http://schemas.openxmlformats.org/officeDocument/2006/relationships/slideLayout" Target="../slideLayouts/slideLayout404.xml"/><Relationship Id="rId611" Type="http://schemas.openxmlformats.org/officeDocument/2006/relationships/slideLayout" Target="../slideLayouts/slideLayout611.xml"/><Relationship Id="rId250" Type="http://schemas.openxmlformats.org/officeDocument/2006/relationships/slideLayout" Target="../slideLayouts/slideLayout250.xml"/><Relationship Id="rId488" Type="http://schemas.openxmlformats.org/officeDocument/2006/relationships/slideLayout" Target="../slideLayouts/slideLayout488.xml"/><Relationship Id="rId45" Type="http://schemas.openxmlformats.org/officeDocument/2006/relationships/slideLayout" Target="../slideLayouts/slideLayout45.xml"/><Relationship Id="rId110" Type="http://schemas.openxmlformats.org/officeDocument/2006/relationships/slideLayout" Target="../slideLayouts/slideLayout110.xml"/><Relationship Id="rId348" Type="http://schemas.openxmlformats.org/officeDocument/2006/relationships/slideLayout" Target="../slideLayouts/slideLayout348.xml"/><Relationship Id="rId555" Type="http://schemas.openxmlformats.org/officeDocument/2006/relationships/slideLayout" Target="../slideLayouts/slideLayout555.xml"/><Relationship Id="rId194" Type="http://schemas.openxmlformats.org/officeDocument/2006/relationships/slideLayout" Target="../slideLayouts/slideLayout194.xml"/><Relationship Id="rId208" Type="http://schemas.openxmlformats.org/officeDocument/2006/relationships/slideLayout" Target="../slideLayouts/slideLayout208.xml"/><Relationship Id="rId415" Type="http://schemas.openxmlformats.org/officeDocument/2006/relationships/slideLayout" Target="../slideLayouts/slideLayout415.xml"/><Relationship Id="rId622" Type="http://schemas.openxmlformats.org/officeDocument/2006/relationships/slideLayout" Target="../slideLayouts/slideLayout622.xml"/><Relationship Id="rId261" Type="http://schemas.openxmlformats.org/officeDocument/2006/relationships/slideLayout" Target="../slideLayouts/slideLayout261.xml"/><Relationship Id="rId499" Type="http://schemas.openxmlformats.org/officeDocument/2006/relationships/slideLayout" Target="../slideLayouts/slideLayout499.xml"/><Relationship Id="rId56" Type="http://schemas.openxmlformats.org/officeDocument/2006/relationships/slideLayout" Target="../slideLayouts/slideLayout56.xml"/><Relationship Id="rId359" Type="http://schemas.openxmlformats.org/officeDocument/2006/relationships/slideLayout" Target="../slideLayouts/slideLayout359.xml"/><Relationship Id="rId566" Type="http://schemas.openxmlformats.org/officeDocument/2006/relationships/slideLayout" Target="../slideLayouts/slideLayout566.xml"/><Relationship Id="rId121" Type="http://schemas.openxmlformats.org/officeDocument/2006/relationships/slideLayout" Target="../slideLayouts/slideLayout121.xml"/><Relationship Id="rId219" Type="http://schemas.openxmlformats.org/officeDocument/2006/relationships/slideLayout" Target="../slideLayouts/slideLayout219.xml"/><Relationship Id="rId426" Type="http://schemas.openxmlformats.org/officeDocument/2006/relationships/slideLayout" Target="../slideLayouts/slideLayout426.xml"/><Relationship Id="rId633" Type="http://schemas.openxmlformats.org/officeDocument/2006/relationships/slideLayout" Target="../slideLayouts/slideLayout633.xml"/><Relationship Id="rId67" Type="http://schemas.openxmlformats.org/officeDocument/2006/relationships/slideLayout" Target="../slideLayouts/slideLayout67.xml"/><Relationship Id="rId272" Type="http://schemas.openxmlformats.org/officeDocument/2006/relationships/slideLayout" Target="../slideLayouts/slideLayout272.xml"/><Relationship Id="rId577" Type="http://schemas.openxmlformats.org/officeDocument/2006/relationships/slideLayout" Target="../slideLayouts/slideLayout577.xml"/><Relationship Id="rId132" Type="http://schemas.openxmlformats.org/officeDocument/2006/relationships/slideLayout" Target="../slideLayouts/slideLayout132.xml"/><Relationship Id="rId437" Type="http://schemas.openxmlformats.org/officeDocument/2006/relationships/slideLayout" Target="../slideLayouts/slideLayout437.xml"/><Relationship Id="rId644" Type="http://schemas.openxmlformats.org/officeDocument/2006/relationships/slideLayout" Target="../slideLayouts/slideLayout644.xml"/><Relationship Id="rId283" Type="http://schemas.openxmlformats.org/officeDocument/2006/relationships/slideLayout" Target="../slideLayouts/slideLayout283.xml"/><Relationship Id="rId490" Type="http://schemas.openxmlformats.org/officeDocument/2006/relationships/slideLayout" Target="../slideLayouts/slideLayout490.xml"/><Relationship Id="rId504" Type="http://schemas.openxmlformats.org/officeDocument/2006/relationships/slideLayout" Target="../slideLayouts/slideLayout504.xml"/><Relationship Id="rId78" Type="http://schemas.openxmlformats.org/officeDocument/2006/relationships/slideLayout" Target="../slideLayouts/slideLayout78.xml"/><Relationship Id="rId143" Type="http://schemas.openxmlformats.org/officeDocument/2006/relationships/slideLayout" Target="../slideLayouts/slideLayout143.xml"/><Relationship Id="rId350" Type="http://schemas.openxmlformats.org/officeDocument/2006/relationships/slideLayout" Target="../slideLayouts/slideLayout350.xml"/><Relationship Id="rId588" Type="http://schemas.openxmlformats.org/officeDocument/2006/relationships/slideLayout" Target="../slideLayouts/slideLayout588.xml"/><Relationship Id="rId9" Type="http://schemas.openxmlformats.org/officeDocument/2006/relationships/slideLayout" Target="../slideLayouts/slideLayout9.xml"/><Relationship Id="rId210" Type="http://schemas.openxmlformats.org/officeDocument/2006/relationships/slideLayout" Target="../slideLayouts/slideLayout210.xml"/><Relationship Id="rId448" Type="http://schemas.openxmlformats.org/officeDocument/2006/relationships/slideLayout" Target="../slideLayouts/slideLayout448.xml"/><Relationship Id="rId655" Type="http://schemas.openxmlformats.org/officeDocument/2006/relationships/slideLayout" Target="../slideLayouts/slideLayout655.xml"/><Relationship Id="rId294" Type="http://schemas.openxmlformats.org/officeDocument/2006/relationships/slideLayout" Target="../slideLayouts/slideLayout294.xml"/><Relationship Id="rId308" Type="http://schemas.openxmlformats.org/officeDocument/2006/relationships/slideLayout" Target="../slideLayouts/slideLayout308.xml"/><Relationship Id="rId515" Type="http://schemas.openxmlformats.org/officeDocument/2006/relationships/slideLayout" Target="../slideLayouts/slideLayout515.xml"/><Relationship Id="rId89" Type="http://schemas.openxmlformats.org/officeDocument/2006/relationships/slideLayout" Target="../slideLayouts/slideLayout89.xml"/><Relationship Id="rId154" Type="http://schemas.openxmlformats.org/officeDocument/2006/relationships/slideLayout" Target="../slideLayouts/slideLayout154.xml"/><Relationship Id="rId361" Type="http://schemas.openxmlformats.org/officeDocument/2006/relationships/slideLayout" Target="../slideLayouts/slideLayout361.xml"/><Relationship Id="rId599" Type="http://schemas.openxmlformats.org/officeDocument/2006/relationships/slideLayout" Target="../slideLayouts/slideLayout599.xml"/><Relationship Id="rId459" Type="http://schemas.openxmlformats.org/officeDocument/2006/relationships/slideLayout" Target="../slideLayouts/slideLayout459.xml"/><Relationship Id="rId666" Type="http://schemas.openxmlformats.org/officeDocument/2006/relationships/slideLayout" Target="../slideLayouts/slideLayout666.xml"/><Relationship Id="rId16" Type="http://schemas.openxmlformats.org/officeDocument/2006/relationships/slideLayout" Target="../slideLayouts/slideLayout16.xml"/><Relationship Id="rId221" Type="http://schemas.openxmlformats.org/officeDocument/2006/relationships/slideLayout" Target="../slideLayouts/slideLayout221.xml"/><Relationship Id="rId319" Type="http://schemas.openxmlformats.org/officeDocument/2006/relationships/slideLayout" Target="../slideLayouts/slideLayout319.xml"/><Relationship Id="rId526" Type="http://schemas.openxmlformats.org/officeDocument/2006/relationships/slideLayout" Target="../slideLayouts/slideLayout526.xml"/><Relationship Id="rId165" Type="http://schemas.openxmlformats.org/officeDocument/2006/relationships/slideLayout" Target="../slideLayouts/slideLayout165.xml"/><Relationship Id="rId372" Type="http://schemas.openxmlformats.org/officeDocument/2006/relationships/slideLayout" Target="../slideLayouts/slideLayout372.xml"/><Relationship Id="rId677" Type="http://schemas.openxmlformats.org/officeDocument/2006/relationships/slideLayout" Target="../slideLayouts/slideLayout677.xml"/><Relationship Id="rId232" Type="http://schemas.openxmlformats.org/officeDocument/2006/relationships/slideLayout" Target="../slideLayouts/slideLayout232.xml"/><Relationship Id="rId27" Type="http://schemas.openxmlformats.org/officeDocument/2006/relationships/slideLayout" Target="../slideLayouts/slideLayout27.xml"/><Relationship Id="rId537" Type="http://schemas.openxmlformats.org/officeDocument/2006/relationships/slideLayout" Target="../slideLayouts/slideLayout537.xml"/><Relationship Id="rId80" Type="http://schemas.openxmlformats.org/officeDocument/2006/relationships/slideLayout" Target="../slideLayouts/slideLayout80.xml"/><Relationship Id="rId176" Type="http://schemas.openxmlformats.org/officeDocument/2006/relationships/slideLayout" Target="../slideLayouts/slideLayout176.xml"/><Relationship Id="rId383" Type="http://schemas.openxmlformats.org/officeDocument/2006/relationships/slideLayout" Target="../slideLayouts/slideLayout383.xml"/><Relationship Id="rId590" Type="http://schemas.openxmlformats.org/officeDocument/2006/relationships/slideLayout" Target="../slideLayouts/slideLayout590.xml"/><Relationship Id="rId604" Type="http://schemas.openxmlformats.org/officeDocument/2006/relationships/slideLayout" Target="../slideLayouts/slideLayout604.xml"/><Relationship Id="rId243" Type="http://schemas.openxmlformats.org/officeDocument/2006/relationships/slideLayout" Target="../slideLayouts/slideLayout243.xml"/><Relationship Id="rId450" Type="http://schemas.openxmlformats.org/officeDocument/2006/relationships/slideLayout" Target="../slideLayouts/slideLayout450.xml"/><Relationship Id="rId38" Type="http://schemas.openxmlformats.org/officeDocument/2006/relationships/slideLayout" Target="../slideLayouts/slideLayout38.xml"/><Relationship Id="rId103" Type="http://schemas.openxmlformats.org/officeDocument/2006/relationships/slideLayout" Target="../slideLayouts/slideLayout103.xml"/><Relationship Id="rId310" Type="http://schemas.openxmlformats.org/officeDocument/2006/relationships/slideLayout" Target="../slideLayouts/slideLayout310.xml"/><Relationship Id="rId548" Type="http://schemas.openxmlformats.org/officeDocument/2006/relationships/slideLayout" Target="../slideLayouts/slideLayout54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89.xml"/><Relationship Id="rId3" Type="http://schemas.openxmlformats.org/officeDocument/2006/relationships/slideLayout" Target="../slideLayouts/slideLayout684.xml"/><Relationship Id="rId7" Type="http://schemas.openxmlformats.org/officeDocument/2006/relationships/slideLayout" Target="../slideLayouts/slideLayout688.xml"/><Relationship Id="rId12" Type="http://schemas.openxmlformats.org/officeDocument/2006/relationships/theme" Target="../theme/theme2.xml"/><Relationship Id="rId2" Type="http://schemas.openxmlformats.org/officeDocument/2006/relationships/slideLayout" Target="../slideLayouts/slideLayout683.xml"/><Relationship Id="rId1" Type="http://schemas.openxmlformats.org/officeDocument/2006/relationships/slideLayout" Target="../slideLayouts/slideLayout682.xml"/><Relationship Id="rId6" Type="http://schemas.openxmlformats.org/officeDocument/2006/relationships/slideLayout" Target="../slideLayouts/slideLayout687.xml"/><Relationship Id="rId11" Type="http://schemas.openxmlformats.org/officeDocument/2006/relationships/slideLayout" Target="../slideLayouts/slideLayout692.xml"/><Relationship Id="rId5" Type="http://schemas.openxmlformats.org/officeDocument/2006/relationships/slideLayout" Target="../slideLayouts/slideLayout686.xml"/><Relationship Id="rId10" Type="http://schemas.openxmlformats.org/officeDocument/2006/relationships/slideLayout" Target="../slideLayouts/slideLayout691.xml"/><Relationship Id="rId4" Type="http://schemas.openxmlformats.org/officeDocument/2006/relationships/slideLayout" Target="../slideLayouts/slideLayout685.xml"/><Relationship Id="rId9" Type="http://schemas.openxmlformats.org/officeDocument/2006/relationships/slideLayout" Target="../slideLayouts/slideLayout690.xml"/></Relationships>
</file>

<file path=ppt/slideMasters/_rels/slideMaster3.xml.rels><?xml version="1.0" encoding="UTF-8" standalone="yes"?>
<Relationships xmlns="http://schemas.openxmlformats.org/package/2006/relationships"><Relationship Id="rId117" Type="http://schemas.openxmlformats.org/officeDocument/2006/relationships/slideLayout" Target="../slideLayouts/slideLayout809.xml"/><Relationship Id="rId21" Type="http://schemas.openxmlformats.org/officeDocument/2006/relationships/slideLayout" Target="../slideLayouts/slideLayout713.xml"/><Relationship Id="rId42" Type="http://schemas.openxmlformats.org/officeDocument/2006/relationships/slideLayout" Target="../slideLayouts/slideLayout734.xml"/><Relationship Id="rId63" Type="http://schemas.openxmlformats.org/officeDocument/2006/relationships/slideLayout" Target="../slideLayouts/slideLayout755.xml"/><Relationship Id="rId84" Type="http://schemas.openxmlformats.org/officeDocument/2006/relationships/slideLayout" Target="../slideLayouts/slideLayout776.xml"/><Relationship Id="rId138" Type="http://schemas.openxmlformats.org/officeDocument/2006/relationships/slideLayout" Target="../slideLayouts/slideLayout830.xml"/><Relationship Id="rId159" Type="http://schemas.openxmlformats.org/officeDocument/2006/relationships/slideLayout" Target="../slideLayouts/slideLayout851.xml"/><Relationship Id="rId170" Type="http://schemas.openxmlformats.org/officeDocument/2006/relationships/slideLayout" Target="../slideLayouts/slideLayout862.xml"/><Relationship Id="rId191" Type="http://schemas.openxmlformats.org/officeDocument/2006/relationships/slideLayout" Target="../slideLayouts/slideLayout883.xml"/><Relationship Id="rId107" Type="http://schemas.openxmlformats.org/officeDocument/2006/relationships/slideLayout" Target="../slideLayouts/slideLayout799.xml"/><Relationship Id="rId11" Type="http://schemas.openxmlformats.org/officeDocument/2006/relationships/slideLayout" Target="../slideLayouts/slideLayout703.xml"/><Relationship Id="rId32" Type="http://schemas.openxmlformats.org/officeDocument/2006/relationships/slideLayout" Target="../slideLayouts/slideLayout724.xml"/><Relationship Id="rId53" Type="http://schemas.openxmlformats.org/officeDocument/2006/relationships/slideLayout" Target="../slideLayouts/slideLayout745.xml"/><Relationship Id="rId74" Type="http://schemas.openxmlformats.org/officeDocument/2006/relationships/slideLayout" Target="../slideLayouts/slideLayout766.xml"/><Relationship Id="rId128" Type="http://schemas.openxmlformats.org/officeDocument/2006/relationships/slideLayout" Target="../slideLayouts/slideLayout820.xml"/><Relationship Id="rId149" Type="http://schemas.openxmlformats.org/officeDocument/2006/relationships/slideLayout" Target="../slideLayouts/slideLayout841.xml"/><Relationship Id="rId5" Type="http://schemas.openxmlformats.org/officeDocument/2006/relationships/slideLayout" Target="../slideLayouts/slideLayout697.xml"/><Relationship Id="rId95" Type="http://schemas.openxmlformats.org/officeDocument/2006/relationships/slideLayout" Target="../slideLayouts/slideLayout787.xml"/><Relationship Id="rId160" Type="http://schemas.openxmlformats.org/officeDocument/2006/relationships/slideLayout" Target="../slideLayouts/slideLayout852.xml"/><Relationship Id="rId181" Type="http://schemas.openxmlformats.org/officeDocument/2006/relationships/slideLayout" Target="../slideLayouts/slideLayout873.xml"/><Relationship Id="rId22" Type="http://schemas.openxmlformats.org/officeDocument/2006/relationships/slideLayout" Target="../slideLayouts/slideLayout714.xml"/><Relationship Id="rId43" Type="http://schemas.openxmlformats.org/officeDocument/2006/relationships/slideLayout" Target="../slideLayouts/slideLayout735.xml"/><Relationship Id="rId64" Type="http://schemas.openxmlformats.org/officeDocument/2006/relationships/slideLayout" Target="../slideLayouts/slideLayout756.xml"/><Relationship Id="rId118" Type="http://schemas.openxmlformats.org/officeDocument/2006/relationships/slideLayout" Target="../slideLayouts/slideLayout810.xml"/><Relationship Id="rId139" Type="http://schemas.openxmlformats.org/officeDocument/2006/relationships/slideLayout" Target="../slideLayouts/slideLayout831.xml"/><Relationship Id="rId85" Type="http://schemas.openxmlformats.org/officeDocument/2006/relationships/slideLayout" Target="../slideLayouts/slideLayout777.xml"/><Relationship Id="rId150" Type="http://schemas.openxmlformats.org/officeDocument/2006/relationships/slideLayout" Target="../slideLayouts/slideLayout842.xml"/><Relationship Id="rId171" Type="http://schemas.openxmlformats.org/officeDocument/2006/relationships/slideLayout" Target="../slideLayouts/slideLayout863.xml"/><Relationship Id="rId192" Type="http://schemas.openxmlformats.org/officeDocument/2006/relationships/slideLayout" Target="../slideLayouts/slideLayout884.xml"/><Relationship Id="rId12" Type="http://schemas.openxmlformats.org/officeDocument/2006/relationships/slideLayout" Target="../slideLayouts/slideLayout704.xml"/><Relationship Id="rId33" Type="http://schemas.openxmlformats.org/officeDocument/2006/relationships/slideLayout" Target="../slideLayouts/slideLayout725.xml"/><Relationship Id="rId108" Type="http://schemas.openxmlformats.org/officeDocument/2006/relationships/slideLayout" Target="../slideLayouts/slideLayout800.xml"/><Relationship Id="rId129" Type="http://schemas.openxmlformats.org/officeDocument/2006/relationships/slideLayout" Target="../slideLayouts/slideLayout821.xml"/><Relationship Id="rId54" Type="http://schemas.openxmlformats.org/officeDocument/2006/relationships/slideLayout" Target="../slideLayouts/slideLayout746.xml"/><Relationship Id="rId75" Type="http://schemas.openxmlformats.org/officeDocument/2006/relationships/slideLayout" Target="../slideLayouts/slideLayout767.xml"/><Relationship Id="rId96" Type="http://schemas.openxmlformats.org/officeDocument/2006/relationships/slideLayout" Target="../slideLayouts/slideLayout788.xml"/><Relationship Id="rId140" Type="http://schemas.openxmlformats.org/officeDocument/2006/relationships/slideLayout" Target="../slideLayouts/slideLayout832.xml"/><Relationship Id="rId161" Type="http://schemas.openxmlformats.org/officeDocument/2006/relationships/slideLayout" Target="../slideLayouts/slideLayout853.xml"/><Relationship Id="rId182" Type="http://schemas.openxmlformats.org/officeDocument/2006/relationships/slideLayout" Target="../slideLayouts/slideLayout874.xml"/><Relationship Id="rId6" Type="http://schemas.openxmlformats.org/officeDocument/2006/relationships/slideLayout" Target="../slideLayouts/slideLayout698.xml"/><Relationship Id="rId23" Type="http://schemas.openxmlformats.org/officeDocument/2006/relationships/slideLayout" Target="../slideLayouts/slideLayout715.xml"/><Relationship Id="rId119" Type="http://schemas.openxmlformats.org/officeDocument/2006/relationships/slideLayout" Target="../slideLayouts/slideLayout811.xml"/><Relationship Id="rId44" Type="http://schemas.openxmlformats.org/officeDocument/2006/relationships/slideLayout" Target="../slideLayouts/slideLayout736.xml"/><Relationship Id="rId65" Type="http://schemas.openxmlformats.org/officeDocument/2006/relationships/slideLayout" Target="../slideLayouts/slideLayout757.xml"/><Relationship Id="rId86" Type="http://schemas.openxmlformats.org/officeDocument/2006/relationships/slideLayout" Target="../slideLayouts/slideLayout778.xml"/><Relationship Id="rId130" Type="http://schemas.openxmlformats.org/officeDocument/2006/relationships/slideLayout" Target="../slideLayouts/slideLayout822.xml"/><Relationship Id="rId151" Type="http://schemas.openxmlformats.org/officeDocument/2006/relationships/slideLayout" Target="../slideLayouts/slideLayout843.xml"/><Relationship Id="rId172" Type="http://schemas.openxmlformats.org/officeDocument/2006/relationships/slideLayout" Target="../slideLayouts/slideLayout864.xml"/><Relationship Id="rId193" Type="http://schemas.openxmlformats.org/officeDocument/2006/relationships/slideLayout" Target="../slideLayouts/slideLayout885.xml"/><Relationship Id="rId13" Type="http://schemas.openxmlformats.org/officeDocument/2006/relationships/slideLayout" Target="../slideLayouts/slideLayout705.xml"/><Relationship Id="rId109" Type="http://schemas.openxmlformats.org/officeDocument/2006/relationships/slideLayout" Target="../slideLayouts/slideLayout801.xml"/><Relationship Id="rId34" Type="http://schemas.openxmlformats.org/officeDocument/2006/relationships/slideLayout" Target="../slideLayouts/slideLayout726.xml"/><Relationship Id="rId55" Type="http://schemas.openxmlformats.org/officeDocument/2006/relationships/slideLayout" Target="../slideLayouts/slideLayout747.xml"/><Relationship Id="rId76" Type="http://schemas.openxmlformats.org/officeDocument/2006/relationships/slideLayout" Target="../slideLayouts/slideLayout768.xml"/><Relationship Id="rId97" Type="http://schemas.openxmlformats.org/officeDocument/2006/relationships/slideLayout" Target="../slideLayouts/slideLayout789.xml"/><Relationship Id="rId120" Type="http://schemas.openxmlformats.org/officeDocument/2006/relationships/slideLayout" Target="../slideLayouts/slideLayout812.xml"/><Relationship Id="rId141" Type="http://schemas.openxmlformats.org/officeDocument/2006/relationships/slideLayout" Target="../slideLayouts/slideLayout833.xml"/><Relationship Id="rId7" Type="http://schemas.openxmlformats.org/officeDocument/2006/relationships/slideLayout" Target="../slideLayouts/slideLayout699.xml"/><Relationship Id="rId71" Type="http://schemas.openxmlformats.org/officeDocument/2006/relationships/slideLayout" Target="../slideLayouts/slideLayout763.xml"/><Relationship Id="rId92" Type="http://schemas.openxmlformats.org/officeDocument/2006/relationships/slideLayout" Target="../slideLayouts/slideLayout784.xml"/><Relationship Id="rId162" Type="http://schemas.openxmlformats.org/officeDocument/2006/relationships/slideLayout" Target="../slideLayouts/slideLayout854.xml"/><Relationship Id="rId183" Type="http://schemas.openxmlformats.org/officeDocument/2006/relationships/slideLayout" Target="../slideLayouts/slideLayout875.xml"/><Relationship Id="rId2" Type="http://schemas.openxmlformats.org/officeDocument/2006/relationships/slideLayout" Target="../slideLayouts/slideLayout694.xml"/><Relationship Id="rId29" Type="http://schemas.openxmlformats.org/officeDocument/2006/relationships/slideLayout" Target="../slideLayouts/slideLayout721.xml"/><Relationship Id="rId24" Type="http://schemas.openxmlformats.org/officeDocument/2006/relationships/slideLayout" Target="../slideLayouts/slideLayout716.xml"/><Relationship Id="rId40" Type="http://schemas.openxmlformats.org/officeDocument/2006/relationships/slideLayout" Target="../slideLayouts/slideLayout732.xml"/><Relationship Id="rId45" Type="http://schemas.openxmlformats.org/officeDocument/2006/relationships/slideLayout" Target="../slideLayouts/slideLayout737.xml"/><Relationship Id="rId66" Type="http://schemas.openxmlformats.org/officeDocument/2006/relationships/slideLayout" Target="../slideLayouts/slideLayout758.xml"/><Relationship Id="rId87" Type="http://schemas.openxmlformats.org/officeDocument/2006/relationships/slideLayout" Target="../slideLayouts/slideLayout779.xml"/><Relationship Id="rId110" Type="http://schemas.openxmlformats.org/officeDocument/2006/relationships/slideLayout" Target="../slideLayouts/slideLayout802.xml"/><Relationship Id="rId115" Type="http://schemas.openxmlformats.org/officeDocument/2006/relationships/slideLayout" Target="../slideLayouts/slideLayout807.xml"/><Relationship Id="rId131" Type="http://schemas.openxmlformats.org/officeDocument/2006/relationships/slideLayout" Target="../slideLayouts/slideLayout823.xml"/><Relationship Id="rId136" Type="http://schemas.openxmlformats.org/officeDocument/2006/relationships/slideLayout" Target="../slideLayouts/slideLayout828.xml"/><Relationship Id="rId157" Type="http://schemas.openxmlformats.org/officeDocument/2006/relationships/slideLayout" Target="../slideLayouts/slideLayout849.xml"/><Relationship Id="rId178" Type="http://schemas.openxmlformats.org/officeDocument/2006/relationships/slideLayout" Target="../slideLayouts/slideLayout870.xml"/><Relationship Id="rId61" Type="http://schemas.openxmlformats.org/officeDocument/2006/relationships/slideLayout" Target="../slideLayouts/slideLayout753.xml"/><Relationship Id="rId82" Type="http://schemas.openxmlformats.org/officeDocument/2006/relationships/slideLayout" Target="../slideLayouts/slideLayout774.xml"/><Relationship Id="rId152" Type="http://schemas.openxmlformats.org/officeDocument/2006/relationships/slideLayout" Target="../slideLayouts/slideLayout844.xml"/><Relationship Id="rId173" Type="http://schemas.openxmlformats.org/officeDocument/2006/relationships/slideLayout" Target="../slideLayouts/slideLayout865.xml"/><Relationship Id="rId194" Type="http://schemas.openxmlformats.org/officeDocument/2006/relationships/slideLayout" Target="../slideLayouts/slideLayout886.xml"/><Relationship Id="rId199" Type="http://schemas.openxmlformats.org/officeDocument/2006/relationships/theme" Target="../theme/theme3.xml"/><Relationship Id="rId19" Type="http://schemas.openxmlformats.org/officeDocument/2006/relationships/slideLayout" Target="../slideLayouts/slideLayout711.xml"/><Relationship Id="rId14" Type="http://schemas.openxmlformats.org/officeDocument/2006/relationships/slideLayout" Target="../slideLayouts/slideLayout706.xml"/><Relationship Id="rId30" Type="http://schemas.openxmlformats.org/officeDocument/2006/relationships/slideLayout" Target="../slideLayouts/slideLayout722.xml"/><Relationship Id="rId35" Type="http://schemas.openxmlformats.org/officeDocument/2006/relationships/slideLayout" Target="../slideLayouts/slideLayout727.xml"/><Relationship Id="rId56" Type="http://schemas.openxmlformats.org/officeDocument/2006/relationships/slideLayout" Target="../slideLayouts/slideLayout748.xml"/><Relationship Id="rId77" Type="http://schemas.openxmlformats.org/officeDocument/2006/relationships/slideLayout" Target="../slideLayouts/slideLayout769.xml"/><Relationship Id="rId100" Type="http://schemas.openxmlformats.org/officeDocument/2006/relationships/slideLayout" Target="../slideLayouts/slideLayout792.xml"/><Relationship Id="rId105" Type="http://schemas.openxmlformats.org/officeDocument/2006/relationships/slideLayout" Target="../slideLayouts/slideLayout797.xml"/><Relationship Id="rId126" Type="http://schemas.openxmlformats.org/officeDocument/2006/relationships/slideLayout" Target="../slideLayouts/slideLayout818.xml"/><Relationship Id="rId147" Type="http://schemas.openxmlformats.org/officeDocument/2006/relationships/slideLayout" Target="../slideLayouts/slideLayout839.xml"/><Relationship Id="rId168" Type="http://schemas.openxmlformats.org/officeDocument/2006/relationships/slideLayout" Target="../slideLayouts/slideLayout860.xml"/><Relationship Id="rId8" Type="http://schemas.openxmlformats.org/officeDocument/2006/relationships/slideLayout" Target="../slideLayouts/slideLayout700.xml"/><Relationship Id="rId51" Type="http://schemas.openxmlformats.org/officeDocument/2006/relationships/slideLayout" Target="../slideLayouts/slideLayout743.xml"/><Relationship Id="rId72" Type="http://schemas.openxmlformats.org/officeDocument/2006/relationships/slideLayout" Target="../slideLayouts/slideLayout764.xml"/><Relationship Id="rId93" Type="http://schemas.openxmlformats.org/officeDocument/2006/relationships/slideLayout" Target="../slideLayouts/slideLayout785.xml"/><Relationship Id="rId98" Type="http://schemas.openxmlformats.org/officeDocument/2006/relationships/slideLayout" Target="../slideLayouts/slideLayout790.xml"/><Relationship Id="rId121" Type="http://schemas.openxmlformats.org/officeDocument/2006/relationships/slideLayout" Target="../slideLayouts/slideLayout813.xml"/><Relationship Id="rId142" Type="http://schemas.openxmlformats.org/officeDocument/2006/relationships/slideLayout" Target="../slideLayouts/slideLayout834.xml"/><Relationship Id="rId163" Type="http://schemas.openxmlformats.org/officeDocument/2006/relationships/slideLayout" Target="../slideLayouts/slideLayout855.xml"/><Relationship Id="rId184" Type="http://schemas.openxmlformats.org/officeDocument/2006/relationships/slideLayout" Target="../slideLayouts/slideLayout876.xml"/><Relationship Id="rId189" Type="http://schemas.openxmlformats.org/officeDocument/2006/relationships/slideLayout" Target="../slideLayouts/slideLayout881.xml"/><Relationship Id="rId3" Type="http://schemas.openxmlformats.org/officeDocument/2006/relationships/slideLayout" Target="../slideLayouts/slideLayout695.xml"/><Relationship Id="rId25" Type="http://schemas.openxmlformats.org/officeDocument/2006/relationships/slideLayout" Target="../slideLayouts/slideLayout717.xml"/><Relationship Id="rId46" Type="http://schemas.openxmlformats.org/officeDocument/2006/relationships/slideLayout" Target="../slideLayouts/slideLayout738.xml"/><Relationship Id="rId67" Type="http://schemas.openxmlformats.org/officeDocument/2006/relationships/slideLayout" Target="../slideLayouts/slideLayout759.xml"/><Relationship Id="rId116" Type="http://schemas.openxmlformats.org/officeDocument/2006/relationships/slideLayout" Target="../slideLayouts/slideLayout808.xml"/><Relationship Id="rId137" Type="http://schemas.openxmlformats.org/officeDocument/2006/relationships/slideLayout" Target="../slideLayouts/slideLayout829.xml"/><Relationship Id="rId158" Type="http://schemas.openxmlformats.org/officeDocument/2006/relationships/slideLayout" Target="../slideLayouts/slideLayout850.xml"/><Relationship Id="rId20" Type="http://schemas.openxmlformats.org/officeDocument/2006/relationships/slideLayout" Target="../slideLayouts/slideLayout712.xml"/><Relationship Id="rId41" Type="http://schemas.openxmlformats.org/officeDocument/2006/relationships/slideLayout" Target="../slideLayouts/slideLayout733.xml"/><Relationship Id="rId62" Type="http://schemas.openxmlformats.org/officeDocument/2006/relationships/slideLayout" Target="../slideLayouts/slideLayout754.xml"/><Relationship Id="rId83" Type="http://schemas.openxmlformats.org/officeDocument/2006/relationships/slideLayout" Target="../slideLayouts/slideLayout775.xml"/><Relationship Id="rId88" Type="http://schemas.openxmlformats.org/officeDocument/2006/relationships/slideLayout" Target="../slideLayouts/slideLayout780.xml"/><Relationship Id="rId111" Type="http://schemas.openxmlformats.org/officeDocument/2006/relationships/slideLayout" Target="../slideLayouts/slideLayout803.xml"/><Relationship Id="rId132" Type="http://schemas.openxmlformats.org/officeDocument/2006/relationships/slideLayout" Target="../slideLayouts/slideLayout824.xml"/><Relationship Id="rId153" Type="http://schemas.openxmlformats.org/officeDocument/2006/relationships/slideLayout" Target="../slideLayouts/slideLayout845.xml"/><Relationship Id="rId174" Type="http://schemas.openxmlformats.org/officeDocument/2006/relationships/slideLayout" Target="../slideLayouts/slideLayout866.xml"/><Relationship Id="rId179" Type="http://schemas.openxmlformats.org/officeDocument/2006/relationships/slideLayout" Target="../slideLayouts/slideLayout871.xml"/><Relationship Id="rId195" Type="http://schemas.openxmlformats.org/officeDocument/2006/relationships/slideLayout" Target="../slideLayouts/slideLayout887.xml"/><Relationship Id="rId190" Type="http://schemas.openxmlformats.org/officeDocument/2006/relationships/slideLayout" Target="../slideLayouts/slideLayout882.xml"/><Relationship Id="rId15" Type="http://schemas.openxmlformats.org/officeDocument/2006/relationships/slideLayout" Target="../slideLayouts/slideLayout707.xml"/><Relationship Id="rId36" Type="http://schemas.openxmlformats.org/officeDocument/2006/relationships/slideLayout" Target="../slideLayouts/slideLayout728.xml"/><Relationship Id="rId57" Type="http://schemas.openxmlformats.org/officeDocument/2006/relationships/slideLayout" Target="../slideLayouts/slideLayout749.xml"/><Relationship Id="rId106" Type="http://schemas.openxmlformats.org/officeDocument/2006/relationships/slideLayout" Target="../slideLayouts/slideLayout798.xml"/><Relationship Id="rId127" Type="http://schemas.openxmlformats.org/officeDocument/2006/relationships/slideLayout" Target="../slideLayouts/slideLayout819.xml"/><Relationship Id="rId10" Type="http://schemas.openxmlformats.org/officeDocument/2006/relationships/slideLayout" Target="../slideLayouts/slideLayout702.xml"/><Relationship Id="rId31" Type="http://schemas.openxmlformats.org/officeDocument/2006/relationships/slideLayout" Target="../slideLayouts/slideLayout723.xml"/><Relationship Id="rId52" Type="http://schemas.openxmlformats.org/officeDocument/2006/relationships/slideLayout" Target="../slideLayouts/slideLayout744.xml"/><Relationship Id="rId73" Type="http://schemas.openxmlformats.org/officeDocument/2006/relationships/slideLayout" Target="../slideLayouts/slideLayout765.xml"/><Relationship Id="rId78" Type="http://schemas.openxmlformats.org/officeDocument/2006/relationships/slideLayout" Target="../slideLayouts/slideLayout770.xml"/><Relationship Id="rId94" Type="http://schemas.openxmlformats.org/officeDocument/2006/relationships/slideLayout" Target="../slideLayouts/slideLayout786.xml"/><Relationship Id="rId99" Type="http://schemas.openxmlformats.org/officeDocument/2006/relationships/slideLayout" Target="../slideLayouts/slideLayout791.xml"/><Relationship Id="rId101" Type="http://schemas.openxmlformats.org/officeDocument/2006/relationships/slideLayout" Target="../slideLayouts/slideLayout793.xml"/><Relationship Id="rId122" Type="http://schemas.openxmlformats.org/officeDocument/2006/relationships/slideLayout" Target="../slideLayouts/slideLayout814.xml"/><Relationship Id="rId143" Type="http://schemas.openxmlformats.org/officeDocument/2006/relationships/slideLayout" Target="../slideLayouts/slideLayout835.xml"/><Relationship Id="rId148" Type="http://schemas.openxmlformats.org/officeDocument/2006/relationships/slideLayout" Target="../slideLayouts/slideLayout840.xml"/><Relationship Id="rId164" Type="http://schemas.openxmlformats.org/officeDocument/2006/relationships/slideLayout" Target="../slideLayouts/slideLayout856.xml"/><Relationship Id="rId169" Type="http://schemas.openxmlformats.org/officeDocument/2006/relationships/slideLayout" Target="../slideLayouts/slideLayout861.xml"/><Relationship Id="rId185" Type="http://schemas.openxmlformats.org/officeDocument/2006/relationships/slideLayout" Target="../slideLayouts/slideLayout877.xml"/><Relationship Id="rId4" Type="http://schemas.openxmlformats.org/officeDocument/2006/relationships/slideLayout" Target="../slideLayouts/slideLayout696.xml"/><Relationship Id="rId9" Type="http://schemas.openxmlformats.org/officeDocument/2006/relationships/slideLayout" Target="../slideLayouts/slideLayout701.xml"/><Relationship Id="rId180" Type="http://schemas.openxmlformats.org/officeDocument/2006/relationships/slideLayout" Target="../slideLayouts/slideLayout872.xml"/><Relationship Id="rId26" Type="http://schemas.openxmlformats.org/officeDocument/2006/relationships/slideLayout" Target="../slideLayouts/slideLayout718.xml"/><Relationship Id="rId47" Type="http://schemas.openxmlformats.org/officeDocument/2006/relationships/slideLayout" Target="../slideLayouts/slideLayout739.xml"/><Relationship Id="rId68" Type="http://schemas.openxmlformats.org/officeDocument/2006/relationships/slideLayout" Target="../slideLayouts/slideLayout760.xml"/><Relationship Id="rId89" Type="http://schemas.openxmlformats.org/officeDocument/2006/relationships/slideLayout" Target="../slideLayouts/slideLayout781.xml"/><Relationship Id="rId112" Type="http://schemas.openxmlformats.org/officeDocument/2006/relationships/slideLayout" Target="../slideLayouts/slideLayout804.xml"/><Relationship Id="rId133" Type="http://schemas.openxmlformats.org/officeDocument/2006/relationships/slideLayout" Target="../slideLayouts/slideLayout825.xml"/><Relationship Id="rId154" Type="http://schemas.openxmlformats.org/officeDocument/2006/relationships/slideLayout" Target="../slideLayouts/slideLayout846.xml"/><Relationship Id="rId175" Type="http://schemas.openxmlformats.org/officeDocument/2006/relationships/slideLayout" Target="../slideLayouts/slideLayout867.xml"/><Relationship Id="rId196" Type="http://schemas.openxmlformats.org/officeDocument/2006/relationships/slideLayout" Target="../slideLayouts/slideLayout888.xml"/><Relationship Id="rId16" Type="http://schemas.openxmlformats.org/officeDocument/2006/relationships/slideLayout" Target="../slideLayouts/slideLayout708.xml"/><Relationship Id="rId37" Type="http://schemas.openxmlformats.org/officeDocument/2006/relationships/slideLayout" Target="../slideLayouts/slideLayout729.xml"/><Relationship Id="rId58" Type="http://schemas.openxmlformats.org/officeDocument/2006/relationships/slideLayout" Target="../slideLayouts/slideLayout750.xml"/><Relationship Id="rId79" Type="http://schemas.openxmlformats.org/officeDocument/2006/relationships/slideLayout" Target="../slideLayouts/slideLayout771.xml"/><Relationship Id="rId102" Type="http://schemas.openxmlformats.org/officeDocument/2006/relationships/slideLayout" Target="../slideLayouts/slideLayout794.xml"/><Relationship Id="rId123" Type="http://schemas.openxmlformats.org/officeDocument/2006/relationships/slideLayout" Target="../slideLayouts/slideLayout815.xml"/><Relationship Id="rId144" Type="http://schemas.openxmlformats.org/officeDocument/2006/relationships/slideLayout" Target="../slideLayouts/slideLayout836.xml"/><Relationship Id="rId90" Type="http://schemas.openxmlformats.org/officeDocument/2006/relationships/slideLayout" Target="../slideLayouts/slideLayout782.xml"/><Relationship Id="rId165" Type="http://schemas.openxmlformats.org/officeDocument/2006/relationships/slideLayout" Target="../slideLayouts/slideLayout857.xml"/><Relationship Id="rId186" Type="http://schemas.openxmlformats.org/officeDocument/2006/relationships/slideLayout" Target="../slideLayouts/slideLayout878.xml"/><Relationship Id="rId27" Type="http://schemas.openxmlformats.org/officeDocument/2006/relationships/slideLayout" Target="../slideLayouts/slideLayout719.xml"/><Relationship Id="rId48" Type="http://schemas.openxmlformats.org/officeDocument/2006/relationships/slideLayout" Target="../slideLayouts/slideLayout740.xml"/><Relationship Id="rId69" Type="http://schemas.openxmlformats.org/officeDocument/2006/relationships/slideLayout" Target="../slideLayouts/slideLayout761.xml"/><Relationship Id="rId113" Type="http://schemas.openxmlformats.org/officeDocument/2006/relationships/slideLayout" Target="../slideLayouts/slideLayout805.xml"/><Relationship Id="rId134" Type="http://schemas.openxmlformats.org/officeDocument/2006/relationships/slideLayout" Target="../slideLayouts/slideLayout826.xml"/><Relationship Id="rId80" Type="http://schemas.openxmlformats.org/officeDocument/2006/relationships/slideLayout" Target="../slideLayouts/slideLayout772.xml"/><Relationship Id="rId155" Type="http://schemas.openxmlformats.org/officeDocument/2006/relationships/slideLayout" Target="../slideLayouts/slideLayout847.xml"/><Relationship Id="rId176" Type="http://schemas.openxmlformats.org/officeDocument/2006/relationships/slideLayout" Target="../slideLayouts/slideLayout868.xml"/><Relationship Id="rId197" Type="http://schemas.openxmlformats.org/officeDocument/2006/relationships/slideLayout" Target="../slideLayouts/slideLayout889.xml"/><Relationship Id="rId17" Type="http://schemas.openxmlformats.org/officeDocument/2006/relationships/slideLayout" Target="../slideLayouts/slideLayout709.xml"/><Relationship Id="rId38" Type="http://schemas.openxmlformats.org/officeDocument/2006/relationships/slideLayout" Target="../slideLayouts/slideLayout730.xml"/><Relationship Id="rId59" Type="http://schemas.openxmlformats.org/officeDocument/2006/relationships/slideLayout" Target="../slideLayouts/slideLayout751.xml"/><Relationship Id="rId103" Type="http://schemas.openxmlformats.org/officeDocument/2006/relationships/slideLayout" Target="../slideLayouts/slideLayout795.xml"/><Relationship Id="rId124" Type="http://schemas.openxmlformats.org/officeDocument/2006/relationships/slideLayout" Target="../slideLayouts/slideLayout816.xml"/><Relationship Id="rId70" Type="http://schemas.openxmlformats.org/officeDocument/2006/relationships/slideLayout" Target="../slideLayouts/slideLayout762.xml"/><Relationship Id="rId91" Type="http://schemas.openxmlformats.org/officeDocument/2006/relationships/slideLayout" Target="../slideLayouts/slideLayout783.xml"/><Relationship Id="rId145" Type="http://schemas.openxmlformats.org/officeDocument/2006/relationships/slideLayout" Target="../slideLayouts/slideLayout837.xml"/><Relationship Id="rId166" Type="http://schemas.openxmlformats.org/officeDocument/2006/relationships/slideLayout" Target="../slideLayouts/slideLayout858.xml"/><Relationship Id="rId187" Type="http://schemas.openxmlformats.org/officeDocument/2006/relationships/slideLayout" Target="../slideLayouts/slideLayout879.xml"/><Relationship Id="rId1" Type="http://schemas.openxmlformats.org/officeDocument/2006/relationships/slideLayout" Target="../slideLayouts/slideLayout693.xml"/><Relationship Id="rId28" Type="http://schemas.openxmlformats.org/officeDocument/2006/relationships/slideLayout" Target="../slideLayouts/slideLayout720.xml"/><Relationship Id="rId49" Type="http://schemas.openxmlformats.org/officeDocument/2006/relationships/slideLayout" Target="../slideLayouts/slideLayout741.xml"/><Relationship Id="rId114" Type="http://schemas.openxmlformats.org/officeDocument/2006/relationships/slideLayout" Target="../slideLayouts/slideLayout806.xml"/><Relationship Id="rId60" Type="http://schemas.openxmlformats.org/officeDocument/2006/relationships/slideLayout" Target="../slideLayouts/slideLayout752.xml"/><Relationship Id="rId81" Type="http://schemas.openxmlformats.org/officeDocument/2006/relationships/slideLayout" Target="../slideLayouts/slideLayout773.xml"/><Relationship Id="rId135" Type="http://schemas.openxmlformats.org/officeDocument/2006/relationships/slideLayout" Target="../slideLayouts/slideLayout827.xml"/><Relationship Id="rId156" Type="http://schemas.openxmlformats.org/officeDocument/2006/relationships/slideLayout" Target="../slideLayouts/slideLayout848.xml"/><Relationship Id="rId177" Type="http://schemas.openxmlformats.org/officeDocument/2006/relationships/slideLayout" Target="../slideLayouts/slideLayout869.xml"/><Relationship Id="rId198" Type="http://schemas.openxmlformats.org/officeDocument/2006/relationships/slideLayout" Target="../slideLayouts/slideLayout890.xml"/><Relationship Id="rId18" Type="http://schemas.openxmlformats.org/officeDocument/2006/relationships/slideLayout" Target="../slideLayouts/slideLayout710.xml"/><Relationship Id="rId39" Type="http://schemas.openxmlformats.org/officeDocument/2006/relationships/slideLayout" Target="../slideLayouts/slideLayout731.xml"/><Relationship Id="rId50" Type="http://schemas.openxmlformats.org/officeDocument/2006/relationships/slideLayout" Target="../slideLayouts/slideLayout742.xml"/><Relationship Id="rId104" Type="http://schemas.openxmlformats.org/officeDocument/2006/relationships/slideLayout" Target="../slideLayouts/slideLayout796.xml"/><Relationship Id="rId125" Type="http://schemas.openxmlformats.org/officeDocument/2006/relationships/slideLayout" Target="../slideLayouts/slideLayout817.xml"/><Relationship Id="rId146" Type="http://schemas.openxmlformats.org/officeDocument/2006/relationships/slideLayout" Target="../slideLayouts/slideLayout838.xml"/><Relationship Id="rId167" Type="http://schemas.openxmlformats.org/officeDocument/2006/relationships/slideLayout" Target="../slideLayouts/slideLayout859.xml"/><Relationship Id="rId188" Type="http://schemas.openxmlformats.org/officeDocument/2006/relationships/slideLayout" Target="../slideLayouts/slideLayout880.xml"/></Relationships>
</file>

<file path=ppt/slideMasters/_rels/slideMaster4.xml.rels><?xml version="1.0" encoding="UTF-8" standalone="yes"?>
<Relationships xmlns="http://schemas.openxmlformats.org/package/2006/relationships"><Relationship Id="rId117" Type="http://schemas.openxmlformats.org/officeDocument/2006/relationships/slideLayout" Target="../slideLayouts/slideLayout1007.xml"/><Relationship Id="rId671" Type="http://schemas.openxmlformats.org/officeDocument/2006/relationships/slideLayout" Target="../slideLayouts/slideLayout1561.xml"/><Relationship Id="rId21" Type="http://schemas.openxmlformats.org/officeDocument/2006/relationships/slideLayout" Target="../slideLayouts/slideLayout911.xml"/><Relationship Id="rId324" Type="http://schemas.openxmlformats.org/officeDocument/2006/relationships/slideLayout" Target="../slideLayouts/slideLayout1214.xml"/><Relationship Id="rId531" Type="http://schemas.openxmlformats.org/officeDocument/2006/relationships/slideLayout" Target="../slideLayouts/slideLayout1421.xml"/><Relationship Id="rId629" Type="http://schemas.openxmlformats.org/officeDocument/2006/relationships/slideLayout" Target="../slideLayouts/slideLayout1519.xml"/><Relationship Id="rId170" Type="http://schemas.openxmlformats.org/officeDocument/2006/relationships/slideLayout" Target="../slideLayouts/slideLayout1060.xml"/><Relationship Id="rId268" Type="http://schemas.openxmlformats.org/officeDocument/2006/relationships/slideLayout" Target="../slideLayouts/slideLayout1158.xml"/><Relationship Id="rId475" Type="http://schemas.openxmlformats.org/officeDocument/2006/relationships/slideLayout" Target="../slideLayouts/slideLayout1365.xml"/><Relationship Id="rId682" Type="http://schemas.openxmlformats.org/officeDocument/2006/relationships/slideLayout" Target="../slideLayouts/slideLayout1572.xml"/><Relationship Id="rId32" Type="http://schemas.openxmlformats.org/officeDocument/2006/relationships/slideLayout" Target="../slideLayouts/slideLayout922.xml"/><Relationship Id="rId128" Type="http://schemas.openxmlformats.org/officeDocument/2006/relationships/slideLayout" Target="../slideLayouts/slideLayout1018.xml"/><Relationship Id="rId335" Type="http://schemas.openxmlformats.org/officeDocument/2006/relationships/slideLayout" Target="../slideLayouts/slideLayout1225.xml"/><Relationship Id="rId542" Type="http://schemas.openxmlformats.org/officeDocument/2006/relationships/slideLayout" Target="../slideLayouts/slideLayout1432.xml"/><Relationship Id="rId181" Type="http://schemas.openxmlformats.org/officeDocument/2006/relationships/slideLayout" Target="../slideLayouts/slideLayout1071.xml"/><Relationship Id="rId402" Type="http://schemas.openxmlformats.org/officeDocument/2006/relationships/slideLayout" Target="../slideLayouts/slideLayout1292.xml"/><Relationship Id="rId279" Type="http://schemas.openxmlformats.org/officeDocument/2006/relationships/slideLayout" Target="../slideLayouts/slideLayout1169.xml"/><Relationship Id="rId486" Type="http://schemas.openxmlformats.org/officeDocument/2006/relationships/slideLayout" Target="../slideLayouts/slideLayout1376.xml"/><Relationship Id="rId43" Type="http://schemas.openxmlformats.org/officeDocument/2006/relationships/slideLayout" Target="../slideLayouts/slideLayout933.xml"/><Relationship Id="rId139" Type="http://schemas.openxmlformats.org/officeDocument/2006/relationships/slideLayout" Target="../slideLayouts/slideLayout1029.xml"/><Relationship Id="rId346" Type="http://schemas.openxmlformats.org/officeDocument/2006/relationships/slideLayout" Target="../slideLayouts/slideLayout1236.xml"/><Relationship Id="rId553" Type="http://schemas.openxmlformats.org/officeDocument/2006/relationships/slideLayout" Target="../slideLayouts/slideLayout1443.xml"/><Relationship Id="rId192" Type="http://schemas.openxmlformats.org/officeDocument/2006/relationships/slideLayout" Target="../slideLayouts/slideLayout1082.xml"/><Relationship Id="rId206" Type="http://schemas.openxmlformats.org/officeDocument/2006/relationships/slideLayout" Target="../slideLayouts/slideLayout1096.xml"/><Relationship Id="rId413" Type="http://schemas.openxmlformats.org/officeDocument/2006/relationships/slideLayout" Target="../slideLayouts/slideLayout1303.xml"/><Relationship Id="rId497" Type="http://schemas.openxmlformats.org/officeDocument/2006/relationships/slideLayout" Target="../slideLayouts/slideLayout1387.xml"/><Relationship Id="rId620" Type="http://schemas.openxmlformats.org/officeDocument/2006/relationships/slideLayout" Target="../slideLayouts/slideLayout1510.xml"/><Relationship Id="rId357" Type="http://schemas.openxmlformats.org/officeDocument/2006/relationships/slideLayout" Target="../slideLayouts/slideLayout1247.xml"/><Relationship Id="rId54" Type="http://schemas.openxmlformats.org/officeDocument/2006/relationships/slideLayout" Target="../slideLayouts/slideLayout944.xml"/><Relationship Id="rId217" Type="http://schemas.openxmlformats.org/officeDocument/2006/relationships/slideLayout" Target="../slideLayouts/slideLayout1107.xml"/><Relationship Id="rId564" Type="http://schemas.openxmlformats.org/officeDocument/2006/relationships/slideLayout" Target="../slideLayouts/slideLayout1454.xml"/><Relationship Id="rId424" Type="http://schemas.openxmlformats.org/officeDocument/2006/relationships/slideLayout" Target="../slideLayouts/slideLayout1314.xml"/><Relationship Id="rId631" Type="http://schemas.openxmlformats.org/officeDocument/2006/relationships/slideLayout" Target="../slideLayouts/slideLayout1521.xml"/><Relationship Id="rId270" Type="http://schemas.openxmlformats.org/officeDocument/2006/relationships/slideLayout" Target="../slideLayouts/slideLayout1160.xml"/><Relationship Id="rId65" Type="http://schemas.openxmlformats.org/officeDocument/2006/relationships/slideLayout" Target="../slideLayouts/slideLayout955.xml"/><Relationship Id="rId130" Type="http://schemas.openxmlformats.org/officeDocument/2006/relationships/slideLayout" Target="../slideLayouts/slideLayout1020.xml"/><Relationship Id="rId368" Type="http://schemas.openxmlformats.org/officeDocument/2006/relationships/slideLayout" Target="../slideLayouts/slideLayout1258.xml"/><Relationship Id="rId575" Type="http://schemas.openxmlformats.org/officeDocument/2006/relationships/slideLayout" Target="../slideLayouts/slideLayout1465.xml"/><Relationship Id="rId228" Type="http://schemas.openxmlformats.org/officeDocument/2006/relationships/slideLayout" Target="../slideLayouts/slideLayout1118.xml"/><Relationship Id="rId435" Type="http://schemas.openxmlformats.org/officeDocument/2006/relationships/slideLayout" Target="../slideLayouts/slideLayout1325.xml"/><Relationship Id="rId642" Type="http://schemas.openxmlformats.org/officeDocument/2006/relationships/slideLayout" Target="../slideLayouts/slideLayout1532.xml"/><Relationship Id="rId281" Type="http://schemas.openxmlformats.org/officeDocument/2006/relationships/slideLayout" Target="../slideLayouts/slideLayout1171.xml"/><Relationship Id="rId502" Type="http://schemas.openxmlformats.org/officeDocument/2006/relationships/slideLayout" Target="../slideLayouts/slideLayout1392.xml"/><Relationship Id="rId76" Type="http://schemas.openxmlformats.org/officeDocument/2006/relationships/slideLayout" Target="../slideLayouts/slideLayout966.xml"/><Relationship Id="rId141" Type="http://schemas.openxmlformats.org/officeDocument/2006/relationships/slideLayout" Target="../slideLayouts/slideLayout1031.xml"/><Relationship Id="rId379" Type="http://schemas.openxmlformats.org/officeDocument/2006/relationships/slideLayout" Target="../slideLayouts/slideLayout1269.xml"/><Relationship Id="rId586" Type="http://schemas.openxmlformats.org/officeDocument/2006/relationships/slideLayout" Target="../slideLayouts/slideLayout1476.xml"/><Relationship Id="rId7" Type="http://schemas.openxmlformats.org/officeDocument/2006/relationships/slideLayout" Target="../slideLayouts/slideLayout897.xml"/><Relationship Id="rId239" Type="http://schemas.openxmlformats.org/officeDocument/2006/relationships/slideLayout" Target="../slideLayouts/slideLayout1129.xml"/><Relationship Id="rId446" Type="http://schemas.openxmlformats.org/officeDocument/2006/relationships/slideLayout" Target="../slideLayouts/slideLayout1336.xml"/><Relationship Id="rId653" Type="http://schemas.openxmlformats.org/officeDocument/2006/relationships/slideLayout" Target="../slideLayouts/slideLayout1543.xml"/><Relationship Id="rId292" Type="http://schemas.openxmlformats.org/officeDocument/2006/relationships/slideLayout" Target="../slideLayouts/slideLayout1182.xml"/><Relationship Id="rId306" Type="http://schemas.openxmlformats.org/officeDocument/2006/relationships/slideLayout" Target="../slideLayouts/slideLayout1196.xml"/><Relationship Id="rId87" Type="http://schemas.openxmlformats.org/officeDocument/2006/relationships/slideLayout" Target="../slideLayouts/slideLayout977.xml"/><Relationship Id="rId513" Type="http://schemas.openxmlformats.org/officeDocument/2006/relationships/slideLayout" Target="../slideLayouts/slideLayout1403.xml"/><Relationship Id="rId597" Type="http://schemas.openxmlformats.org/officeDocument/2006/relationships/slideLayout" Target="../slideLayouts/slideLayout1487.xml"/><Relationship Id="rId152" Type="http://schemas.openxmlformats.org/officeDocument/2006/relationships/slideLayout" Target="../slideLayouts/slideLayout1042.xml"/><Relationship Id="rId457" Type="http://schemas.openxmlformats.org/officeDocument/2006/relationships/slideLayout" Target="../slideLayouts/slideLayout1347.xml"/><Relationship Id="rId664" Type="http://schemas.openxmlformats.org/officeDocument/2006/relationships/slideLayout" Target="../slideLayouts/slideLayout1554.xml"/><Relationship Id="rId14" Type="http://schemas.openxmlformats.org/officeDocument/2006/relationships/slideLayout" Target="../slideLayouts/slideLayout904.xml"/><Relationship Id="rId317" Type="http://schemas.openxmlformats.org/officeDocument/2006/relationships/slideLayout" Target="../slideLayouts/slideLayout1207.xml"/><Relationship Id="rId524" Type="http://schemas.openxmlformats.org/officeDocument/2006/relationships/slideLayout" Target="../slideLayouts/slideLayout1414.xml"/><Relationship Id="rId98" Type="http://schemas.openxmlformats.org/officeDocument/2006/relationships/slideLayout" Target="../slideLayouts/slideLayout988.xml"/><Relationship Id="rId163" Type="http://schemas.openxmlformats.org/officeDocument/2006/relationships/slideLayout" Target="../slideLayouts/slideLayout1053.xml"/><Relationship Id="rId370" Type="http://schemas.openxmlformats.org/officeDocument/2006/relationships/slideLayout" Target="../slideLayouts/slideLayout1260.xml"/><Relationship Id="rId230" Type="http://schemas.openxmlformats.org/officeDocument/2006/relationships/slideLayout" Target="../slideLayouts/slideLayout1120.xml"/><Relationship Id="rId468" Type="http://schemas.openxmlformats.org/officeDocument/2006/relationships/slideLayout" Target="../slideLayouts/slideLayout1358.xml"/><Relationship Id="rId675" Type="http://schemas.openxmlformats.org/officeDocument/2006/relationships/slideLayout" Target="../slideLayouts/slideLayout1565.xml"/><Relationship Id="rId25" Type="http://schemas.openxmlformats.org/officeDocument/2006/relationships/slideLayout" Target="../slideLayouts/slideLayout915.xml"/><Relationship Id="rId328" Type="http://schemas.openxmlformats.org/officeDocument/2006/relationships/slideLayout" Target="../slideLayouts/slideLayout1218.xml"/><Relationship Id="rId535" Type="http://schemas.openxmlformats.org/officeDocument/2006/relationships/slideLayout" Target="../slideLayouts/slideLayout1425.xml"/><Relationship Id="rId174" Type="http://schemas.openxmlformats.org/officeDocument/2006/relationships/slideLayout" Target="../slideLayouts/slideLayout1064.xml"/><Relationship Id="rId381" Type="http://schemas.openxmlformats.org/officeDocument/2006/relationships/slideLayout" Target="../slideLayouts/slideLayout1271.xml"/><Relationship Id="rId602" Type="http://schemas.openxmlformats.org/officeDocument/2006/relationships/slideLayout" Target="../slideLayouts/slideLayout1492.xml"/><Relationship Id="rId241" Type="http://schemas.openxmlformats.org/officeDocument/2006/relationships/slideLayout" Target="../slideLayouts/slideLayout1131.xml"/><Relationship Id="rId479" Type="http://schemas.openxmlformats.org/officeDocument/2006/relationships/slideLayout" Target="../slideLayouts/slideLayout1369.xml"/><Relationship Id="rId36" Type="http://schemas.openxmlformats.org/officeDocument/2006/relationships/slideLayout" Target="../slideLayouts/slideLayout926.xml"/><Relationship Id="rId339" Type="http://schemas.openxmlformats.org/officeDocument/2006/relationships/slideLayout" Target="../slideLayouts/slideLayout1229.xml"/><Relationship Id="rId546" Type="http://schemas.openxmlformats.org/officeDocument/2006/relationships/slideLayout" Target="../slideLayouts/slideLayout1436.xml"/><Relationship Id="rId101" Type="http://schemas.openxmlformats.org/officeDocument/2006/relationships/slideLayout" Target="../slideLayouts/slideLayout991.xml"/><Relationship Id="rId185" Type="http://schemas.openxmlformats.org/officeDocument/2006/relationships/slideLayout" Target="../slideLayouts/slideLayout1075.xml"/><Relationship Id="rId406" Type="http://schemas.openxmlformats.org/officeDocument/2006/relationships/slideLayout" Target="../slideLayouts/slideLayout1296.xml"/><Relationship Id="rId392" Type="http://schemas.openxmlformats.org/officeDocument/2006/relationships/slideLayout" Target="../slideLayouts/slideLayout1282.xml"/><Relationship Id="rId613" Type="http://schemas.openxmlformats.org/officeDocument/2006/relationships/slideLayout" Target="../slideLayouts/slideLayout1503.xml"/><Relationship Id="rId252" Type="http://schemas.openxmlformats.org/officeDocument/2006/relationships/slideLayout" Target="../slideLayouts/slideLayout1142.xml"/><Relationship Id="rId47" Type="http://schemas.openxmlformats.org/officeDocument/2006/relationships/slideLayout" Target="../slideLayouts/slideLayout937.xml"/><Relationship Id="rId112" Type="http://schemas.openxmlformats.org/officeDocument/2006/relationships/slideLayout" Target="../slideLayouts/slideLayout1002.xml"/><Relationship Id="rId557" Type="http://schemas.openxmlformats.org/officeDocument/2006/relationships/slideLayout" Target="../slideLayouts/slideLayout1447.xml"/><Relationship Id="rId196" Type="http://schemas.openxmlformats.org/officeDocument/2006/relationships/slideLayout" Target="../slideLayouts/slideLayout1086.xml"/><Relationship Id="rId417" Type="http://schemas.openxmlformats.org/officeDocument/2006/relationships/slideLayout" Target="../slideLayouts/slideLayout1307.xml"/><Relationship Id="rId624" Type="http://schemas.openxmlformats.org/officeDocument/2006/relationships/slideLayout" Target="../slideLayouts/slideLayout1514.xml"/><Relationship Id="rId263" Type="http://schemas.openxmlformats.org/officeDocument/2006/relationships/slideLayout" Target="../slideLayouts/slideLayout1153.xml"/><Relationship Id="rId470" Type="http://schemas.openxmlformats.org/officeDocument/2006/relationships/slideLayout" Target="../slideLayouts/slideLayout1360.xml"/><Relationship Id="rId58" Type="http://schemas.openxmlformats.org/officeDocument/2006/relationships/slideLayout" Target="../slideLayouts/slideLayout948.xml"/><Relationship Id="rId123" Type="http://schemas.openxmlformats.org/officeDocument/2006/relationships/slideLayout" Target="../slideLayouts/slideLayout1013.xml"/><Relationship Id="rId330" Type="http://schemas.openxmlformats.org/officeDocument/2006/relationships/slideLayout" Target="../slideLayouts/slideLayout1220.xml"/><Relationship Id="rId568" Type="http://schemas.openxmlformats.org/officeDocument/2006/relationships/slideLayout" Target="../slideLayouts/slideLayout1458.xml"/><Relationship Id="rId428" Type="http://schemas.openxmlformats.org/officeDocument/2006/relationships/slideLayout" Target="../slideLayouts/slideLayout1318.xml"/><Relationship Id="rId635" Type="http://schemas.openxmlformats.org/officeDocument/2006/relationships/slideLayout" Target="../slideLayouts/slideLayout1525.xml"/><Relationship Id="rId274" Type="http://schemas.openxmlformats.org/officeDocument/2006/relationships/slideLayout" Target="../slideLayouts/slideLayout1164.xml"/><Relationship Id="rId481" Type="http://schemas.openxmlformats.org/officeDocument/2006/relationships/slideLayout" Target="../slideLayouts/slideLayout1371.xml"/><Relationship Id="rId69" Type="http://schemas.openxmlformats.org/officeDocument/2006/relationships/slideLayout" Target="../slideLayouts/slideLayout959.xml"/><Relationship Id="rId134" Type="http://schemas.openxmlformats.org/officeDocument/2006/relationships/slideLayout" Target="../slideLayouts/slideLayout1024.xml"/><Relationship Id="rId579" Type="http://schemas.openxmlformats.org/officeDocument/2006/relationships/slideLayout" Target="../slideLayouts/slideLayout1469.xml"/><Relationship Id="rId341" Type="http://schemas.openxmlformats.org/officeDocument/2006/relationships/slideLayout" Target="../slideLayouts/slideLayout1231.xml"/><Relationship Id="rId439" Type="http://schemas.openxmlformats.org/officeDocument/2006/relationships/slideLayout" Target="../slideLayouts/slideLayout1329.xml"/><Relationship Id="rId646" Type="http://schemas.openxmlformats.org/officeDocument/2006/relationships/slideLayout" Target="../slideLayouts/slideLayout1536.xml"/><Relationship Id="rId201" Type="http://schemas.openxmlformats.org/officeDocument/2006/relationships/slideLayout" Target="../slideLayouts/slideLayout1091.xml"/><Relationship Id="rId285" Type="http://schemas.openxmlformats.org/officeDocument/2006/relationships/slideLayout" Target="../slideLayouts/slideLayout1175.xml"/><Relationship Id="rId506" Type="http://schemas.openxmlformats.org/officeDocument/2006/relationships/slideLayout" Target="../slideLayouts/slideLayout1396.xml"/><Relationship Id="rId492" Type="http://schemas.openxmlformats.org/officeDocument/2006/relationships/slideLayout" Target="../slideLayouts/slideLayout1382.xml"/><Relationship Id="rId145" Type="http://schemas.openxmlformats.org/officeDocument/2006/relationships/slideLayout" Target="../slideLayouts/slideLayout1035.xml"/><Relationship Id="rId352" Type="http://schemas.openxmlformats.org/officeDocument/2006/relationships/slideLayout" Target="../slideLayouts/slideLayout1242.xml"/><Relationship Id="rId212" Type="http://schemas.openxmlformats.org/officeDocument/2006/relationships/slideLayout" Target="../slideLayouts/slideLayout1102.xml"/><Relationship Id="rId254" Type="http://schemas.openxmlformats.org/officeDocument/2006/relationships/slideLayout" Target="../slideLayouts/slideLayout1144.xml"/><Relationship Id="rId657" Type="http://schemas.openxmlformats.org/officeDocument/2006/relationships/slideLayout" Target="../slideLayouts/slideLayout1547.xml"/><Relationship Id="rId49" Type="http://schemas.openxmlformats.org/officeDocument/2006/relationships/slideLayout" Target="../slideLayouts/slideLayout939.xml"/><Relationship Id="rId114" Type="http://schemas.openxmlformats.org/officeDocument/2006/relationships/slideLayout" Target="../slideLayouts/slideLayout1004.xml"/><Relationship Id="rId296" Type="http://schemas.openxmlformats.org/officeDocument/2006/relationships/slideLayout" Target="../slideLayouts/slideLayout1186.xml"/><Relationship Id="rId461" Type="http://schemas.openxmlformats.org/officeDocument/2006/relationships/slideLayout" Target="../slideLayouts/slideLayout1351.xml"/><Relationship Id="rId517" Type="http://schemas.openxmlformats.org/officeDocument/2006/relationships/slideLayout" Target="../slideLayouts/slideLayout1407.xml"/><Relationship Id="rId559" Type="http://schemas.openxmlformats.org/officeDocument/2006/relationships/slideLayout" Target="../slideLayouts/slideLayout1449.xml"/><Relationship Id="rId60" Type="http://schemas.openxmlformats.org/officeDocument/2006/relationships/slideLayout" Target="../slideLayouts/slideLayout950.xml"/><Relationship Id="rId156" Type="http://schemas.openxmlformats.org/officeDocument/2006/relationships/slideLayout" Target="../slideLayouts/slideLayout1046.xml"/><Relationship Id="rId198" Type="http://schemas.openxmlformats.org/officeDocument/2006/relationships/slideLayout" Target="../slideLayouts/slideLayout1088.xml"/><Relationship Id="rId321" Type="http://schemas.openxmlformats.org/officeDocument/2006/relationships/slideLayout" Target="../slideLayouts/slideLayout1211.xml"/><Relationship Id="rId363" Type="http://schemas.openxmlformats.org/officeDocument/2006/relationships/slideLayout" Target="../slideLayouts/slideLayout1253.xml"/><Relationship Id="rId419" Type="http://schemas.openxmlformats.org/officeDocument/2006/relationships/slideLayout" Target="../slideLayouts/slideLayout1309.xml"/><Relationship Id="rId570" Type="http://schemas.openxmlformats.org/officeDocument/2006/relationships/slideLayout" Target="../slideLayouts/slideLayout1460.xml"/><Relationship Id="rId626" Type="http://schemas.openxmlformats.org/officeDocument/2006/relationships/slideLayout" Target="../slideLayouts/slideLayout1516.xml"/><Relationship Id="rId223" Type="http://schemas.openxmlformats.org/officeDocument/2006/relationships/slideLayout" Target="../slideLayouts/slideLayout1113.xml"/><Relationship Id="rId430" Type="http://schemas.openxmlformats.org/officeDocument/2006/relationships/slideLayout" Target="../slideLayouts/slideLayout1320.xml"/><Relationship Id="rId668" Type="http://schemas.openxmlformats.org/officeDocument/2006/relationships/slideLayout" Target="../slideLayouts/slideLayout1558.xml"/><Relationship Id="rId18" Type="http://schemas.openxmlformats.org/officeDocument/2006/relationships/slideLayout" Target="../slideLayouts/slideLayout908.xml"/><Relationship Id="rId265" Type="http://schemas.openxmlformats.org/officeDocument/2006/relationships/slideLayout" Target="../slideLayouts/slideLayout1155.xml"/><Relationship Id="rId472" Type="http://schemas.openxmlformats.org/officeDocument/2006/relationships/slideLayout" Target="../slideLayouts/slideLayout1362.xml"/><Relationship Id="rId528" Type="http://schemas.openxmlformats.org/officeDocument/2006/relationships/slideLayout" Target="../slideLayouts/slideLayout1418.xml"/><Relationship Id="rId125" Type="http://schemas.openxmlformats.org/officeDocument/2006/relationships/slideLayout" Target="../slideLayouts/slideLayout1015.xml"/><Relationship Id="rId167" Type="http://schemas.openxmlformats.org/officeDocument/2006/relationships/slideLayout" Target="../slideLayouts/slideLayout1057.xml"/><Relationship Id="rId332" Type="http://schemas.openxmlformats.org/officeDocument/2006/relationships/slideLayout" Target="../slideLayouts/slideLayout1222.xml"/><Relationship Id="rId374" Type="http://schemas.openxmlformats.org/officeDocument/2006/relationships/slideLayout" Target="../slideLayouts/slideLayout1264.xml"/><Relationship Id="rId581" Type="http://schemas.openxmlformats.org/officeDocument/2006/relationships/slideLayout" Target="../slideLayouts/slideLayout1471.xml"/><Relationship Id="rId71" Type="http://schemas.openxmlformats.org/officeDocument/2006/relationships/slideLayout" Target="../slideLayouts/slideLayout961.xml"/><Relationship Id="rId234" Type="http://schemas.openxmlformats.org/officeDocument/2006/relationships/slideLayout" Target="../slideLayouts/slideLayout1124.xml"/><Relationship Id="rId637" Type="http://schemas.openxmlformats.org/officeDocument/2006/relationships/slideLayout" Target="../slideLayouts/slideLayout1527.xml"/><Relationship Id="rId679" Type="http://schemas.openxmlformats.org/officeDocument/2006/relationships/slideLayout" Target="../slideLayouts/slideLayout1569.xml"/><Relationship Id="rId2" Type="http://schemas.openxmlformats.org/officeDocument/2006/relationships/slideLayout" Target="../slideLayouts/slideLayout892.xml"/><Relationship Id="rId29" Type="http://schemas.openxmlformats.org/officeDocument/2006/relationships/slideLayout" Target="../slideLayouts/slideLayout919.xml"/><Relationship Id="rId276" Type="http://schemas.openxmlformats.org/officeDocument/2006/relationships/slideLayout" Target="../slideLayouts/slideLayout1166.xml"/><Relationship Id="rId441" Type="http://schemas.openxmlformats.org/officeDocument/2006/relationships/slideLayout" Target="../slideLayouts/slideLayout1331.xml"/><Relationship Id="rId483" Type="http://schemas.openxmlformats.org/officeDocument/2006/relationships/slideLayout" Target="../slideLayouts/slideLayout1373.xml"/><Relationship Id="rId539" Type="http://schemas.openxmlformats.org/officeDocument/2006/relationships/slideLayout" Target="../slideLayouts/slideLayout1429.xml"/><Relationship Id="rId40" Type="http://schemas.openxmlformats.org/officeDocument/2006/relationships/slideLayout" Target="../slideLayouts/slideLayout930.xml"/><Relationship Id="rId136" Type="http://schemas.openxmlformats.org/officeDocument/2006/relationships/slideLayout" Target="../slideLayouts/slideLayout1026.xml"/><Relationship Id="rId178" Type="http://schemas.openxmlformats.org/officeDocument/2006/relationships/slideLayout" Target="../slideLayouts/slideLayout1068.xml"/><Relationship Id="rId301" Type="http://schemas.openxmlformats.org/officeDocument/2006/relationships/slideLayout" Target="../slideLayouts/slideLayout1191.xml"/><Relationship Id="rId343" Type="http://schemas.openxmlformats.org/officeDocument/2006/relationships/slideLayout" Target="../slideLayouts/slideLayout1233.xml"/><Relationship Id="rId550" Type="http://schemas.openxmlformats.org/officeDocument/2006/relationships/slideLayout" Target="../slideLayouts/slideLayout1440.xml"/><Relationship Id="rId82" Type="http://schemas.openxmlformats.org/officeDocument/2006/relationships/slideLayout" Target="../slideLayouts/slideLayout972.xml"/><Relationship Id="rId203" Type="http://schemas.openxmlformats.org/officeDocument/2006/relationships/slideLayout" Target="../slideLayouts/slideLayout1093.xml"/><Relationship Id="rId385" Type="http://schemas.openxmlformats.org/officeDocument/2006/relationships/slideLayout" Target="../slideLayouts/slideLayout1275.xml"/><Relationship Id="rId592" Type="http://schemas.openxmlformats.org/officeDocument/2006/relationships/slideLayout" Target="../slideLayouts/slideLayout1482.xml"/><Relationship Id="rId606" Type="http://schemas.openxmlformats.org/officeDocument/2006/relationships/slideLayout" Target="../slideLayouts/slideLayout1496.xml"/><Relationship Id="rId648" Type="http://schemas.openxmlformats.org/officeDocument/2006/relationships/slideLayout" Target="../slideLayouts/slideLayout1538.xml"/><Relationship Id="rId245" Type="http://schemas.openxmlformats.org/officeDocument/2006/relationships/slideLayout" Target="../slideLayouts/slideLayout1135.xml"/><Relationship Id="rId287" Type="http://schemas.openxmlformats.org/officeDocument/2006/relationships/slideLayout" Target="../slideLayouts/slideLayout1177.xml"/><Relationship Id="rId410" Type="http://schemas.openxmlformats.org/officeDocument/2006/relationships/slideLayout" Target="../slideLayouts/slideLayout1300.xml"/><Relationship Id="rId452" Type="http://schemas.openxmlformats.org/officeDocument/2006/relationships/slideLayout" Target="../slideLayouts/slideLayout1342.xml"/><Relationship Id="rId494" Type="http://schemas.openxmlformats.org/officeDocument/2006/relationships/slideLayout" Target="../slideLayouts/slideLayout1384.xml"/><Relationship Id="rId508" Type="http://schemas.openxmlformats.org/officeDocument/2006/relationships/slideLayout" Target="../slideLayouts/slideLayout1398.xml"/><Relationship Id="rId105" Type="http://schemas.openxmlformats.org/officeDocument/2006/relationships/slideLayout" Target="../slideLayouts/slideLayout995.xml"/><Relationship Id="rId147" Type="http://schemas.openxmlformats.org/officeDocument/2006/relationships/slideLayout" Target="../slideLayouts/slideLayout1037.xml"/><Relationship Id="rId312" Type="http://schemas.openxmlformats.org/officeDocument/2006/relationships/slideLayout" Target="../slideLayouts/slideLayout1202.xml"/><Relationship Id="rId354" Type="http://schemas.openxmlformats.org/officeDocument/2006/relationships/slideLayout" Target="../slideLayouts/slideLayout1244.xml"/><Relationship Id="rId51" Type="http://schemas.openxmlformats.org/officeDocument/2006/relationships/slideLayout" Target="../slideLayouts/slideLayout941.xml"/><Relationship Id="rId93" Type="http://schemas.openxmlformats.org/officeDocument/2006/relationships/slideLayout" Target="../slideLayouts/slideLayout983.xml"/><Relationship Id="rId189" Type="http://schemas.openxmlformats.org/officeDocument/2006/relationships/slideLayout" Target="../slideLayouts/slideLayout1079.xml"/><Relationship Id="rId396" Type="http://schemas.openxmlformats.org/officeDocument/2006/relationships/slideLayout" Target="../slideLayouts/slideLayout1286.xml"/><Relationship Id="rId561" Type="http://schemas.openxmlformats.org/officeDocument/2006/relationships/slideLayout" Target="../slideLayouts/slideLayout1451.xml"/><Relationship Id="rId617" Type="http://schemas.openxmlformats.org/officeDocument/2006/relationships/slideLayout" Target="../slideLayouts/slideLayout1507.xml"/><Relationship Id="rId659" Type="http://schemas.openxmlformats.org/officeDocument/2006/relationships/slideLayout" Target="../slideLayouts/slideLayout1549.xml"/><Relationship Id="rId214" Type="http://schemas.openxmlformats.org/officeDocument/2006/relationships/slideLayout" Target="../slideLayouts/slideLayout1104.xml"/><Relationship Id="rId256" Type="http://schemas.openxmlformats.org/officeDocument/2006/relationships/slideLayout" Target="../slideLayouts/slideLayout1146.xml"/><Relationship Id="rId298" Type="http://schemas.openxmlformats.org/officeDocument/2006/relationships/slideLayout" Target="../slideLayouts/slideLayout1188.xml"/><Relationship Id="rId421" Type="http://schemas.openxmlformats.org/officeDocument/2006/relationships/slideLayout" Target="../slideLayouts/slideLayout1311.xml"/><Relationship Id="rId463" Type="http://schemas.openxmlformats.org/officeDocument/2006/relationships/slideLayout" Target="../slideLayouts/slideLayout1353.xml"/><Relationship Id="rId519" Type="http://schemas.openxmlformats.org/officeDocument/2006/relationships/slideLayout" Target="../slideLayouts/slideLayout1409.xml"/><Relationship Id="rId670" Type="http://schemas.openxmlformats.org/officeDocument/2006/relationships/slideLayout" Target="../slideLayouts/slideLayout1560.xml"/><Relationship Id="rId116" Type="http://schemas.openxmlformats.org/officeDocument/2006/relationships/slideLayout" Target="../slideLayouts/slideLayout1006.xml"/><Relationship Id="rId158" Type="http://schemas.openxmlformats.org/officeDocument/2006/relationships/slideLayout" Target="../slideLayouts/slideLayout1048.xml"/><Relationship Id="rId323" Type="http://schemas.openxmlformats.org/officeDocument/2006/relationships/slideLayout" Target="../slideLayouts/slideLayout1213.xml"/><Relationship Id="rId530" Type="http://schemas.openxmlformats.org/officeDocument/2006/relationships/slideLayout" Target="../slideLayouts/slideLayout1420.xml"/><Relationship Id="rId20" Type="http://schemas.openxmlformats.org/officeDocument/2006/relationships/slideLayout" Target="../slideLayouts/slideLayout910.xml"/><Relationship Id="rId62" Type="http://schemas.openxmlformats.org/officeDocument/2006/relationships/slideLayout" Target="../slideLayouts/slideLayout952.xml"/><Relationship Id="rId365" Type="http://schemas.openxmlformats.org/officeDocument/2006/relationships/slideLayout" Target="../slideLayouts/slideLayout1255.xml"/><Relationship Id="rId572" Type="http://schemas.openxmlformats.org/officeDocument/2006/relationships/slideLayout" Target="../slideLayouts/slideLayout1462.xml"/><Relationship Id="rId628" Type="http://schemas.openxmlformats.org/officeDocument/2006/relationships/slideLayout" Target="../slideLayouts/slideLayout1518.xml"/><Relationship Id="rId225" Type="http://schemas.openxmlformats.org/officeDocument/2006/relationships/slideLayout" Target="../slideLayouts/slideLayout1115.xml"/><Relationship Id="rId267" Type="http://schemas.openxmlformats.org/officeDocument/2006/relationships/slideLayout" Target="../slideLayouts/slideLayout1157.xml"/><Relationship Id="rId432" Type="http://schemas.openxmlformats.org/officeDocument/2006/relationships/slideLayout" Target="../slideLayouts/slideLayout1322.xml"/><Relationship Id="rId474" Type="http://schemas.openxmlformats.org/officeDocument/2006/relationships/slideLayout" Target="../slideLayouts/slideLayout1364.xml"/><Relationship Id="rId127" Type="http://schemas.openxmlformats.org/officeDocument/2006/relationships/slideLayout" Target="../slideLayouts/slideLayout1017.xml"/><Relationship Id="rId681" Type="http://schemas.openxmlformats.org/officeDocument/2006/relationships/slideLayout" Target="../slideLayouts/slideLayout1571.xml"/><Relationship Id="rId31" Type="http://schemas.openxmlformats.org/officeDocument/2006/relationships/slideLayout" Target="../slideLayouts/slideLayout921.xml"/><Relationship Id="rId73" Type="http://schemas.openxmlformats.org/officeDocument/2006/relationships/slideLayout" Target="../slideLayouts/slideLayout963.xml"/><Relationship Id="rId169" Type="http://schemas.openxmlformats.org/officeDocument/2006/relationships/slideLayout" Target="../slideLayouts/slideLayout1059.xml"/><Relationship Id="rId334" Type="http://schemas.openxmlformats.org/officeDocument/2006/relationships/slideLayout" Target="../slideLayouts/slideLayout1224.xml"/><Relationship Id="rId376" Type="http://schemas.openxmlformats.org/officeDocument/2006/relationships/slideLayout" Target="../slideLayouts/slideLayout1266.xml"/><Relationship Id="rId541" Type="http://schemas.openxmlformats.org/officeDocument/2006/relationships/slideLayout" Target="../slideLayouts/slideLayout1431.xml"/><Relationship Id="rId583" Type="http://schemas.openxmlformats.org/officeDocument/2006/relationships/slideLayout" Target="../slideLayouts/slideLayout1473.xml"/><Relationship Id="rId639" Type="http://schemas.openxmlformats.org/officeDocument/2006/relationships/slideLayout" Target="../slideLayouts/slideLayout1529.xml"/><Relationship Id="rId4" Type="http://schemas.openxmlformats.org/officeDocument/2006/relationships/slideLayout" Target="../slideLayouts/slideLayout894.xml"/><Relationship Id="rId180" Type="http://schemas.openxmlformats.org/officeDocument/2006/relationships/slideLayout" Target="../slideLayouts/slideLayout1070.xml"/><Relationship Id="rId236" Type="http://schemas.openxmlformats.org/officeDocument/2006/relationships/slideLayout" Target="../slideLayouts/slideLayout1126.xml"/><Relationship Id="rId278" Type="http://schemas.openxmlformats.org/officeDocument/2006/relationships/slideLayout" Target="../slideLayouts/slideLayout1168.xml"/><Relationship Id="rId401" Type="http://schemas.openxmlformats.org/officeDocument/2006/relationships/slideLayout" Target="../slideLayouts/slideLayout1291.xml"/><Relationship Id="rId443" Type="http://schemas.openxmlformats.org/officeDocument/2006/relationships/slideLayout" Target="../slideLayouts/slideLayout1333.xml"/><Relationship Id="rId650" Type="http://schemas.openxmlformats.org/officeDocument/2006/relationships/slideLayout" Target="../slideLayouts/slideLayout1540.xml"/><Relationship Id="rId303" Type="http://schemas.openxmlformats.org/officeDocument/2006/relationships/slideLayout" Target="../slideLayouts/slideLayout1193.xml"/><Relationship Id="rId485" Type="http://schemas.openxmlformats.org/officeDocument/2006/relationships/slideLayout" Target="../slideLayouts/slideLayout1375.xml"/><Relationship Id="rId42" Type="http://schemas.openxmlformats.org/officeDocument/2006/relationships/slideLayout" Target="../slideLayouts/slideLayout932.xml"/><Relationship Id="rId84" Type="http://schemas.openxmlformats.org/officeDocument/2006/relationships/slideLayout" Target="../slideLayouts/slideLayout974.xml"/><Relationship Id="rId138" Type="http://schemas.openxmlformats.org/officeDocument/2006/relationships/slideLayout" Target="../slideLayouts/slideLayout1028.xml"/><Relationship Id="rId345" Type="http://schemas.openxmlformats.org/officeDocument/2006/relationships/slideLayout" Target="../slideLayouts/slideLayout1235.xml"/><Relationship Id="rId387" Type="http://schemas.openxmlformats.org/officeDocument/2006/relationships/slideLayout" Target="../slideLayouts/slideLayout1277.xml"/><Relationship Id="rId510" Type="http://schemas.openxmlformats.org/officeDocument/2006/relationships/slideLayout" Target="../slideLayouts/slideLayout1400.xml"/><Relationship Id="rId552" Type="http://schemas.openxmlformats.org/officeDocument/2006/relationships/slideLayout" Target="../slideLayouts/slideLayout1442.xml"/><Relationship Id="rId594" Type="http://schemas.openxmlformats.org/officeDocument/2006/relationships/slideLayout" Target="../slideLayouts/slideLayout1484.xml"/><Relationship Id="rId608" Type="http://schemas.openxmlformats.org/officeDocument/2006/relationships/slideLayout" Target="../slideLayouts/slideLayout1498.xml"/><Relationship Id="rId191" Type="http://schemas.openxmlformats.org/officeDocument/2006/relationships/slideLayout" Target="../slideLayouts/slideLayout1081.xml"/><Relationship Id="rId205" Type="http://schemas.openxmlformats.org/officeDocument/2006/relationships/slideLayout" Target="../slideLayouts/slideLayout1095.xml"/><Relationship Id="rId247" Type="http://schemas.openxmlformats.org/officeDocument/2006/relationships/slideLayout" Target="../slideLayouts/slideLayout1137.xml"/><Relationship Id="rId412" Type="http://schemas.openxmlformats.org/officeDocument/2006/relationships/slideLayout" Target="../slideLayouts/slideLayout1302.xml"/><Relationship Id="rId107" Type="http://schemas.openxmlformats.org/officeDocument/2006/relationships/slideLayout" Target="../slideLayouts/slideLayout997.xml"/><Relationship Id="rId289" Type="http://schemas.openxmlformats.org/officeDocument/2006/relationships/slideLayout" Target="../slideLayouts/slideLayout1179.xml"/><Relationship Id="rId454" Type="http://schemas.openxmlformats.org/officeDocument/2006/relationships/slideLayout" Target="../slideLayouts/slideLayout1344.xml"/><Relationship Id="rId496" Type="http://schemas.openxmlformats.org/officeDocument/2006/relationships/slideLayout" Target="../slideLayouts/slideLayout1386.xml"/><Relationship Id="rId661" Type="http://schemas.openxmlformats.org/officeDocument/2006/relationships/slideLayout" Target="../slideLayouts/slideLayout1551.xml"/><Relationship Id="rId11" Type="http://schemas.openxmlformats.org/officeDocument/2006/relationships/slideLayout" Target="../slideLayouts/slideLayout901.xml"/><Relationship Id="rId53" Type="http://schemas.openxmlformats.org/officeDocument/2006/relationships/slideLayout" Target="../slideLayouts/slideLayout943.xml"/><Relationship Id="rId149" Type="http://schemas.openxmlformats.org/officeDocument/2006/relationships/slideLayout" Target="../slideLayouts/slideLayout1039.xml"/><Relationship Id="rId314" Type="http://schemas.openxmlformats.org/officeDocument/2006/relationships/slideLayout" Target="../slideLayouts/slideLayout1204.xml"/><Relationship Id="rId356" Type="http://schemas.openxmlformats.org/officeDocument/2006/relationships/slideLayout" Target="../slideLayouts/slideLayout1246.xml"/><Relationship Id="rId398" Type="http://schemas.openxmlformats.org/officeDocument/2006/relationships/slideLayout" Target="../slideLayouts/slideLayout1288.xml"/><Relationship Id="rId521" Type="http://schemas.openxmlformats.org/officeDocument/2006/relationships/slideLayout" Target="../slideLayouts/slideLayout1411.xml"/><Relationship Id="rId563" Type="http://schemas.openxmlformats.org/officeDocument/2006/relationships/slideLayout" Target="../slideLayouts/slideLayout1453.xml"/><Relationship Id="rId619" Type="http://schemas.openxmlformats.org/officeDocument/2006/relationships/slideLayout" Target="../slideLayouts/slideLayout1509.xml"/><Relationship Id="rId95" Type="http://schemas.openxmlformats.org/officeDocument/2006/relationships/slideLayout" Target="../slideLayouts/slideLayout985.xml"/><Relationship Id="rId160" Type="http://schemas.openxmlformats.org/officeDocument/2006/relationships/slideLayout" Target="../slideLayouts/slideLayout1050.xml"/><Relationship Id="rId216" Type="http://schemas.openxmlformats.org/officeDocument/2006/relationships/slideLayout" Target="../slideLayouts/slideLayout1106.xml"/><Relationship Id="rId423" Type="http://schemas.openxmlformats.org/officeDocument/2006/relationships/slideLayout" Target="../slideLayouts/slideLayout1313.xml"/><Relationship Id="rId258" Type="http://schemas.openxmlformats.org/officeDocument/2006/relationships/slideLayout" Target="../slideLayouts/slideLayout1148.xml"/><Relationship Id="rId465" Type="http://schemas.openxmlformats.org/officeDocument/2006/relationships/slideLayout" Target="../slideLayouts/slideLayout1355.xml"/><Relationship Id="rId630" Type="http://schemas.openxmlformats.org/officeDocument/2006/relationships/slideLayout" Target="../slideLayouts/slideLayout1520.xml"/><Relationship Id="rId672" Type="http://schemas.openxmlformats.org/officeDocument/2006/relationships/slideLayout" Target="../slideLayouts/slideLayout1562.xml"/><Relationship Id="rId22" Type="http://schemas.openxmlformats.org/officeDocument/2006/relationships/slideLayout" Target="../slideLayouts/slideLayout912.xml"/><Relationship Id="rId64" Type="http://schemas.openxmlformats.org/officeDocument/2006/relationships/slideLayout" Target="../slideLayouts/slideLayout954.xml"/><Relationship Id="rId118" Type="http://schemas.openxmlformats.org/officeDocument/2006/relationships/slideLayout" Target="../slideLayouts/slideLayout1008.xml"/><Relationship Id="rId325" Type="http://schemas.openxmlformats.org/officeDocument/2006/relationships/slideLayout" Target="../slideLayouts/slideLayout1215.xml"/><Relationship Id="rId367" Type="http://schemas.openxmlformats.org/officeDocument/2006/relationships/slideLayout" Target="../slideLayouts/slideLayout1257.xml"/><Relationship Id="rId532" Type="http://schemas.openxmlformats.org/officeDocument/2006/relationships/slideLayout" Target="../slideLayouts/slideLayout1422.xml"/><Relationship Id="rId574" Type="http://schemas.openxmlformats.org/officeDocument/2006/relationships/slideLayout" Target="../slideLayouts/slideLayout1464.xml"/><Relationship Id="rId171" Type="http://schemas.openxmlformats.org/officeDocument/2006/relationships/slideLayout" Target="../slideLayouts/slideLayout1061.xml"/><Relationship Id="rId227" Type="http://schemas.openxmlformats.org/officeDocument/2006/relationships/slideLayout" Target="../slideLayouts/slideLayout1117.xml"/><Relationship Id="rId269" Type="http://schemas.openxmlformats.org/officeDocument/2006/relationships/slideLayout" Target="../slideLayouts/slideLayout1159.xml"/><Relationship Id="rId434" Type="http://schemas.openxmlformats.org/officeDocument/2006/relationships/slideLayout" Target="../slideLayouts/slideLayout1324.xml"/><Relationship Id="rId476" Type="http://schemas.openxmlformats.org/officeDocument/2006/relationships/slideLayout" Target="../slideLayouts/slideLayout1366.xml"/><Relationship Id="rId641" Type="http://schemas.openxmlformats.org/officeDocument/2006/relationships/slideLayout" Target="../slideLayouts/slideLayout1531.xml"/><Relationship Id="rId683" Type="http://schemas.openxmlformats.org/officeDocument/2006/relationships/slideLayout" Target="../slideLayouts/slideLayout1573.xml"/><Relationship Id="rId33" Type="http://schemas.openxmlformats.org/officeDocument/2006/relationships/slideLayout" Target="../slideLayouts/slideLayout923.xml"/><Relationship Id="rId129" Type="http://schemas.openxmlformats.org/officeDocument/2006/relationships/slideLayout" Target="../slideLayouts/slideLayout1019.xml"/><Relationship Id="rId280" Type="http://schemas.openxmlformats.org/officeDocument/2006/relationships/slideLayout" Target="../slideLayouts/slideLayout1170.xml"/><Relationship Id="rId336" Type="http://schemas.openxmlformats.org/officeDocument/2006/relationships/slideLayout" Target="../slideLayouts/slideLayout1226.xml"/><Relationship Id="rId501" Type="http://schemas.openxmlformats.org/officeDocument/2006/relationships/slideLayout" Target="../slideLayouts/slideLayout1391.xml"/><Relationship Id="rId543" Type="http://schemas.openxmlformats.org/officeDocument/2006/relationships/slideLayout" Target="../slideLayouts/slideLayout1433.xml"/><Relationship Id="rId75" Type="http://schemas.openxmlformats.org/officeDocument/2006/relationships/slideLayout" Target="../slideLayouts/slideLayout965.xml"/><Relationship Id="rId140" Type="http://schemas.openxmlformats.org/officeDocument/2006/relationships/slideLayout" Target="../slideLayouts/slideLayout1030.xml"/><Relationship Id="rId182" Type="http://schemas.openxmlformats.org/officeDocument/2006/relationships/slideLayout" Target="../slideLayouts/slideLayout1072.xml"/><Relationship Id="rId378" Type="http://schemas.openxmlformats.org/officeDocument/2006/relationships/slideLayout" Target="../slideLayouts/slideLayout1268.xml"/><Relationship Id="rId403" Type="http://schemas.openxmlformats.org/officeDocument/2006/relationships/slideLayout" Target="../slideLayouts/slideLayout1293.xml"/><Relationship Id="rId585" Type="http://schemas.openxmlformats.org/officeDocument/2006/relationships/slideLayout" Target="../slideLayouts/slideLayout1475.xml"/><Relationship Id="rId6" Type="http://schemas.openxmlformats.org/officeDocument/2006/relationships/slideLayout" Target="../slideLayouts/slideLayout896.xml"/><Relationship Id="rId238" Type="http://schemas.openxmlformats.org/officeDocument/2006/relationships/slideLayout" Target="../slideLayouts/slideLayout1128.xml"/><Relationship Id="rId445" Type="http://schemas.openxmlformats.org/officeDocument/2006/relationships/slideLayout" Target="../slideLayouts/slideLayout1335.xml"/><Relationship Id="rId487" Type="http://schemas.openxmlformats.org/officeDocument/2006/relationships/slideLayout" Target="../slideLayouts/slideLayout1377.xml"/><Relationship Id="rId610" Type="http://schemas.openxmlformats.org/officeDocument/2006/relationships/slideLayout" Target="../slideLayouts/slideLayout1500.xml"/><Relationship Id="rId652" Type="http://schemas.openxmlformats.org/officeDocument/2006/relationships/slideLayout" Target="../slideLayouts/slideLayout1542.xml"/><Relationship Id="rId291" Type="http://schemas.openxmlformats.org/officeDocument/2006/relationships/slideLayout" Target="../slideLayouts/slideLayout1181.xml"/><Relationship Id="rId305" Type="http://schemas.openxmlformats.org/officeDocument/2006/relationships/slideLayout" Target="../slideLayouts/slideLayout1195.xml"/><Relationship Id="rId347" Type="http://schemas.openxmlformats.org/officeDocument/2006/relationships/slideLayout" Target="../slideLayouts/slideLayout1237.xml"/><Relationship Id="rId512" Type="http://schemas.openxmlformats.org/officeDocument/2006/relationships/slideLayout" Target="../slideLayouts/slideLayout1402.xml"/><Relationship Id="rId44" Type="http://schemas.openxmlformats.org/officeDocument/2006/relationships/slideLayout" Target="../slideLayouts/slideLayout934.xml"/><Relationship Id="rId86" Type="http://schemas.openxmlformats.org/officeDocument/2006/relationships/slideLayout" Target="../slideLayouts/slideLayout976.xml"/><Relationship Id="rId151" Type="http://schemas.openxmlformats.org/officeDocument/2006/relationships/slideLayout" Target="../slideLayouts/slideLayout1041.xml"/><Relationship Id="rId389" Type="http://schemas.openxmlformats.org/officeDocument/2006/relationships/slideLayout" Target="../slideLayouts/slideLayout1279.xml"/><Relationship Id="rId554" Type="http://schemas.openxmlformats.org/officeDocument/2006/relationships/slideLayout" Target="../slideLayouts/slideLayout1444.xml"/><Relationship Id="rId596" Type="http://schemas.openxmlformats.org/officeDocument/2006/relationships/slideLayout" Target="../slideLayouts/slideLayout1486.xml"/><Relationship Id="rId193" Type="http://schemas.openxmlformats.org/officeDocument/2006/relationships/slideLayout" Target="../slideLayouts/slideLayout1083.xml"/><Relationship Id="rId207" Type="http://schemas.openxmlformats.org/officeDocument/2006/relationships/slideLayout" Target="../slideLayouts/slideLayout1097.xml"/><Relationship Id="rId249" Type="http://schemas.openxmlformats.org/officeDocument/2006/relationships/slideLayout" Target="../slideLayouts/slideLayout1139.xml"/><Relationship Id="rId414" Type="http://schemas.openxmlformats.org/officeDocument/2006/relationships/slideLayout" Target="../slideLayouts/slideLayout1304.xml"/><Relationship Id="rId456" Type="http://schemas.openxmlformats.org/officeDocument/2006/relationships/slideLayout" Target="../slideLayouts/slideLayout1346.xml"/><Relationship Id="rId498" Type="http://schemas.openxmlformats.org/officeDocument/2006/relationships/slideLayout" Target="../slideLayouts/slideLayout1388.xml"/><Relationship Id="rId621" Type="http://schemas.openxmlformats.org/officeDocument/2006/relationships/slideLayout" Target="../slideLayouts/slideLayout1511.xml"/><Relationship Id="rId663" Type="http://schemas.openxmlformats.org/officeDocument/2006/relationships/slideLayout" Target="../slideLayouts/slideLayout1553.xml"/><Relationship Id="rId13" Type="http://schemas.openxmlformats.org/officeDocument/2006/relationships/slideLayout" Target="../slideLayouts/slideLayout903.xml"/><Relationship Id="rId109" Type="http://schemas.openxmlformats.org/officeDocument/2006/relationships/slideLayout" Target="../slideLayouts/slideLayout999.xml"/><Relationship Id="rId260" Type="http://schemas.openxmlformats.org/officeDocument/2006/relationships/slideLayout" Target="../slideLayouts/slideLayout1150.xml"/><Relationship Id="rId316" Type="http://schemas.openxmlformats.org/officeDocument/2006/relationships/slideLayout" Target="../slideLayouts/slideLayout1206.xml"/><Relationship Id="rId523" Type="http://schemas.openxmlformats.org/officeDocument/2006/relationships/slideLayout" Target="../slideLayouts/slideLayout1413.xml"/><Relationship Id="rId55" Type="http://schemas.openxmlformats.org/officeDocument/2006/relationships/slideLayout" Target="../slideLayouts/slideLayout945.xml"/><Relationship Id="rId97" Type="http://schemas.openxmlformats.org/officeDocument/2006/relationships/slideLayout" Target="../slideLayouts/slideLayout987.xml"/><Relationship Id="rId120" Type="http://schemas.openxmlformats.org/officeDocument/2006/relationships/slideLayout" Target="../slideLayouts/slideLayout1010.xml"/><Relationship Id="rId358" Type="http://schemas.openxmlformats.org/officeDocument/2006/relationships/slideLayout" Target="../slideLayouts/slideLayout1248.xml"/><Relationship Id="rId565" Type="http://schemas.openxmlformats.org/officeDocument/2006/relationships/slideLayout" Target="../slideLayouts/slideLayout1455.xml"/><Relationship Id="rId162" Type="http://schemas.openxmlformats.org/officeDocument/2006/relationships/slideLayout" Target="../slideLayouts/slideLayout1052.xml"/><Relationship Id="rId218" Type="http://schemas.openxmlformats.org/officeDocument/2006/relationships/slideLayout" Target="../slideLayouts/slideLayout1108.xml"/><Relationship Id="rId425" Type="http://schemas.openxmlformats.org/officeDocument/2006/relationships/slideLayout" Target="../slideLayouts/slideLayout1315.xml"/><Relationship Id="rId467" Type="http://schemas.openxmlformats.org/officeDocument/2006/relationships/slideLayout" Target="../slideLayouts/slideLayout1357.xml"/><Relationship Id="rId632" Type="http://schemas.openxmlformats.org/officeDocument/2006/relationships/slideLayout" Target="../slideLayouts/slideLayout1522.xml"/><Relationship Id="rId271" Type="http://schemas.openxmlformats.org/officeDocument/2006/relationships/slideLayout" Target="../slideLayouts/slideLayout1161.xml"/><Relationship Id="rId674" Type="http://schemas.openxmlformats.org/officeDocument/2006/relationships/slideLayout" Target="../slideLayouts/slideLayout1564.xml"/><Relationship Id="rId24" Type="http://schemas.openxmlformats.org/officeDocument/2006/relationships/slideLayout" Target="../slideLayouts/slideLayout914.xml"/><Relationship Id="rId66" Type="http://schemas.openxmlformats.org/officeDocument/2006/relationships/slideLayout" Target="../slideLayouts/slideLayout956.xml"/><Relationship Id="rId131" Type="http://schemas.openxmlformats.org/officeDocument/2006/relationships/slideLayout" Target="../slideLayouts/slideLayout1021.xml"/><Relationship Id="rId327" Type="http://schemas.openxmlformats.org/officeDocument/2006/relationships/slideLayout" Target="../slideLayouts/slideLayout1217.xml"/><Relationship Id="rId369" Type="http://schemas.openxmlformats.org/officeDocument/2006/relationships/slideLayout" Target="../slideLayouts/slideLayout1259.xml"/><Relationship Id="rId534" Type="http://schemas.openxmlformats.org/officeDocument/2006/relationships/slideLayout" Target="../slideLayouts/slideLayout1424.xml"/><Relationship Id="rId576" Type="http://schemas.openxmlformats.org/officeDocument/2006/relationships/slideLayout" Target="../slideLayouts/slideLayout1466.xml"/><Relationship Id="rId173" Type="http://schemas.openxmlformats.org/officeDocument/2006/relationships/slideLayout" Target="../slideLayouts/slideLayout1063.xml"/><Relationship Id="rId229" Type="http://schemas.openxmlformats.org/officeDocument/2006/relationships/slideLayout" Target="../slideLayouts/slideLayout1119.xml"/><Relationship Id="rId380" Type="http://schemas.openxmlformats.org/officeDocument/2006/relationships/slideLayout" Target="../slideLayouts/slideLayout1270.xml"/><Relationship Id="rId436" Type="http://schemas.openxmlformats.org/officeDocument/2006/relationships/slideLayout" Target="../slideLayouts/slideLayout1326.xml"/><Relationship Id="rId601" Type="http://schemas.openxmlformats.org/officeDocument/2006/relationships/slideLayout" Target="../slideLayouts/slideLayout1491.xml"/><Relationship Id="rId643" Type="http://schemas.openxmlformats.org/officeDocument/2006/relationships/slideLayout" Target="../slideLayouts/slideLayout1533.xml"/><Relationship Id="rId240" Type="http://schemas.openxmlformats.org/officeDocument/2006/relationships/slideLayout" Target="../slideLayouts/slideLayout1130.xml"/><Relationship Id="rId478" Type="http://schemas.openxmlformats.org/officeDocument/2006/relationships/slideLayout" Target="../slideLayouts/slideLayout1368.xml"/><Relationship Id="rId685" Type="http://schemas.openxmlformats.org/officeDocument/2006/relationships/theme" Target="../theme/theme4.xml"/><Relationship Id="rId35" Type="http://schemas.openxmlformats.org/officeDocument/2006/relationships/slideLayout" Target="../slideLayouts/slideLayout925.xml"/><Relationship Id="rId77" Type="http://schemas.openxmlformats.org/officeDocument/2006/relationships/slideLayout" Target="../slideLayouts/slideLayout967.xml"/><Relationship Id="rId100" Type="http://schemas.openxmlformats.org/officeDocument/2006/relationships/slideLayout" Target="../slideLayouts/slideLayout990.xml"/><Relationship Id="rId282" Type="http://schemas.openxmlformats.org/officeDocument/2006/relationships/slideLayout" Target="../slideLayouts/slideLayout1172.xml"/><Relationship Id="rId338" Type="http://schemas.openxmlformats.org/officeDocument/2006/relationships/slideLayout" Target="../slideLayouts/slideLayout1228.xml"/><Relationship Id="rId503" Type="http://schemas.openxmlformats.org/officeDocument/2006/relationships/slideLayout" Target="../slideLayouts/slideLayout1393.xml"/><Relationship Id="rId545" Type="http://schemas.openxmlformats.org/officeDocument/2006/relationships/slideLayout" Target="../slideLayouts/slideLayout1435.xml"/><Relationship Id="rId587" Type="http://schemas.openxmlformats.org/officeDocument/2006/relationships/slideLayout" Target="../slideLayouts/slideLayout1477.xml"/><Relationship Id="rId8" Type="http://schemas.openxmlformats.org/officeDocument/2006/relationships/slideLayout" Target="../slideLayouts/slideLayout898.xml"/><Relationship Id="rId142" Type="http://schemas.openxmlformats.org/officeDocument/2006/relationships/slideLayout" Target="../slideLayouts/slideLayout1032.xml"/><Relationship Id="rId184" Type="http://schemas.openxmlformats.org/officeDocument/2006/relationships/slideLayout" Target="../slideLayouts/slideLayout1074.xml"/><Relationship Id="rId391" Type="http://schemas.openxmlformats.org/officeDocument/2006/relationships/slideLayout" Target="../slideLayouts/slideLayout1281.xml"/><Relationship Id="rId405" Type="http://schemas.openxmlformats.org/officeDocument/2006/relationships/slideLayout" Target="../slideLayouts/slideLayout1295.xml"/><Relationship Id="rId447" Type="http://schemas.openxmlformats.org/officeDocument/2006/relationships/slideLayout" Target="../slideLayouts/slideLayout1337.xml"/><Relationship Id="rId612" Type="http://schemas.openxmlformats.org/officeDocument/2006/relationships/slideLayout" Target="../slideLayouts/slideLayout1502.xml"/><Relationship Id="rId251" Type="http://schemas.openxmlformats.org/officeDocument/2006/relationships/slideLayout" Target="../slideLayouts/slideLayout1141.xml"/><Relationship Id="rId489" Type="http://schemas.openxmlformats.org/officeDocument/2006/relationships/slideLayout" Target="../slideLayouts/slideLayout1379.xml"/><Relationship Id="rId654" Type="http://schemas.openxmlformats.org/officeDocument/2006/relationships/slideLayout" Target="../slideLayouts/slideLayout1544.xml"/><Relationship Id="rId46" Type="http://schemas.openxmlformats.org/officeDocument/2006/relationships/slideLayout" Target="../slideLayouts/slideLayout936.xml"/><Relationship Id="rId293" Type="http://schemas.openxmlformats.org/officeDocument/2006/relationships/slideLayout" Target="../slideLayouts/slideLayout1183.xml"/><Relationship Id="rId307" Type="http://schemas.openxmlformats.org/officeDocument/2006/relationships/slideLayout" Target="../slideLayouts/slideLayout1197.xml"/><Relationship Id="rId349" Type="http://schemas.openxmlformats.org/officeDocument/2006/relationships/slideLayout" Target="../slideLayouts/slideLayout1239.xml"/><Relationship Id="rId514" Type="http://schemas.openxmlformats.org/officeDocument/2006/relationships/slideLayout" Target="../slideLayouts/slideLayout1404.xml"/><Relationship Id="rId556" Type="http://schemas.openxmlformats.org/officeDocument/2006/relationships/slideLayout" Target="../slideLayouts/slideLayout1446.xml"/><Relationship Id="rId88" Type="http://schemas.openxmlformats.org/officeDocument/2006/relationships/slideLayout" Target="../slideLayouts/slideLayout978.xml"/><Relationship Id="rId111" Type="http://schemas.openxmlformats.org/officeDocument/2006/relationships/slideLayout" Target="../slideLayouts/slideLayout1001.xml"/><Relationship Id="rId153" Type="http://schemas.openxmlformats.org/officeDocument/2006/relationships/slideLayout" Target="../slideLayouts/slideLayout1043.xml"/><Relationship Id="rId195" Type="http://schemas.openxmlformats.org/officeDocument/2006/relationships/slideLayout" Target="../slideLayouts/slideLayout1085.xml"/><Relationship Id="rId209" Type="http://schemas.openxmlformats.org/officeDocument/2006/relationships/slideLayout" Target="../slideLayouts/slideLayout1099.xml"/><Relationship Id="rId360" Type="http://schemas.openxmlformats.org/officeDocument/2006/relationships/slideLayout" Target="../slideLayouts/slideLayout1250.xml"/><Relationship Id="rId416" Type="http://schemas.openxmlformats.org/officeDocument/2006/relationships/slideLayout" Target="../slideLayouts/slideLayout1306.xml"/><Relationship Id="rId598" Type="http://schemas.openxmlformats.org/officeDocument/2006/relationships/slideLayout" Target="../slideLayouts/slideLayout1488.xml"/><Relationship Id="rId220" Type="http://schemas.openxmlformats.org/officeDocument/2006/relationships/slideLayout" Target="../slideLayouts/slideLayout1110.xml"/><Relationship Id="rId458" Type="http://schemas.openxmlformats.org/officeDocument/2006/relationships/slideLayout" Target="../slideLayouts/slideLayout1348.xml"/><Relationship Id="rId623" Type="http://schemas.openxmlformats.org/officeDocument/2006/relationships/slideLayout" Target="../slideLayouts/slideLayout1513.xml"/><Relationship Id="rId665" Type="http://schemas.openxmlformats.org/officeDocument/2006/relationships/slideLayout" Target="../slideLayouts/slideLayout1555.xml"/><Relationship Id="rId15" Type="http://schemas.openxmlformats.org/officeDocument/2006/relationships/slideLayout" Target="../slideLayouts/slideLayout905.xml"/><Relationship Id="rId57" Type="http://schemas.openxmlformats.org/officeDocument/2006/relationships/slideLayout" Target="../slideLayouts/slideLayout947.xml"/><Relationship Id="rId262" Type="http://schemas.openxmlformats.org/officeDocument/2006/relationships/slideLayout" Target="../slideLayouts/slideLayout1152.xml"/><Relationship Id="rId318" Type="http://schemas.openxmlformats.org/officeDocument/2006/relationships/slideLayout" Target="../slideLayouts/slideLayout1208.xml"/><Relationship Id="rId525" Type="http://schemas.openxmlformats.org/officeDocument/2006/relationships/slideLayout" Target="../slideLayouts/slideLayout1415.xml"/><Relationship Id="rId567" Type="http://schemas.openxmlformats.org/officeDocument/2006/relationships/slideLayout" Target="../slideLayouts/slideLayout1457.xml"/><Relationship Id="rId99" Type="http://schemas.openxmlformats.org/officeDocument/2006/relationships/slideLayout" Target="../slideLayouts/slideLayout989.xml"/><Relationship Id="rId122" Type="http://schemas.openxmlformats.org/officeDocument/2006/relationships/slideLayout" Target="../slideLayouts/slideLayout1012.xml"/><Relationship Id="rId164" Type="http://schemas.openxmlformats.org/officeDocument/2006/relationships/slideLayout" Target="../slideLayouts/slideLayout1054.xml"/><Relationship Id="rId371" Type="http://schemas.openxmlformats.org/officeDocument/2006/relationships/slideLayout" Target="../slideLayouts/slideLayout1261.xml"/><Relationship Id="rId427" Type="http://schemas.openxmlformats.org/officeDocument/2006/relationships/slideLayout" Target="../slideLayouts/slideLayout1317.xml"/><Relationship Id="rId469" Type="http://schemas.openxmlformats.org/officeDocument/2006/relationships/slideLayout" Target="../slideLayouts/slideLayout1359.xml"/><Relationship Id="rId634" Type="http://schemas.openxmlformats.org/officeDocument/2006/relationships/slideLayout" Target="../slideLayouts/slideLayout1524.xml"/><Relationship Id="rId676" Type="http://schemas.openxmlformats.org/officeDocument/2006/relationships/slideLayout" Target="../slideLayouts/slideLayout1566.xml"/><Relationship Id="rId26" Type="http://schemas.openxmlformats.org/officeDocument/2006/relationships/slideLayout" Target="../slideLayouts/slideLayout916.xml"/><Relationship Id="rId231" Type="http://schemas.openxmlformats.org/officeDocument/2006/relationships/slideLayout" Target="../slideLayouts/slideLayout1121.xml"/><Relationship Id="rId273" Type="http://schemas.openxmlformats.org/officeDocument/2006/relationships/slideLayout" Target="../slideLayouts/slideLayout1163.xml"/><Relationship Id="rId329" Type="http://schemas.openxmlformats.org/officeDocument/2006/relationships/slideLayout" Target="../slideLayouts/slideLayout1219.xml"/><Relationship Id="rId480" Type="http://schemas.openxmlformats.org/officeDocument/2006/relationships/slideLayout" Target="../slideLayouts/slideLayout1370.xml"/><Relationship Id="rId536" Type="http://schemas.openxmlformats.org/officeDocument/2006/relationships/slideLayout" Target="../slideLayouts/slideLayout1426.xml"/><Relationship Id="rId68" Type="http://schemas.openxmlformats.org/officeDocument/2006/relationships/slideLayout" Target="../slideLayouts/slideLayout958.xml"/><Relationship Id="rId133" Type="http://schemas.openxmlformats.org/officeDocument/2006/relationships/slideLayout" Target="../slideLayouts/slideLayout1023.xml"/><Relationship Id="rId175" Type="http://schemas.openxmlformats.org/officeDocument/2006/relationships/slideLayout" Target="../slideLayouts/slideLayout1065.xml"/><Relationship Id="rId340" Type="http://schemas.openxmlformats.org/officeDocument/2006/relationships/slideLayout" Target="../slideLayouts/slideLayout1230.xml"/><Relationship Id="rId578" Type="http://schemas.openxmlformats.org/officeDocument/2006/relationships/slideLayout" Target="../slideLayouts/slideLayout1468.xml"/><Relationship Id="rId200" Type="http://schemas.openxmlformats.org/officeDocument/2006/relationships/slideLayout" Target="../slideLayouts/slideLayout1090.xml"/><Relationship Id="rId382" Type="http://schemas.openxmlformats.org/officeDocument/2006/relationships/slideLayout" Target="../slideLayouts/slideLayout1272.xml"/><Relationship Id="rId438" Type="http://schemas.openxmlformats.org/officeDocument/2006/relationships/slideLayout" Target="../slideLayouts/slideLayout1328.xml"/><Relationship Id="rId603" Type="http://schemas.openxmlformats.org/officeDocument/2006/relationships/slideLayout" Target="../slideLayouts/slideLayout1493.xml"/><Relationship Id="rId645" Type="http://schemas.openxmlformats.org/officeDocument/2006/relationships/slideLayout" Target="../slideLayouts/slideLayout1535.xml"/><Relationship Id="rId242" Type="http://schemas.openxmlformats.org/officeDocument/2006/relationships/slideLayout" Target="../slideLayouts/slideLayout1132.xml"/><Relationship Id="rId284" Type="http://schemas.openxmlformats.org/officeDocument/2006/relationships/slideLayout" Target="../slideLayouts/slideLayout1174.xml"/><Relationship Id="rId491" Type="http://schemas.openxmlformats.org/officeDocument/2006/relationships/slideLayout" Target="../slideLayouts/slideLayout1381.xml"/><Relationship Id="rId505" Type="http://schemas.openxmlformats.org/officeDocument/2006/relationships/slideLayout" Target="../slideLayouts/slideLayout1395.xml"/><Relationship Id="rId37" Type="http://schemas.openxmlformats.org/officeDocument/2006/relationships/slideLayout" Target="../slideLayouts/slideLayout927.xml"/><Relationship Id="rId79" Type="http://schemas.openxmlformats.org/officeDocument/2006/relationships/slideLayout" Target="../slideLayouts/slideLayout969.xml"/><Relationship Id="rId102" Type="http://schemas.openxmlformats.org/officeDocument/2006/relationships/slideLayout" Target="../slideLayouts/slideLayout992.xml"/><Relationship Id="rId144" Type="http://schemas.openxmlformats.org/officeDocument/2006/relationships/slideLayout" Target="../slideLayouts/slideLayout1034.xml"/><Relationship Id="rId547" Type="http://schemas.openxmlformats.org/officeDocument/2006/relationships/slideLayout" Target="../slideLayouts/slideLayout1437.xml"/><Relationship Id="rId589" Type="http://schemas.openxmlformats.org/officeDocument/2006/relationships/slideLayout" Target="../slideLayouts/slideLayout1479.xml"/><Relationship Id="rId90" Type="http://schemas.openxmlformats.org/officeDocument/2006/relationships/slideLayout" Target="../slideLayouts/slideLayout980.xml"/><Relationship Id="rId186" Type="http://schemas.openxmlformats.org/officeDocument/2006/relationships/slideLayout" Target="../slideLayouts/slideLayout1076.xml"/><Relationship Id="rId351" Type="http://schemas.openxmlformats.org/officeDocument/2006/relationships/slideLayout" Target="../slideLayouts/slideLayout1241.xml"/><Relationship Id="rId393" Type="http://schemas.openxmlformats.org/officeDocument/2006/relationships/slideLayout" Target="../slideLayouts/slideLayout1283.xml"/><Relationship Id="rId407" Type="http://schemas.openxmlformats.org/officeDocument/2006/relationships/slideLayout" Target="../slideLayouts/slideLayout1297.xml"/><Relationship Id="rId449" Type="http://schemas.openxmlformats.org/officeDocument/2006/relationships/slideLayout" Target="../slideLayouts/slideLayout1339.xml"/><Relationship Id="rId614" Type="http://schemas.openxmlformats.org/officeDocument/2006/relationships/slideLayout" Target="../slideLayouts/slideLayout1504.xml"/><Relationship Id="rId656" Type="http://schemas.openxmlformats.org/officeDocument/2006/relationships/slideLayout" Target="../slideLayouts/slideLayout1546.xml"/><Relationship Id="rId211" Type="http://schemas.openxmlformats.org/officeDocument/2006/relationships/slideLayout" Target="../slideLayouts/slideLayout1101.xml"/><Relationship Id="rId253" Type="http://schemas.openxmlformats.org/officeDocument/2006/relationships/slideLayout" Target="../slideLayouts/slideLayout1143.xml"/><Relationship Id="rId295" Type="http://schemas.openxmlformats.org/officeDocument/2006/relationships/slideLayout" Target="../slideLayouts/slideLayout1185.xml"/><Relationship Id="rId309" Type="http://schemas.openxmlformats.org/officeDocument/2006/relationships/slideLayout" Target="../slideLayouts/slideLayout1199.xml"/><Relationship Id="rId460" Type="http://schemas.openxmlformats.org/officeDocument/2006/relationships/slideLayout" Target="../slideLayouts/slideLayout1350.xml"/><Relationship Id="rId516" Type="http://schemas.openxmlformats.org/officeDocument/2006/relationships/slideLayout" Target="../slideLayouts/slideLayout1406.xml"/><Relationship Id="rId48" Type="http://schemas.openxmlformats.org/officeDocument/2006/relationships/slideLayout" Target="../slideLayouts/slideLayout938.xml"/><Relationship Id="rId113" Type="http://schemas.openxmlformats.org/officeDocument/2006/relationships/slideLayout" Target="../slideLayouts/slideLayout1003.xml"/><Relationship Id="rId320" Type="http://schemas.openxmlformats.org/officeDocument/2006/relationships/slideLayout" Target="../slideLayouts/slideLayout1210.xml"/><Relationship Id="rId558" Type="http://schemas.openxmlformats.org/officeDocument/2006/relationships/slideLayout" Target="../slideLayouts/slideLayout1448.xml"/><Relationship Id="rId155" Type="http://schemas.openxmlformats.org/officeDocument/2006/relationships/slideLayout" Target="../slideLayouts/slideLayout1045.xml"/><Relationship Id="rId197" Type="http://schemas.openxmlformats.org/officeDocument/2006/relationships/slideLayout" Target="../slideLayouts/slideLayout1087.xml"/><Relationship Id="rId362" Type="http://schemas.openxmlformats.org/officeDocument/2006/relationships/slideLayout" Target="../slideLayouts/slideLayout1252.xml"/><Relationship Id="rId418" Type="http://schemas.openxmlformats.org/officeDocument/2006/relationships/slideLayout" Target="../slideLayouts/slideLayout1308.xml"/><Relationship Id="rId625" Type="http://schemas.openxmlformats.org/officeDocument/2006/relationships/slideLayout" Target="../slideLayouts/slideLayout1515.xml"/><Relationship Id="rId222" Type="http://schemas.openxmlformats.org/officeDocument/2006/relationships/slideLayout" Target="../slideLayouts/slideLayout1112.xml"/><Relationship Id="rId264" Type="http://schemas.openxmlformats.org/officeDocument/2006/relationships/slideLayout" Target="../slideLayouts/slideLayout1154.xml"/><Relationship Id="rId471" Type="http://schemas.openxmlformats.org/officeDocument/2006/relationships/slideLayout" Target="../slideLayouts/slideLayout1361.xml"/><Relationship Id="rId667" Type="http://schemas.openxmlformats.org/officeDocument/2006/relationships/slideLayout" Target="../slideLayouts/slideLayout1557.xml"/><Relationship Id="rId17" Type="http://schemas.openxmlformats.org/officeDocument/2006/relationships/slideLayout" Target="../slideLayouts/slideLayout907.xml"/><Relationship Id="rId59" Type="http://schemas.openxmlformats.org/officeDocument/2006/relationships/slideLayout" Target="../slideLayouts/slideLayout949.xml"/><Relationship Id="rId124" Type="http://schemas.openxmlformats.org/officeDocument/2006/relationships/slideLayout" Target="../slideLayouts/slideLayout1014.xml"/><Relationship Id="rId527" Type="http://schemas.openxmlformats.org/officeDocument/2006/relationships/slideLayout" Target="../slideLayouts/slideLayout1417.xml"/><Relationship Id="rId569" Type="http://schemas.openxmlformats.org/officeDocument/2006/relationships/slideLayout" Target="../slideLayouts/slideLayout1459.xml"/><Relationship Id="rId70" Type="http://schemas.openxmlformats.org/officeDocument/2006/relationships/slideLayout" Target="../slideLayouts/slideLayout960.xml"/><Relationship Id="rId166" Type="http://schemas.openxmlformats.org/officeDocument/2006/relationships/slideLayout" Target="../slideLayouts/slideLayout1056.xml"/><Relationship Id="rId331" Type="http://schemas.openxmlformats.org/officeDocument/2006/relationships/slideLayout" Target="../slideLayouts/slideLayout1221.xml"/><Relationship Id="rId373" Type="http://schemas.openxmlformats.org/officeDocument/2006/relationships/slideLayout" Target="../slideLayouts/slideLayout1263.xml"/><Relationship Id="rId429" Type="http://schemas.openxmlformats.org/officeDocument/2006/relationships/slideLayout" Target="../slideLayouts/slideLayout1319.xml"/><Relationship Id="rId580" Type="http://schemas.openxmlformats.org/officeDocument/2006/relationships/slideLayout" Target="../slideLayouts/slideLayout1470.xml"/><Relationship Id="rId636" Type="http://schemas.openxmlformats.org/officeDocument/2006/relationships/slideLayout" Target="../slideLayouts/slideLayout1526.xml"/><Relationship Id="rId1" Type="http://schemas.openxmlformats.org/officeDocument/2006/relationships/slideLayout" Target="../slideLayouts/slideLayout891.xml"/><Relationship Id="rId233" Type="http://schemas.openxmlformats.org/officeDocument/2006/relationships/slideLayout" Target="../slideLayouts/slideLayout1123.xml"/><Relationship Id="rId440" Type="http://schemas.openxmlformats.org/officeDocument/2006/relationships/slideLayout" Target="../slideLayouts/slideLayout1330.xml"/><Relationship Id="rId678" Type="http://schemas.openxmlformats.org/officeDocument/2006/relationships/slideLayout" Target="../slideLayouts/slideLayout1568.xml"/><Relationship Id="rId28" Type="http://schemas.openxmlformats.org/officeDocument/2006/relationships/slideLayout" Target="../slideLayouts/slideLayout918.xml"/><Relationship Id="rId275" Type="http://schemas.openxmlformats.org/officeDocument/2006/relationships/slideLayout" Target="../slideLayouts/slideLayout1165.xml"/><Relationship Id="rId300" Type="http://schemas.openxmlformats.org/officeDocument/2006/relationships/slideLayout" Target="../slideLayouts/slideLayout1190.xml"/><Relationship Id="rId482" Type="http://schemas.openxmlformats.org/officeDocument/2006/relationships/slideLayout" Target="../slideLayouts/slideLayout1372.xml"/><Relationship Id="rId538" Type="http://schemas.openxmlformats.org/officeDocument/2006/relationships/slideLayout" Target="../slideLayouts/slideLayout1428.xml"/><Relationship Id="rId81" Type="http://schemas.openxmlformats.org/officeDocument/2006/relationships/slideLayout" Target="../slideLayouts/slideLayout971.xml"/><Relationship Id="rId135" Type="http://schemas.openxmlformats.org/officeDocument/2006/relationships/slideLayout" Target="../slideLayouts/slideLayout1025.xml"/><Relationship Id="rId177" Type="http://schemas.openxmlformats.org/officeDocument/2006/relationships/slideLayout" Target="../slideLayouts/slideLayout1067.xml"/><Relationship Id="rId342" Type="http://schemas.openxmlformats.org/officeDocument/2006/relationships/slideLayout" Target="../slideLayouts/slideLayout1232.xml"/><Relationship Id="rId384" Type="http://schemas.openxmlformats.org/officeDocument/2006/relationships/slideLayout" Target="../slideLayouts/slideLayout1274.xml"/><Relationship Id="rId591" Type="http://schemas.openxmlformats.org/officeDocument/2006/relationships/slideLayout" Target="../slideLayouts/slideLayout1481.xml"/><Relationship Id="rId605" Type="http://schemas.openxmlformats.org/officeDocument/2006/relationships/slideLayout" Target="../slideLayouts/slideLayout1495.xml"/><Relationship Id="rId202" Type="http://schemas.openxmlformats.org/officeDocument/2006/relationships/slideLayout" Target="../slideLayouts/slideLayout1092.xml"/><Relationship Id="rId244" Type="http://schemas.openxmlformats.org/officeDocument/2006/relationships/slideLayout" Target="../slideLayouts/slideLayout1134.xml"/><Relationship Id="rId647" Type="http://schemas.openxmlformats.org/officeDocument/2006/relationships/slideLayout" Target="../slideLayouts/slideLayout1537.xml"/><Relationship Id="rId39" Type="http://schemas.openxmlformats.org/officeDocument/2006/relationships/slideLayout" Target="../slideLayouts/slideLayout929.xml"/><Relationship Id="rId286" Type="http://schemas.openxmlformats.org/officeDocument/2006/relationships/slideLayout" Target="../slideLayouts/slideLayout1176.xml"/><Relationship Id="rId451" Type="http://schemas.openxmlformats.org/officeDocument/2006/relationships/slideLayout" Target="../slideLayouts/slideLayout1341.xml"/><Relationship Id="rId493" Type="http://schemas.openxmlformats.org/officeDocument/2006/relationships/slideLayout" Target="../slideLayouts/slideLayout1383.xml"/><Relationship Id="rId507" Type="http://schemas.openxmlformats.org/officeDocument/2006/relationships/slideLayout" Target="../slideLayouts/slideLayout1397.xml"/><Relationship Id="rId549" Type="http://schemas.openxmlformats.org/officeDocument/2006/relationships/slideLayout" Target="../slideLayouts/slideLayout1439.xml"/><Relationship Id="rId50" Type="http://schemas.openxmlformats.org/officeDocument/2006/relationships/slideLayout" Target="../slideLayouts/slideLayout940.xml"/><Relationship Id="rId104" Type="http://schemas.openxmlformats.org/officeDocument/2006/relationships/slideLayout" Target="../slideLayouts/slideLayout994.xml"/><Relationship Id="rId146" Type="http://schemas.openxmlformats.org/officeDocument/2006/relationships/slideLayout" Target="../slideLayouts/slideLayout1036.xml"/><Relationship Id="rId188" Type="http://schemas.openxmlformats.org/officeDocument/2006/relationships/slideLayout" Target="../slideLayouts/slideLayout1078.xml"/><Relationship Id="rId311" Type="http://schemas.openxmlformats.org/officeDocument/2006/relationships/slideLayout" Target="../slideLayouts/slideLayout1201.xml"/><Relationship Id="rId353" Type="http://schemas.openxmlformats.org/officeDocument/2006/relationships/slideLayout" Target="../slideLayouts/slideLayout1243.xml"/><Relationship Id="rId395" Type="http://schemas.openxmlformats.org/officeDocument/2006/relationships/slideLayout" Target="../slideLayouts/slideLayout1285.xml"/><Relationship Id="rId409" Type="http://schemas.openxmlformats.org/officeDocument/2006/relationships/slideLayout" Target="../slideLayouts/slideLayout1299.xml"/><Relationship Id="rId560" Type="http://schemas.openxmlformats.org/officeDocument/2006/relationships/slideLayout" Target="../slideLayouts/slideLayout1450.xml"/><Relationship Id="rId92" Type="http://schemas.openxmlformats.org/officeDocument/2006/relationships/slideLayout" Target="../slideLayouts/slideLayout982.xml"/><Relationship Id="rId213" Type="http://schemas.openxmlformats.org/officeDocument/2006/relationships/slideLayout" Target="../slideLayouts/slideLayout1103.xml"/><Relationship Id="rId420" Type="http://schemas.openxmlformats.org/officeDocument/2006/relationships/slideLayout" Target="../slideLayouts/slideLayout1310.xml"/><Relationship Id="rId616" Type="http://schemas.openxmlformats.org/officeDocument/2006/relationships/slideLayout" Target="../slideLayouts/slideLayout1506.xml"/><Relationship Id="rId658" Type="http://schemas.openxmlformats.org/officeDocument/2006/relationships/slideLayout" Target="../slideLayouts/slideLayout1548.xml"/><Relationship Id="rId255" Type="http://schemas.openxmlformats.org/officeDocument/2006/relationships/slideLayout" Target="../slideLayouts/slideLayout1145.xml"/><Relationship Id="rId297" Type="http://schemas.openxmlformats.org/officeDocument/2006/relationships/slideLayout" Target="../slideLayouts/slideLayout1187.xml"/><Relationship Id="rId462" Type="http://schemas.openxmlformats.org/officeDocument/2006/relationships/slideLayout" Target="../slideLayouts/slideLayout1352.xml"/><Relationship Id="rId518" Type="http://schemas.openxmlformats.org/officeDocument/2006/relationships/slideLayout" Target="../slideLayouts/slideLayout1408.xml"/><Relationship Id="rId115" Type="http://schemas.openxmlformats.org/officeDocument/2006/relationships/slideLayout" Target="../slideLayouts/slideLayout1005.xml"/><Relationship Id="rId157" Type="http://schemas.openxmlformats.org/officeDocument/2006/relationships/slideLayout" Target="../slideLayouts/slideLayout1047.xml"/><Relationship Id="rId322" Type="http://schemas.openxmlformats.org/officeDocument/2006/relationships/slideLayout" Target="../slideLayouts/slideLayout1212.xml"/><Relationship Id="rId364" Type="http://schemas.openxmlformats.org/officeDocument/2006/relationships/slideLayout" Target="../slideLayouts/slideLayout1254.xml"/><Relationship Id="rId61" Type="http://schemas.openxmlformats.org/officeDocument/2006/relationships/slideLayout" Target="../slideLayouts/slideLayout951.xml"/><Relationship Id="rId199" Type="http://schemas.openxmlformats.org/officeDocument/2006/relationships/slideLayout" Target="../slideLayouts/slideLayout1089.xml"/><Relationship Id="rId571" Type="http://schemas.openxmlformats.org/officeDocument/2006/relationships/slideLayout" Target="../slideLayouts/slideLayout1461.xml"/><Relationship Id="rId627" Type="http://schemas.openxmlformats.org/officeDocument/2006/relationships/slideLayout" Target="../slideLayouts/slideLayout1517.xml"/><Relationship Id="rId669" Type="http://schemas.openxmlformats.org/officeDocument/2006/relationships/slideLayout" Target="../slideLayouts/slideLayout1559.xml"/><Relationship Id="rId19" Type="http://schemas.openxmlformats.org/officeDocument/2006/relationships/slideLayout" Target="../slideLayouts/slideLayout909.xml"/><Relationship Id="rId224" Type="http://schemas.openxmlformats.org/officeDocument/2006/relationships/slideLayout" Target="../slideLayouts/slideLayout1114.xml"/><Relationship Id="rId266" Type="http://schemas.openxmlformats.org/officeDocument/2006/relationships/slideLayout" Target="../slideLayouts/slideLayout1156.xml"/><Relationship Id="rId431" Type="http://schemas.openxmlformats.org/officeDocument/2006/relationships/slideLayout" Target="../slideLayouts/slideLayout1321.xml"/><Relationship Id="rId473" Type="http://schemas.openxmlformats.org/officeDocument/2006/relationships/slideLayout" Target="../slideLayouts/slideLayout1363.xml"/><Relationship Id="rId529" Type="http://schemas.openxmlformats.org/officeDocument/2006/relationships/slideLayout" Target="../slideLayouts/slideLayout1419.xml"/><Relationship Id="rId680" Type="http://schemas.openxmlformats.org/officeDocument/2006/relationships/slideLayout" Target="../slideLayouts/slideLayout1570.xml"/><Relationship Id="rId30" Type="http://schemas.openxmlformats.org/officeDocument/2006/relationships/slideLayout" Target="../slideLayouts/slideLayout920.xml"/><Relationship Id="rId126" Type="http://schemas.openxmlformats.org/officeDocument/2006/relationships/slideLayout" Target="../slideLayouts/slideLayout1016.xml"/><Relationship Id="rId168" Type="http://schemas.openxmlformats.org/officeDocument/2006/relationships/slideLayout" Target="../slideLayouts/slideLayout1058.xml"/><Relationship Id="rId333" Type="http://schemas.openxmlformats.org/officeDocument/2006/relationships/slideLayout" Target="../slideLayouts/slideLayout1223.xml"/><Relationship Id="rId540" Type="http://schemas.openxmlformats.org/officeDocument/2006/relationships/slideLayout" Target="../slideLayouts/slideLayout1430.xml"/><Relationship Id="rId72" Type="http://schemas.openxmlformats.org/officeDocument/2006/relationships/slideLayout" Target="../slideLayouts/slideLayout962.xml"/><Relationship Id="rId375" Type="http://schemas.openxmlformats.org/officeDocument/2006/relationships/slideLayout" Target="../slideLayouts/slideLayout1265.xml"/><Relationship Id="rId582" Type="http://schemas.openxmlformats.org/officeDocument/2006/relationships/slideLayout" Target="../slideLayouts/slideLayout1472.xml"/><Relationship Id="rId638" Type="http://schemas.openxmlformats.org/officeDocument/2006/relationships/slideLayout" Target="../slideLayouts/slideLayout1528.xml"/><Relationship Id="rId3" Type="http://schemas.openxmlformats.org/officeDocument/2006/relationships/slideLayout" Target="../slideLayouts/slideLayout893.xml"/><Relationship Id="rId235" Type="http://schemas.openxmlformats.org/officeDocument/2006/relationships/slideLayout" Target="../slideLayouts/slideLayout1125.xml"/><Relationship Id="rId277" Type="http://schemas.openxmlformats.org/officeDocument/2006/relationships/slideLayout" Target="../slideLayouts/slideLayout1167.xml"/><Relationship Id="rId400" Type="http://schemas.openxmlformats.org/officeDocument/2006/relationships/slideLayout" Target="../slideLayouts/slideLayout1290.xml"/><Relationship Id="rId442" Type="http://schemas.openxmlformats.org/officeDocument/2006/relationships/slideLayout" Target="../slideLayouts/slideLayout1332.xml"/><Relationship Id="rId484" Type="http://schemas.openxmlformats.org/officeDocument/2006/relationships/slideLayout" Target="../slideLayouts/slideLayout1374.xml"/><Relationship Id="rId137" Type="http://schemas.openxmlformats.org/officeDocument/2006/relationships/slideLayout" Target="../slideLayouts/slideLayout1027.xml"/><Relationship Id="rId302" Type="http://schemas.openxmlformats.org/officeDocument/2006/relationships/slideLayout" Target="../slideLayouts/slideLayout1192.xml"/><Relationship Id="rId344" Type="http://schemas.openxmlformats.org/officeDocument/2006/relationships/slideLayout" Target="../slideLayouts/slideLayout1234.xml"/><Relationship Id="rId41" Type="http://schemas.openxmlformats.org/officeDocument/2006/relationships/slideLayout" Target="../slideLayouts/slideLayout931.xml"/><Relationship Id="rId83" Type="http://schemas.openxmlformats.org/officeDocument/2006/relationships/slideLayout" Target="../slideLayouts/slideLayout973.xml"/><Relationship Id="rId179" Type="http://schemas.openxmlformats.org/officeDocument/2006/relationships/slideLayout" Target="../slideLayouts/slideLayout1069.xml"/><Relationship Id="rId386" Type="http://schemas.openxmlformats.org/officeDocument/2006/relationships/slideLayout" Target="../slideLayouts/slideLayout1276.xml"/><Relationship Id="rId551" Type="http://schemas.openxmlformats.org/officeDocument/2006/relationships/slideLayout" Target="../slideLayouts/slideLayout1441.xml"/><Relationship Id="rId593" Type="http://schemas.openxmlformats.org/officeDocument/2006/relationships/slideLayout" Target="../slideLayouts/slideLayout1483.xml"/><Relationship Id="rId607" Type="http://schemas.openxmlformats.org/officeDocument/2006/relationships/slideLayout" Target="../slideLayouts/slideLayout1497.xml"/><Relationship Id="rId649" Type="http://schemas.openxmlformats.org/officeDocument/2006/relationships/slideLayout" Target="../slideLayouts/slideLayout1539.xml"/><Relationship Id="rId190" Type="http://schemas.openxmlformats.org/officeDocument/2006/relationships/slideLayout" Target="../slideLayouts/slideLayout1080.xml"/><Relationship Id="rId204" Type="http://schemas.openxmlformats.org/officeDocument/2006/relationships/slideLayout" Target="../slideLayouts/slideLayout1094.xml"/><Relationship Id="rId246" Type="http://schemas.openxmlformats.org/officeDocument/2006/relationships/slideLayout" Target="../slideLayouts/slideLayout1136.xml"/><Relationship Id="rId288" Type="http://schemas.openxmlformats.org/officeDocument/2006/relationships/slideLayout" Target="../slideLayouts/slideLayout1178.xml"/><Relationship Id="rId411" Type="http://schemas.openxmlformats.org/officeDocument/2006/relationships/slideLayout" Target="../slideLayouts/slideLayout1301.xml"/><Relationship Id="rId453" Type="http://schemas.openxmlformats.org/officeDocument/2006/relationships/slideLayout" Target="../slideLayouts/slideLayout1343.xml"/><Relationship Id="rId509" Type="http://schemas.openxmlformats.org/officeDocument/2006/relationships/slideLayout" Target="../slideLayouts/slideLayout1399.xml"/><Relationship Id="rId660" Type="http://schemas.openxmlformats.org/officeDocument/2006/relationships/slideLayout" Target="../slideLayouts/slideLayout1550.xml"/><Relationship Id="rId106" Type="http://schemas.openxmlformats.org/officeDocument/2006/relationships/slideLayout" Target="../slideLayouts/slideLayout996.xml"/><Relationship Id="rId313" Type="http://schemas.openxmlformats.org/officeDocument/2006/relationships/slideLayout" Target="../slideLayouts/slideLayout1203.xml"/><Relationship Id="rId495" Type="http://schemas.openxmlformats.org/officeDocument/2006/relationships/slideLayout" Target="../slideLayouts/slideLayout1385.xml"/><Relationship Id="rId10" Type="http://schemas.openxmlformats.org/officeDocument/2006/relationships/slideLayout" Target="../slideLayouts/slideLayout900.xml"/><Relationship Id="rId52" Type="http://schemas.openxmlformats.org/officeDocument/2006/relationships/slideLayout" Target="../slideLayouts/slideLayout942.xml"/><Relationship Id="rId94" Type="http://schemas.openxmlformats.org/officeDocument/2006/relationships/slideLayout" Target="../slideLayouts/slideLayout984.xml"/><Relationship Id="rId148" Type="http://schemas.openxmlformats.org/officeDocument/2006/relationships/slideLayout" Target="../slideLayouts/slideLayout1038.xml"/><Relationship Id="rId355" Type="http://schemas.openxmlformats.org/officeDocument/2006/relationships/slideLayout" Target="../slideLayouts/slideLayout1245.xml"/><Relationship Id="rId397" Type="http://schemas.openxmlformats.org/officeDocument/2006/relationships/slideLayout" Target="../slideLayouts/slideLayout1287.xml"/><Relationship Id="rId520" Type="http://schemas.openxmlformats.org/officeDocument/2006/relationships/slideLayout" Target="../slideLayouts/slideLayout1410.xml"/><Relationship Id="rId562" Type="http://schemas.openxmlformats.org/officeDocument/2006/relationships/slideLayout" Target="../slideLayouts/slideLayout1452.xml"/><Relationship Id="rId618" Type="http://schemas.openxmlformats.org/officeDocument/2006/relationships/slideLayout" Target="../slideLayouts/slideLayout1508.xml"/><Relationship Id="rId215" Type="http://schemas.openxmlformats.org/officeDocument/2006/relationships/slideLayout" Target="../slideLayouts/slideLayout1105.xml"/><Relationship Id="rId257" Type="http://schemas.openxmlformats.org/officeDocument/2006/relationships/slideLayout" Target="../slideLayouts/slideLayout1147.xml"/><Relationship Id="rId422" Type="http://schemas.openxmlformats.org/officeDocument/2006/relationships/slideLayout" Target="../slideLayouts/slideLayout1312.xml"/><Relationship Id="rId464" Type="http://schemas.openxmlformats.org/officeDocument/2006/relationships/slideLayout" Target="../slideLayouts/slideLayout1354.xml"/><Relationship Id="rId299" Type="http://schemas.openxmlformats.org/officeDocument/2006/relationships/slideLayout" Target="../slideLayouts/slideLayout1189.xml"/><Relationship Id="rId63" Type="http://schemas.openxmlformats.org/officeDocument/2006/relationships/slideLayout" Target="../slideLayouts/slideLayout953.xml"/><Relationship Id="rId159" Type="http://schemas.openxmlformats.org/officeDocument/2006/relationships/slideLayout" Target="../slideLayouts/slideLayout1049.xml"/><Relationship Id="rId366" Type="http://schemas.openxmlformats.org/officeDocument/2006/relationships/slideLayout" Target="../slideLayouts/slideLayout1256.xml"/><Relationship Id="rId573" Type="http://schemas.openxmlformats.org/officeDocument/2006/relationships/slideLayout" Target="../slideLayouts/slideLayout1463.xml"/><Relationship Id="rId226" Type="http://schemas.openxmlformats.org/officeDocument/2006/relationships/slideLayout" Target="../slideLayouts/slideLayout1116.xml"/><Relationship Id="rId433" Type="http://schemas.openxmlformats.org/officeDocument/2006/relationships/slideLayout" Target="../slideLayouts/slideLayout1323.xml"/><Relationship Id="rId640" Type="http://schemas.openxmlformats.org/officeDocument/2006/relationships/slideLayout" Target="../slideLayouts/slideLayout1530.xml"/><Relationship Id="rId74" Type="http://schemas.openxmlformats.org/officeDocument/2006/relationships/slideLayout" Target="../slideLayouts/slideLayout964.xml"/><Relationship Id="rId377" Type="http://schemas.openxmlformats.org/officeDocument/2006/relationships/slideLayout" Target="../slideLayouts/slideLayout1267.xml"/><Relationship Id="rId500" Type="http://schemas.openxmlformats.org/officeDocument/2006/relationships/slideLayout" Target="../slideLayouts/slideLayout1390.xml"/><Relationship Id="rId584" Type="http://schemas.openxmlformats.org/officeDocument/2006/relationships/slideLayout" Target="../slideLayouts/slideLayout1474.xml"/><Relationship Id="rId5" Type="http://schemas.openxmlformats.org/officeDocument/2006/relationships/slideLayout" Target="../slideLayouts/slideLayout895.xml"/><Relationship Id="rId237" Type="http://schemas.openxmlformats.org/officeDocument/2006/relationships/slideLayout" Target="../slideLayouts/slideLayout1127.xml"/><Relationship Id="rId444" Type="http://schemas.openxmlformats.org/officeDocument/2006/relationships/slideLayout" Target="../slideLayouts/slideLayout1334.xml"/><Relationship Id="rId651" Type="http://schemas.openxmlformats.org/officeDocument/2006/relationships/slideLayout" Target="../slideLayouts/slideLayout1541.xml"/><Relationship Id="rId290" Type="http://schemas.openxmlformats.org/officeDocument/2006/relationships/slideLayout" Target="../slideLayouts/slideLayout1180.xml"/><Relationship Id="rId304" Type="http://schemas.openxmlformats.org/officeDocument/2006/relationships/slideLayout" Target="../slideLayouts/slideLayout1194.xml"/><Relationship Id="rId388" Type="http://schemas.openxmlformats.org/officeDocument/2006/relationships/slideLayout" Target="../slideLayouts/slideLayout1278.xml"/><Relationship Id="rId511" Type="http://schemas.openxmlformats.org/officeDocument/2006/relationships/slideLayout" Target="../slideLayouts/slideLayout1401.xml"/><Relationship Id="rId609" Type="http://schemas.openxmlformats.org/officeDocument/2006/relationships/slideLayout" Target="../slideLayouts/slideLayout1499.xml"/><Relationship Id="rId85" Type="http://schemas.openxmlformats.org/officeDocument/2006/relationships/slideLayout" Target="../slideLayouts/slideLayout975.xml"/><Relationship Id="rId150" Type="http://schemas.openxmlformats.org/officeDocument/2006/relationships/slideLayout" Target="../slideLayouts/slideLayout1040.xml"/><Relationship Id="rId595" Type="http://schemas.openxmlformats.org/officeDocument/2006/relationships/slideLayout" Target="../slideLayouts/slideLayout1485.xml"/><Relationship Id="rId248" Type="http://schemas.openxmlformats.org/officeDocument/2006/relationships/slideLayout" Target="../slideLayouts/slideLayout1138.xml"/><Relationship Id="rId455" Type="http://schemas.openxmlformats.org/officeDocument/2006/relationships/slideLayout" Target="../slideLayouts/slideLayout1345.xml"/><Relationship Id="rId662" Type="http://schemas.openxmlformats.org/officeDocument/2006/relationships/slideLayout" Target="../slideLayouts/slideLayout1552.xml"/><Relationship Id="rId12" Type="http://schemas.openxmlformats.org/officeDocument/2006/relationships/slideLayout" Target="../slideLayouts/slideLayout902.xml"/><Relationship Id="rId108" Type="http://schemas.openxmlformats.org/officeDocument/2006/relationships/slideLayout" Target="../slideLayouts/slideLayout998.xml"/><Relationship Id="rId315" Type="http://schemas.openxmlformats.org/officeDocument/2006/relationships/slideLayout" Target="../slideLayouts/slideLayout1205.xml"/><Relationship Id="rId522" Type="http://schemas.openxmlformats.org/officeDocument/2006/relationships/slideLayout" Target="../slideLayouts/slideLayout1412.xml"/><Relationship Id="rId96" Type="http://schemas.openxmlformats.org/officeDocument/2006/relationships/slideLayout" Target="../slideLayouts/slideLayout986.xml"/><Relationship Id="rId161" Type="http://schemas.openxmlformats.org/officeDocument/2006/relationships/slideLayout" Target="../slideLayouts/slideLayout1051.xml"/><Relationship Id="rId399" Type="http://schemas.openxmlformats.org/officeDocument/2006/relationships/slideLayout" Target="../slideLayouts/slideLayout1289.xml"/><Relationship Id="rId259" Type="http://schemas.openxmlformats.org/officeDocument/2006/relationships/slideLayout" Target="../slideLayouts/slideLayout1149.xml"/><Relationship Id="rId466" Type="http://schemas.openxmlformats.org/officeDocument/2006/relationships/slideLayout" Target="../slideLayouts/slideLayout1356.xml"/><Relationship Id="rId673" Type="http://schemas.openxmlformats.org/officeDocument/2006/relationships/slideLayout" Target="../slideLayouts/slideLayout1563.xml"/><Relationship Id="rId23" Type="http://schemas.openxmlformats.org/officeDocument/2006/relationships/slideLayout" Target="../slideLayouts/slideLayout913.xml"/><Relationship Id="rId119" Type="http://schemas.openxmlformats.org/officeDocument/2006/relationships/slideLayout" Target="../slideLayouts/slideLayout1009.xml"/><Relationship Id="rId326" Type="http://schemas.openxmlformats.org/officeDocument/2006/relationships/slideLayout" Target="../slideLayouts/slideLayout1216.xml"/><Relationship Id="rId533" Type="http://schemas.openxmlformats.org/officeDocument/2006/relationships/slideLayout" Target="../slideLayouts/slideLayout1423.xml"/><Relationship Id="rId172" Type="http://schemas.openxmlformats.org/officeDocument/2006/relationships/slideLayout" Target="../slideLayouts/slideLayout1062.xml"/><Relationship Id="rId477" Type="http://schemas.openxmlformats.org/officeDocument/2006/relationships/slideLayout" Target="../slideLayouts/slideLayout1367.xml"/><Relationship Id="rId600" Type="http://schemas.openxmlformats.org/officeDocument/2006/relationships/slideLayout" Target="../slideLayouts/slideLayout1490.xml"/><Relationship Id="rId684" Type="http://schemas.openxmlformats.org/officeDocument/2006/relationships/slideLayout" Target="../slideLayouts/slideLayout1574.xml"/><Relationship Id="rId337" Type="http://schemas.openxmlformats.org/officeDocument/2006/relationships/slideLayout" Target="../slideLayouts/slideLayout1227.xml"/><Relationship Id="rId34" Type="http://schemas.openxmlformats.org/officeDocument/2006/relationships/slideLayout" Target="../slideLayouts/slideLayout924.xml"/><Relationship Id="rId544" Type="http://schemas.openxmlformats.org/officeDocument/2006/relationships/slideLayout" Target="../slideLayouts/slideLayout1434.xml"/><Relationship Id="rId183" Type="http://schemas.openxmlformats.org/officeDocument/2006/relationships/slideLayout" Target="../slideLayouts/slideLayout1073.xml"/><Relationship Id="rId390" Type="http://schemas.openxmlformats.org/officeDocument/2006/relationships/slideLayout" Target="../slideLayouts/slideLayout1280.xml"/><Relationship Id="rId404" Type="http://schemas.openxmlformats.org/officeDocument/2006/relationships/slideLayout" Target="../slideLayouts/slideLayout1294.xml"/><Relationship Id="rId611" Type="http://schemas.openxmlformats.org/officeDocument/2006/relationships/slideLayout" Target="../slideLayouts/slideLayout1501.xml"/><Relationship Id="rId250" Type="http://schemas.openxmlformats.org/officeDocument/2006/relationships/slideLayout" Target="../slideLayouts/slideLayout1140.xml"/><Relationship Id="rId488" Type="http://schemas.openxmlformats.org/officeDocument/2006/relationships/slideLayout" Target="../slideLayouts/slideLayout1378.xml"/><Relationship Id="rId45" Type="http://schemas.openxmlformats.org/officeDocument/2006/relationships/slideLayout" Target="../slideLayouts/slideLayout935.xml"/><Relationship Id="rId110" Type="http://schemas.openxmlformats.org/officeDocument/2006/relationships/slideLayout" Target="../slideLayouts/slideLayout1000.xml"/><Relationship Id="rId348" Type="http://schemas.openxmlformats.org/officeDocument/2006/relationships/slideLayout" Target="../slideLayouts/slideLayout1238.xml"/><Relationship Id="rId555" Type="http://schemas.openxmlformats.org/officeDocument/2006/relationships/slideLayout" Target="../slideLayouts/slideLayout1445.xml"/><Relationship Id="rId194" Type="http://schemas.openxmlformats.org/officeDocument/2006/relationships/slideLayout" Target="../slideLayouts/slideLayout1084.xml"/><Relationship Id="rId208" Type="http://schemas.openxmlformats.org/officeDocument/2006/relationships/slideLayout" Target="../slideLayouts/slideLayout1098.xml"/><Relationship Id="rId415" Type="http://schemas.openxmlformats.org/officeDocument/2006/relationships/slideLayout" Target="../slideLayouts/slideLayout1305.xml"/><Relationship Id="rId622" Type="http://schemas.openxmlformats.org/officeDocument/2006/relationships/slideLayout" Target="../slideLayouts/slideLayout1512.xml"/><Relationship Id="rId261" Type="http://schemas.openxmlformats.org/officeDocument/2006/relationships/slideLayout" Target="../slideLayouts/slideLayout1151.xml"/><Relationship Id="rId499" Type="http://schemas.openxmlformats.org/officeDocument/2006/relationships/slideLayout" Target="../slideLayouts/slideLayout1389.xml"/><Relationship Id="rId56" Type="http://schemas.openxmlformats.org/officeDocument/2006/relationships/slideLayout" Target="../slideLayouts/slideLayout946.xml"/><Relationship Id="rId359" Type="http://schemas.openxmlformats.org/officeDocument/2006/relationships/slideLayout" Target="../slideLayouts/slideLayout1249.xml"/><Relationship Id="rId566" Type="http://schemas.openxmlformats.org/officeDocument/2006/relationships/slideLayout" Target="../slideLayouts/slideLayout1456.xml"/><Relationship Id="rId121" Type="http://schemas.openxmlformats.org/officeDocument/2006/relationships/slideLayout" Target="../slideLayouts/slideLayout1011.xml"/><Relationship Id="rId219" Type="http://schemas.openxmlformats.org/officeDocument/2006/relationships/slideLayout" Target="../slideLayouts/slideLayout1109.xml"/><Relationship Id="rId426" Type="http://schemas.openxmlformats.org/officeDocument/2006/relationships/slideLayout" Target="../slideLayouts/slideLayout1316.xml"/><Relationship Id="rId633" Type="http://schemas.openxmlformats.org/officeDocument/2006/relationships/slideLayout" Target="../slideLayouts/slideLayout1523.xml"/><Relationship Id="rId67" Type="http://schemas.openxmlformats.org/officeDocument/2006/relationships/slideLayout" Target="../slideLayouts/slideLayout957.xml"/><Relationship Id="rId272" Type="http://schemas.openxmlformats.org/officeDocument/2006/relationships/slideLayout" Target="../slideLayouts/slideLayout1162.xml"/><Relationship Id="rId577" Type="http://schemas.openxmlformats.org/officeDocument/2006/relationships/slideLayout" Target="../slideLayouts/slideLayout1467.xml"/><Relationship Id="rId132" Type="http://schemas.openxmlformats.org/officeDocument/2006/relationships/slideLayout" Target="../slideLayouts/slideLayout1022.xml"/><Relationship Id="rId437" Type="http://schemas.openxmlformats.org/officeDocument/2006/relationships/slideLayout" Target="../slideLayouts/slideLayout1327.xml"/><Relationship Id="rId644" Type="http://schemas.openxmlformats.org/officeDocument/2006/relationships/slideLayout" Target="../slideLayouts/slideLayout1534.xml"/><Relationship Id="rId283" Type="http://schemas.openxmlformats.org/officeDocument/2006/relationships/slideLayout" Target="../slideLayouts/slideLayout1173.xml"/><Relationship Id="rId490" Type="http://schemas.openxmlformats.org/officeDocument/2006/relationships/slideLayout" Target="../slideLayouts/slideLayout1380.xml"/><Relationship Id="rId504" Type="http://schemas.openxmlformats.org/officeDocument/2006/relationships/slideLayout" Target="../slideLayouts/slideLayout1394.xml"/><Relationship Id="rId78" Type="http://schemas.openxmlformats.org/officeDocument/2006/relationships/slideLayout" Target="../slideLayouts/slideLayout968.xml"/><Relationship Id="rId143" Type="http://schemas.openxmlformats.org/officeDocument/2006/relationships/slideLayout" Target="../slideLayouts/slideLayout1033.xml"/><Relationship Id="rId350" Type="http://schemas.openxmlformats.org/officeDocument/2006/relationships/slideLayout" Target="../slideLayouts/slideLayout1240.xml"/><Relationship Id="rId588" Type="http://schemas.openxmlformats.org/officeDocument/2006/relationships/slideLayout" Target="../slideLayouts/slideLayout1478.xml"/><Relationship Id="rId9" Type="http://schemas.openxmlformats.org/officeDocument/2006/relationships/slideLayout" Target="../slideLayouts/slideLayout899.xml"/><Relationship Id="rId210" Type="http://schemas.openxmlformats.org/officeDocument/2006/relationships/slideLayout" Target="../slideLayouts/slideLayout1100.xml"/><Relationship Id="rId448" Type="http://schemas.openxmlformats.org/officeDocument/2006/relationships/slideLayout" Target="../slideLayouts/slideLayout1338.xml"/><Relationship Id="rId655" Type="http://schemas.openxmlformats.org/officeDocument/2006/relationships/slideLayout" Target="../slideLayouts/slideLayout1545.xml"/><Relationship Id="rId294" Type="http://schemas.openxmlformats.org/officeDocument/2006/relationships/slideLayout" Target="../slideLayouts/slideLayout1184.xml"/><Relationship Id="rId308" Type="http://schemas.openxmlformats.org/officeDocument/2006/relationships/slideLayout" Target="../slideLayouts/slideLayout1198.xml"/><Relationship Id="rId515" Type="http://schemas.openxmlformats.org/officeDocument/2006/relationships/slideLayout" Target="../slideLayouts/slideLayout1405.xml"/><Relationship Id="rId89" Type="http://schemas.openxmlformats.org/officeDocument/2006/relationships/slideLayout" Target="../slideLayouts/slideLayout979.xml"/><Relationship Id="rId154" Type="http://schemas.openxmlformats.org/officeDocument/2006/relationships/slideLayout" Target="../slideLayouts/slideLayout1044.xml"/><Relationship Id="rId361" Type="http://schemas.openxmlformats.org/officeDocument/2006/relationships/slideLayout" Target="../slideLayouts/slideLayout1251.xml"/><Relationship Id="rId599" Type="http://schemas.openxmlformats.org/officeDocument/2006/relationships/slideLayout" Target="../slideLayouts/slideLayout1489.xml"/><Relationship Id="rId459" Type="http://schemas.openxmlformats.org/officeDocument/2006/relationships/slideLayout" Target="../slideLayouts/slideLayout1349.xml"/><Relationship Id="rId666" Type="http://schemas.openxmlformats.org/officeDocument/2006/relationships/slideLayout" Target="../slideLayouts/slideLayout1556.xml"/><Relationship Id="rId16" Type="http://schemas.openxmlformats.org/officeDocument/2006/relationships/slideLayout" Target="../slideLayouts/slideLayout906.xml"/><Relationship Id="rId221" Type="http://schemas.openxmlformats.org/officeDocument/2006/relationships/slideLayout" Target="../slideLayouts/slideLayout1111.xml"/><Relationship Id="rId319" Type="http://schemas.openxmlformats.org/officeDocument/2006/relationships/slideLayout" Target="../slideLayouts/slideLayout1209.xml"/><Relationship Id="rId526" Type="http://schemas.openxmlformats.org/officeDocument/2006/relationships/slideLayout" Target="../slideLayouts/slideLayout1416.xml"/><Relationship Id="rId165" Type="http://schemas.openxmlformats.org/officeDocument/2006/relationships/slideLayout" Target="../slideLayouts/slideLayout1055.xml"/><Relationship Id="rId372" Type="http://schemas.openxmlformats.org/officeDocument/2006/relationships/slideLayout" Target="../slideLayouts/slideLayout1262.xml"/><Relationship Id="rId677" Type="http://schemas.openxmlformats.org/officeDocument/2006/relationships/slideLayout" Target="../slideLayouts/slideLayout1567.xml"/><Relationship Id="rId232" Type="http://schemas.openxmlformats.org/officeDocument/2006/relationships/slideLayout" Target="../slideLayouts/slideLayout1122.xml"/><Relationship Id="rId27" Type="http://schemas.openxmlformats.org/officeDocument/2006/relationships/slideLayout" Target="../slideLayouts/slideLayout917.xml"/><Relationship Id="rId537" Type="http://schemas.openxmlformats.org/officeDocument/2006/relationships/slideLayout" Target="../slideLayouts/slideLayout1427.xml"/><Relationship Id="rId80" Type="http://schemas.openxmlformats.org/officeDocument/2006/relationships/slideLayout" Target="../slideLayouts/slideLayout970.xml"/><Relationship Id="rId176" Type="http://schemas.openxmlformats.org/officeDocument/2006/relationships/slideLayout" Target="../slideLayouts/slideLayout1066.xml"/><Relationship Id="rId383" Type="http://schemas.openxmlformats.org/officeDocument/2006/relationships/slideLayout" Target="../slideLayouts/slideLayout1273.xml"/><Relationship Id="rId590" Type="http://schemas.openxmlformats.org/officeDocument/2006/relationships/slideLayout" Target="../slideLayouts/slideLayout1480.xml"/><Relationship Id="rId604" Type="http://schemas.openxmlformats.org/officeDocument/2006/relationships/slideLayout" Target="../slideLayouts/slideLayout1494.xml"/><Relationship Id="rId243" Type="http://schemas.openxmlformats.org/officeDocument/2006/relationships/slideLayout" Target="../slideLayouts/slideLayout1133.xml"/><Relationship Id="rId450" Type="http://schemas.openxmlformats.org/officeDocument/2006/relationships/slideLayout" Target="../slideLayouts/slideLayout1340.xml"/><Relationship Id="rId38" Type="http://schemas.openxmlformats.org/officeDocument/2006/relationships/slideLayout" Target="../slideLayouts/slideLayout928.xml"/><Relationship Id="rId103" Type="http://schemas.openxmlformats.org/officeDocument/2006/relationships/slideLayout" Target="../slideLayouts/slideLayout993.xml"/><Relationship Id="rId310" Type="http://schemas.openxmlformats.org/officeDocument/2006/relationships/slideLayout" Target="../slideLayouts/slideLayout1200.xml"/><Relationship Id="rId548" Type="http://schemas.openxmlformats.org/officeDocument/2006/relationships/slideLayout" Target="../slideLayouts/slideLayout1438.xml"/><Relationship Id="rId91" Type="http://schemas.openxmlformats.org/officeDocument/2006/relationships/slideLayout" Target="../slideLayouts/slideLayout981.xml"/><Relationship Id="rId187" Type="http://schemas.openxmlformats.org/officeDocument/2006/relationships/slideLayout" Target="../slideLayouts/slideLayout1077.xml"/><Relationship Id="rId394" Type="http://schemas.openxmlformats.org/officeDocument/2006/relationships/slideLayout" Target="../slideLayouts/slideLayout1284.xml"/><Relationship Id="rId408" Type="http://schemas.openxmlformats.org/officeDocument/2006/relationships/slideLayout" Target="../slideLayouts/slideLayout1298.xml"/><Relationship Id="rId615" Type="http://schemas.openxmlformats.org/officeDocument/2006/relationships/slideLayout" Target="../slideLayouts/slideLayout150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378073280"/>
      </p:ext>
    </p:extLst>
  </p:cSld>
  <p:clrMap bg1="lt1" tx1="dk1" bg2="lt2" tx2="dk2" accent1="accent1" accent2="accent2" accent3="accent3" accent4="accent4" accent5="accent5" accent6="accent6" hlink="hlink" folHlink="folHlink"/>
  <p:sldLayoutIdLst>
    <p:sldLayoutId id="2147487028" r:id="rId1"/>
    <p:sldLayoutId id="2147487029" r:id="rId2"/>
    <p:sldLayoutId id="2147487030" r:id="rId3"/>
    <p:sldLayoutId id="2147487031" r:id="rId4"/>
    <p:sldLayoutId id="2147487032" r:id="rId5"/>
    <p:sldLayoutId id="2147487033" r:id="rId6"/>
    <p:sldLayoutId id="2147487034" r:id="rId7"/>
    <p:sldLayoutId id="2147487035" r:id="rId8"/>
    <p:sldLayoutId id="2147487036" r:id="rId9"/>
    <p:sldLayoutId id="2147487037" r:id="rId10"/>
    <p:sldLayoutId id="2147487038" r:id="rId11"/>
    <p:sldLayoutId id="2147487178" r:id="rId12"/>
    <p:sldLayoutId id="2147487179" r:id="rId13"/>
    <p:sldLayoutId id="2147487180" r:id="rId14"/>
    <p:sldLayoutId id="2147487039" r:id="rId15"/>
    <p:sldLayoutId id="2147487182" r:id="rId16"/>
    <p:sldLayoutId id="2147487183" r:id="rId17"/>
    <p:sldLayoutId id="2147487184" r:id="rId18"/>
    <p:sldLayoutId id="2147487185" r:id="rId19"/>
    <p:sldLayoutId id="2147487040" r:id="rId20"/>
    <p:sldLayoutId id="2147487041" r:id="rId21"/>
    <p:sldLayoutId id="2147487188" r:id="rId22"/>
    <p:sldLayoutId id="2147487189" r:id="rId23"/>
    <p:sldLayoutId id="2147487190" r:id="rId24"/>
    <p:sldLayoutId id="2147487042" r:id="rId25"/>
    <p:sldLayoutId id="2147487192" r:id="rId26"/>
    <p:sldLayoutId id="2147487193" r:id="rId27"/>
    <p:sldLayoutId id="2147487043" r:id="rId28"/>
    <p:sldLayoutId id="2147487044" r:id="rId29"/>
    <p:sldLayoutId id="2147487045" r:id="rId30"/>
    <p:sldLayoutId id="2147487046" r:id="rId31"/>
    <p:sldLayoutId id="2147487047" r:id="rId32"/>
    <p:sldLayoutId id="2147487048" r:id="rId33"/>
    <p:sldLayoutId id="2147487049" r:id="rId34"/>
    <p:sldLayoutId id="2147487050" r:id="rId35"/>
    <p:sldLayoutId id="2147487051" r:id="rId36"/>
    <p:sldLayoutId id="2147487052" r:id="rId37"/>
    <p:sldLayoutId id="2147487053" r:id="rId38"/>
    <p:sldLayoutId id="2147487205" r:id="rId39"/>
    <p:sldLayoutId id="2147487206" r:id="rId40"/>
    <p:sldLayoutId id="2147487207" r:id="rId41"/>
    <p:sldLayoutId id="2147487208" r:id="rId42"/>
    <p:sldLayoutId id="2147487209" r:id="rId43"/>
    <p:sldLayoutId id="2147487210" r:id="rId44"/>
    <p:sldLayoutId id="2147487211" r:id="rId45"/>
    <p:sldLayoutId id="2147487212" r:id="rId46"/>
    <p:sldLayoutId id="2147487213" r:id="rId47"/>
    <p:sldLayoutId id="2147487214" r:id="rId48"/>
    <p:sldLayoutId id="2147487215" r:id="rId49"/>
    <p:sldLayoutId id="2147487216" r:id="rId50"/>
    <p:sldLayoutId id="2147487217" r:id="rId51"/>
    <p:sldLayoutId id="2147487218" r:id="rId52"/>
    <p:sldLayoutId id="2147487219" r:id="rId53"/>
    <p:sldLayoutId id="2147487220" r:id="rId54"/>
    <p:sldLayoutId id="2147487221" r:id="rId55"/>
    <p:sldLayoutId id="2147487222" r:id="rId56"/>
    <p:sldLayoutId id="2147487223" r:id="rId57"/>
    <p:sldLayoutId id="2147487224" r:id="rId58"/>
    <p:sldLayoutId id="2147487225" r:id="rId59"/>
    <p:sldLayoutId id="2147487226" r:id="rId60"/>
    <p:sldLayoutId id="2147487227" r:id="rId61"/>
    <p:sldLayoutId id="2147487228" r:id="rId62"/>
    <p:sldLayoutId id="2147487229" r:id="rId63"/>
    <p:sldLayoutId id="2147487058" r:id="rId64"/>
    <p:sldLayoutId id="2147487231" r:id="rId65"/>
    <p:sldLayoutId id="2147487232" r:id="rId66"/>
    <p:sldLayoutId id="2147487233" r:id="rId67"/>
    <p:sldLayoutId id="2147487234" r:id="rId68"/>
    <p:sldLayoutId id="2147487235" r:id="rId69"/>
    <p:sldLayoutId id="2147487236" r:id="rId70"/>
    <p:sldLayoutId id="2147487237" r:id="rId71"/>
    <p:sldLayoutId id="2147487059" r:id="rId72"/>
    <p:sldLayoutId id="2147487060" r:id="rId73"/>
    <p:sldLayoutId id="2147487061" r:id="rId74"/>
    <p:sldLayoutId id="2147487062" r:id="rId75"/>
    <p:sldLayoutId id="2147487242" r:id="rId76"/>
    <p:sldLayoutId id="2147487063" r:id="rId77"/>
    <p:sldLayoutId id="2147487244" r:id="rId78"/>
    <p:sldLayoutId id="2147487245" r:id="rId79"/>
    <p:sldLayoutId id="2147487246" r:id="rId80"/>
    <p:sldLayoutId id="2147487064" r:id="rId81"/>
    <p:sldLayoutId id="2147487248" r:id="rId82"/>
    <p:sldLayoutId id="2147487249" r:id="rId83"/>
    <p:sldLayoutId id="2147487250" r:id="rId84"/>
    <p:sldLayoutId id="2147487251" r:id="rId85"/>
    <p:sldLayoutId id="2147487252" r:id="rId86"/>
    <p:sldLayoutId id="2147487253" r:id="rId87"/>
    <p:sldLayoutId id="2147487065" r:id="rId88"/>
    <p:sldLayoutId id="2147487066" r:id="rId89"/>
    <p:sldLayoutId id="2147487067" r:id="rId90"/>
    <p:sldLayoutId id="2147487068" r:id="rId91"/>
    <p:sldLayoutId id="2147487069" r:id="rId92"/>
    <p:sldLayoutId id="2147487070" r:id="rId93"/>
    <p:sldLayoutId id="2147487071" r:id="rId94"/>
    <p:sldLayoutId id="2147487072" r:id="rId95"/>
    <p:sldLayoutId id="2147487073" r:id="rId96"/>
    <p:sldLayoutId id="2147487074" r:id="rId97"/>
    <p:sldLayoutId id="2147487075" r:id="rId98"/>
    <p:sldLayoutId id="2147487155" r:id="rId99"/>
    <p:sldLayoutId id="2147487265" r:id="rId100"/>
    <p:sldLayoutId id="2147487266" r:id="rId101"/>
    <p:sldLayoutId id="2147487076" r:id="rId102"/>
    <p:sldLayoutId id="2147487077" r:id="rId103"/>
    <p:sldLayoutId id="2147487078" r:id="rId104"/>
    <p:sldLayoutId id="2147487270" r:id="rId105"/>
    <p:sldLayoutId id="2147487271" r:id="rId106"/>
    <p:sldLayoutId id="2147487272" r:id="rId107"/>
    <p:sldLayoutId id="2147487273" r:id="rId108"/>
    <p:sldLayoutId id="2147487274" r:id="rId109"/>
    <p:sldLayoutId id="2147487275" r:id="rId110"/>
    <p:sldLayoutId id="2147487276" r:id="rId111"/>
    <p:sldLayoutId id="2147487277" r:id="rId112"/>
    <p:sldLayoutId id="2147487079" r:id="rId113"/>
    <p:sldLayoutId id="2147487080" r:id="rId114"/>
    <p:sldLayoutId id="2147487081" r:id="rId115"/>
    <p:sldLayoutId id="2147487082" r:id="rId116"/>
    <p:sldLayoutId id="2147487083" r:id="rId117"/>
    <p:sldLayoutId id="2147487084" r:id="rId118"/>
    <p:sldLayoutId id="2147487085" r:id="rId119"/>
    <p:sldLayoutId id="2147487086" r:id="rId120"/>
    <p:sldLayoutId id="2147487087" r:id="rId121"/>
    <p:sldLayoutId id="2147487088" r:id="rId122"/>
    <p:sldLayoutId id="2147487089" r:id="rId123"/>
    <p:sldLayoutId id="2147487090" r:id="rId124"/>
    <p:sldLayoutId id="2147487290" r:id="rId125"/>
    <p:sldLayoutId id="2147487291" r:id="rId126"/>
    <p:sldLayoutId id="2147487292" r:id="rId127"/>
    <p:sldLayoutId id="2147487294" r:id="rId128"/>
    <p:sldLayoutId id="2147487295" r:id="rId129"/>
    <p:sldLayoutId id="2147487296" r:id="rId130"/>
    <p:sldLayoutId id="2147487297" r:id="rId131"/>
    <p:sldLayoutId id="2147487298" r:id="rId132"/>
    <p:sldLayoutId id="2147487299" r:id="rId133"/>
    <p:sldLayoutId id="2147487300" r:id="rId134"/>
    <p:sldLayoutId id="2147487301" r:id="rId135"/>
    <p:sldLayoutId id="2147487092" r:id="rId136"/>
    <p:sldLayoutId id="2147487303" r:id="rId137"/>
    <p:sldLayoutId id="2147487304" r:id="rId138"/>
    <p:sldLayoutId id="2147487305" r:id="rId139"/>
    <p:sldLayoutId id="2147487306" r:id="rId140"/>
    <p:sldLayoutId id="2147487307" r:id="rId141"/>
    <p:sldLayoutId id="2147487308" r:id="rId142"/>
    <p:sldLayoutId id="2147487093" r:id="rId143"/>
    <p:sldLayoutId id="2147487310" r:id="rId144"/>
    <p:sldLayoutId id="2147487311" r:id="rId145"/>
    <p:sldLayoutId id="2147487094" r:id="rId146"/>
    <p:sldLayoutId id="2147487095" r:id="rId147"/>
    <p:sldLayoutId id="2147487096" r:id="rId148"/>
    <p:sldLayoutId id="2147487097" r:id="rId149"/>
    <p:sldLayoutId id="2147487098" r:id="rId150"/>
    <p:sldLayoutId id="2147487099" r:id="rId151"/>
    <p:sldLayoutId id="2147487318" r:id="rId152"/>
    <p:sldLayoutId id="2147487319" r:id="rId153"/>
    <p:sldLayoutId id="2147487320" r:id="rId154"/>
    <p:sldLayoutId id="2147487100" r:id="rId155"/>
    <p:sldLayoutId id="2147487101" r:id="rId156"/>
    <p:sldLayoutId id="2147487102" r:id="rId157"/>
    <p:sldLayoutId id="2147487103" r:id="rId158"/>
    <p:sldLayoutId id="2147487104" r:id="rId159"/>
    <p:sldLayoutId id="2147487326" r:id="rId160"/>
    <p:sldLayoutId id="2147487105" r:id="rId161"/>
    <p:sldLayoutId id="2147487106" r:id="rId162"/>
    <p:sldLayoutId id="2147487107" r:id="rId163"/>
    <p:sldLayoutId id="2147487108" r:id="rId164"/>
    <p:sldLayoutId id="2147487109" r:id="rId165"/>
    <p:sldLayoutId id="2147487110" r:id="rId166"/>
    <p:sldLayoutId id="2147487111" r:id="rId167"/>
    <p:sldLayoutId id="2147487112" r:id="rId168"/>
    <p:sldLayoutId id="2147487113" r:id="rId169"/>
    <p:sldLayoutId id="2147487114" r:id="rId170"/>
    <p:sldLayoutId id="2147487115" r:id="rId171"/>
    <p:sldLayoutId id="2147487116" r:id="rId172"/>
    <p:sldLayoutId id="2147487117" r:id="rId173"/>
    <p:sldLayoutId id="2147487118" r:id="rId174"/>
    <p:sldLayoutId id="2147487119" r:id="rId175"/>
    <p:sldLayoutId id="2147487120" r:id="rId176"/>
    <p:sldLayoutId id="2147487121" r:id="rId177"/>
    <p:sldLayoutId id="2147487122" r:id="rId178"/>
    <p:sldLayoutId id="2147487123" r:id="rId179"/>
    <p:sldLayoutId id="2147487346" r:id="rId180"/>
    <p:sldLayoutId id="2147487124" r:id="rId181"/>
    <p:sldLayoutId id="2147487348" r:id="rId182"/>
    <p:sldLayoutId id="2147487349" r:id="rId183"/>
    <p:sldLayoutId id="2147483847" r:id="rId184"/>
    <p:sldLayoutId id="2147483848" r:id="rId185"/>
    <p:sldLayoutId id="2147483849" r:id="rId186"/>
    <p:sldLayoutId id="2147483850" r:id="rId187"/>
    <p:sldLayoutId id="2147483851" r:id="rId188"/>
    <p:sldLayoutId id="2147483852" r:id="rId189"/>
    <p:sldLayoutId id="2147483853" r:id="rId190"/>
    <p:sldLayoutId id="2147483854" r:id="rId191"/>
    <p:sldLayoutId id="2147483855" r:id="rId192"/>
    <p:sldLayoutId id="2147483856" r:id="rId193"/>
    <p:sldLayoutId id="2147483857" r:id="rId194"/>
    <p:sldLayoutId id="2147483858" r:id="rId195"/>
    <p:sldLayoutId id="2147483859" r:id="rId196"/>
    <p:sldLayoutId id="2147487005" r:id="rId197"/>
    <p:sldLayoutId id="2147483861" r:id="rId198"/>
    <p:sldLayoutId id="2147483862" r:id="rId199"/>
    <p:sldLayoutId id="2147483863" r:id="rId200"/>
    <p:sldLayoutId id="2147483864" r:id="rId201"/>
    <p:sldLayoutId id="2147483865" r:id="rId202"/>
    <p:sldLayoutId id="2147483866" r:id="rId203"/>
    <p:sldLayoutId id="2147483867" r:id="rId204"/>
    <p:sldLayoutId id="2147483868" r:id="rId205"/>
    <p:sldLayoutId id="2147483869" r:id="rId206"/>
    <p:sldLayoutId id="2147483870" r:id="rId207"/>
    <p:sldLayoutId id="2147483871" r:id="rId208"/>
    <p:sldLayoutId id="2147483872" r:id="rId209"/>
    <p:sldLayoutId id="2147483873" r:id="rId210"/>
    <p:sldLayoutId id="2147483874" r:id="rId211"/>
    <p:sldLayoutId id="2147483875" r:id="rId212"/>
    <p:sldLayoutId id="2147483876" r:id="rId213"/>
    <p:sldLayoutId id="2147483877" r:id="rId214"/>
    <p:sldLayoutId id="2147483878" r:id="rId215"/>
    <p:sldLayoutId id="2147483879" r:id="rId216"/>
    <p:sldLayoutId id="2147483880" r:id="rId217"/>
    <p:sldLayoutId id="2147483881" r:id="rId218"/>
    <p:sldLayoutId id="2147483882" r:id="rId219"/>
    <p:sldLayoutId id="2147483883" r:id="rId220"/>
    <p:sldLayoutId id="2147483884" r:id="rId221"/>
    <p:sldLayoutId id="2147483885" r:id="rId222"/>
    <p:sldLayoutId id="2147483886" r:id="rId223"/>
    <p:sldLayoutId id="2147483887" r:id="rId224"/>
    <p:sldLayoutId id="2147483888" r:id="rId225"/>
    <p:sldLayoutId id="2147483889" r:id="rId226"/>
    <p:sldLayoutId id="2147483890" r:id="rId227"/>
    <p:sldLayoutId id="2147483891" r:id="rId228"/>
    <p:sldLayoutId id="2147483892" r:id="rId229"/>
    <p:sldLayoutId id="2147483893" r:id="rId230"/>
    <p:sldLayoutId id="2147483894" r:id="rId231"/>
    <p:sldLayoutId id="2147483895" r:id="rId232"/>
    <p:sldLayoutId id="2147483896" r:id="rId233"/>
    <p:sldLayoutId id="2147483897" r:id="rId234"/>
    <p:sldLayoutId id="2147483898" r:id="rId235"/>
    <p:sldLayoutId id="2147483899" r:id="rId236"/>
    <p:sldLayoutId id="2147483900" r:id="rId237"/>
    <p:sldLayoutId id="2147483901" r:id="rId238"/>
    <p:sldLayoutId id="2147483902" r:id="rId239"/>
    <p:sldLayoutId id="2147483903" r:id="rId240"/>
    <p:sldLayoutId id="2147483904" r:id="rId241"/>
    <p:sldLayoutId id="2147483905" r:id="rId242"/>
    <p:sldLayoutId id="2147483906" r:id="rId243"/>
    <p:sldLayoutId id="2147483907" r:id="rId244"/>
    <p:sldLayoutId id="2147487126" r:id="rId245"/>
    <p:sldLayoutId id="2147487128" r:id="rId246"/>
    <p:sldLayoutId id="2147487129" r:id="rId247"/>
    <p:sldLayoutId id="2147487127" r:id="rId248"/>
    <p:sldLayoutId id="2147487131" r:id="rId249"/>
    <p:sldLayoutId id="2147487132" r:id="rId250"/>
    <p:sldLayoutId id="2147487133" r:id="rId251"/>
    <p:sldLayoutId id="2147487134" r:id="rId252"/>
    <p:sldLayoutId id="2147487135" r:id="rId253"/>
    <p:sldLayoutId id="2147487136" r:id="rId254"/>
    <p:sldLayoutId id="2147487137" r:id="rId255"/>
    <p:sldLayoutId id="2147487138" r:id="rId256"/>
    <p:sldLayoutId id="2147487139" r:id="rId257"/>
    <p:sldLayoutId id="2147487140" r:id="rId258"/>
    <p:sldLayoutId id="2147487141" r:id="rId259"/>
    <p:sldLayoutId id="2147487142" r:id="rId260"/>
    <p:sldLayoutId id="2147483925" r:id="rId261"/>
    <p:sldLayoutId id="2147483926" r:id="rId262"/>
    <p:sldLayoutId id="2147483927" r:id="rId263"/>
    <p:sldLayoutId id="2147483928" r:id="rId264"/>
    <p:sldLayoutId id="2147483929" r:id="rId265"/>
    <p:sldLayoutId id="2147483930" r:id="rId266"/>
    <p:sldLayoutId id="2147483931" r:id="rId267"/>
    <p:sldLayoutId id="2147483932" r:id="rId268"/>
    <p:sldLayoutId id="2147483933" r:id="rId269"/>
    <p:sldLayoutId id="2147483934" r:id="rId270"/>
    <p:sldLayoutId id="2147483935" r:id="rId271"/>
    <p:sldLayoutId id="2147483936" r:id="rId272"/>
    <p:sldLayoutId id="2147487130" r:id="rId273"/>
    <p:sldLayoutId id="2147483735" r:id="rId274"/>
    <p:sldLayoutId id="2147486987" r:id="rId275"/>
    <p:sldLayoutId id="2147487355" r:id="rId276"/>
    <p:sldLayoutId id="2147487369" r:id="rId277"/>
    <p:sldLayoutId id="2147487356" r:id="rId278"/>
    <p:sldLayoutId id="2147487357" r:id="rId279"/>
    <p:sldLayoutId id="2147487358" r:id="rId280"/>
    <p:sldLayoutId id="2147485074" r:id="rId281"/>
    <p:sldLayoutId id="2147485075" r:id="rId282"/>
    <p:sldLayoutId id="2147485076" r:id="rId283"/>
    <p:sldLayoutId id="2147485077" r:id="rId284"/>
    <p:sldLayoutId id="2147485078" r:id="rId285"/>
    <p:sldLayoutId id="2147484851" r:id="rId286"/>
    <p:sldLayoutId id="2147487362" r:id="rId287"/>
    <p:sldLayoutId id="2147487360" r:id="rId288"/>
    <p:sldLayoutId id="2147483736" r:id="rId289"/>
    <p:sldLayoutId id="2147487359" r:id="rId290"/>
    <p:sldLayoutId id="2147487361" r:id="rId291"/>
    <p:sldLayoutId id="2147483758" r:id="rId292"/>
    <p:sldLayoutId id="2147483759" r:id="rId293"/>
    <p:sldLayoutId id="2147483757" r:id="rId294"/>
    <p:sldLayoutId id="2147483764" r:id="rId295"/>
    <p:sldLayoutId id="2147483765" r:id="rId296"/>
    <p:sldLayoutId id="2147483766" r:id="rId297"/>
    <p:sldLayoutId id="2147487379" r:id="rId298"/>
    <p:sldLayoutId id="2147483739" r:id="rId299"/>
    <p:sldLayoutId id="2147483750" r:id="rId300"/>
    <p:sldLayoutId id="2147484627" r:id="rId301"/>
    <p:sldLayoutId id="2147485879" r:id="rId302"/>
    <p:sldLayoutId id="2147484838" r:id="rId303"/>
    <p:sldLayoutId id="2147485857" r:id="rId304"/>
    <p:sldLayoutId id="2147485858" r:id="rId305"/>
    <p:sldLayoutId id="2147485859" r:id="rId306"/>
    <p:sldLayoutId id="2147485860" r:id="rId307"/>
    <p:sldLayoutId id="2147485861" r:id="rId308"/>
    <p:sldLayoutId id="2147484634" r:id="rId309"/>
    <p:sldLayoutId id="2147484635" r:id="rId310"/>
    <p:sldLayoutId id="2147484238" r:id="rId311"/>
    <p:sldLayoutId id="2147486915" r:id="rId312"/>
    <p:sldLayoutId id="2147484840" r:id="rId313"/>
    <p:sldLayoutId id="2147486917" r:id="rId314"/>
    <p:sldLayoutId id="2147484203" r:id="rId315"/>
    <p:sldLayoutId id="2147484204" r:id="rId316"/>
    <p:sldLayoutId id="2147484205" r:id="rId317"/>
    <p:sldLayoutId id="2147484206" r:id="rId318"/>
    <p:sldLayoutId id="2147484237" r:id="rId319"/>
    <p:sldLayoutId id="2147484208" r:id="rId320"/>
    <p:sldLayoutId id="2147485064" r:id="rId321"/>
    <p:sldLayoutId id="2147485065" r:id="rId322"/>
    <p:sldLayoutId id="2147486965" r:id="rId323"/>
    <p:sldLayoutId id="2147485066" r:id="rId324"/>
    <p:sldLayoutId id="2147485067" r:id="rId325"/>
    <p:sldLayoutId id="2147485068" r:id="rId326"/>
    <p:sldLayoutId id="2147485069" r:id="rId327"/>
    <p:sldLayoutId id="2147485352" r:id="rId328"/>
    <p:sldLayoutId id="2147485070" r:id="rId329"/>
    <p:sldLayoutId id="2147486030" r:id="rId330"/>
    <p:sldLayoutId id="2147485071" r:id="rId331"/>
    <p:sldLayoutId id="2147487168" r:id="rId332"/>
    <p:sldLayoutId id="2147484626" r:id="rId333"/>
    <p:sldLayoutId id="2147484836" r:id="rId334"/>
    <p:sldLayoutId id="2147484837" r:id="rId335"/>
    <p:sldLayoutId id="2147487169" r:id="rId336"/>
    <p:sldLayoutId id="2147484602" r:id="rId337"/>
    <p:sldLayoutId id="2147484603" r:id="rId338"/>
    <p:sldLayoutId id="2147484604" r:id="rId339"/>
    <p:sldLayoutId id="2147484839" r:id="rId340"/>
    <p:sldLayoutId id="2147485847" r:id="rId341"/>
    <p:sldLayoutId id="2147485848" r:id="rId342"/>
    <p:sldLayoutId id="2147485849" r:id="rId343"/>
    <p:sldLayoutId id="2147485850" r:id="rId344"/>
    <p:sldLayoutId id="2147485851" r:id="rId345"/>
    <p:sldLayoutId id="2147485852" r:id="rId346"/>
    <p:sldLayoutId id="2147485853" r:id="rId347"/>
    <p:sldLayoutId id="2147485854" r:id="rId348"/>
    <p:sldLayoutId id="2147485855" r:id="rId349"/>
    <p:sldLayoutId id="2147485856" r:id="rId350"/>
    <p:sldLayoutId id="2147484384" r:id="rId351"/>
    <p:sldLayoutId id="2147485405" r:id="rId352"/>
    <p:sldLayoutId id="2147484559" r:id="rId353"/>
    <p:sldLayoutId id="2147484385" r:id="rId354"/>
    <p:sldLayoutId id="2147485406" r:id="rId355"/>
    <p:sldLayoutId id="2147484387" r:id="rId356"/>
    <p:sldLayoutId id="2147484388" r:id="rId357"/>
    <p:sldLayoutId id="2147484389" r:id="rId358"/>
    <p:sldLayoutId id="2147484390" r:id="rId359"/>
    <p:sldLayoutId id="2147484391" r:id="rId360"/>
    <p:sldLayoutId id="2147484392" r:id="rId361"/>
    <p:sldLayoutId id="2147486953" r:id="rId362"/>
    <p:sldLayoutId id="2147486205" r:id="rId363"/>
    <p:sldLayoutId id="2147486206" r:id="rId364"/>
    <p:sldLayoutId id="2147486207" r:id="rId365"/>
    <p:sldLayoutId id="2147486208" r:id="rId366"/>
    <p:sldLayoutId id="2147486209" r:id="rId367"/>
    <p:sldLayoutId id="2147484766" r:id="rId368"/>
    <p:sldLayoutId id="2147486426" r:id="rId369"/>
    <p:sldLayoutId id="2147486404" r:id="rId370"/>
    <p:sldLayoutId id="2147484767" r:id="rId371"/>
    <p:sldLayoutId id="2147486405" r:id="rId372"/>
    <p:sldLayoutId id="2147486406" r:id="rId373"/>
    <p:sldLayoutId id="2147486407" r:id="rId374"/>
    <p:sldLayoutId id="2147486408" r:id="rId375"/>
    <p:sldLayoutId id="2147486409" r:id="rId376"/>
    <p:sldLayoutId id="2147484768" r:id="rId377"/>
    <p:sldLayoutId id="2147486428" r:id="rId378"/>
    <p:sldLayoutId id="2147486200" r:id="rId379"/>
    <p:sldLayoutId id="2147486201" r:id="rId380"/>
    <p:sldLayoutId id="2147486202" r:id="rId381"/>
    <p:sldLayoutId id="2147486989" r:id="rId382"/>
    <p:sldLayoutId id="2147486203" r:id="rId383"/>
    <p:sldLayoutId id="2147484842" r:id="rId384"/>
    <p:sldLayoutId id="2147483743" r:id="rId385"/>
    <p:sldLayoutId id="2147487370" r:id="rId386"/>
    <p:sldLayoutId id="2147487371" r:id="rId387"/>
    <p:sldLayoutId id="2147483751" r:id="rId388"/>
    <p:sldLayoutId id="2147483760" r:id="rId389"/>
    <p:sldLayoutId id="2147487376" r:id="rId390"/>
    <p:sldLayoutId id="2147487377" r:id="rId391"/>
    <p:sldLayoutId id="2147487378" r:id="rId392"/>
    <p:sldLayoutId id="2147487372" r:id="rId393"/>
    <p:sldLayoutId id="2147487373" r:id="rId394"/>
    <p:sldLayoutId id="2147487374" r:id="rId395"/>
    <p:sldLayoutId id="2147485878" r:id="rId396"/>
    <p:sldLayoutId id="2147484654" r:id="rId397"/>
    <p:sldLayoutId id="2147484655" r:id="rId398"/>
    <p:sldLayoutId id="2147484608" r:id="rId399"/>
    <p:sldLayoutId id="2147485213" r:id="rId400"/>
    <p:sldLayoutId id="2147485214" r:id="rId401"/>
    <p:sldLayoutId id="2147485179" r:id="rId402"/>
    <p:sldLayoutId id="2147485354" r:id="rId403"/>
    <p:sldLayoutId id="2147486926" r:id="rId404"/>
    <p:sldLayoutId id="2147486360" r:id="rId405"/>
    <p:sldLayoutId id="2147485556" r:id="rId406"/>
    <p:sldLayoutId id="2147486361" r:id="rId407"/>
    <p:sldLayoutId id="2147487375" r:id="rId408"/>
    <p:sldLayoutId id="2147484335" r:id="rId409"/>
    <p:sldLayoutId id="2147484336" r:id="rId410"/>
    <p:sldLayoutId id="2147484337" r:id="rId411"/>
    <p:sldLayoutId id="2147484853" r:id="rId412"/>
    <p:sldLayoutId id="2147484339" r:id="rId413"/>
    <p:sldLayoutId id="2147484340" r:id="rId414"/>
    <p:sldLayoutId id="2147484341" r:id="rId415"/>
    <p:sldLayoutId id="2147484342" r:id="rId416"/>
    <p:sldLayoutId id="2147484343" r:id="rId417"/>
    <p:sldLayoutId id="2147484344" r:id="rId418"/>
    <p:sldLayoutId id="2147485468" r:id="rId419"/>
    <p:sldLayoutId id="2147485865" r:id="rId420"/>
    <p:sldLayoutId id="2147484364" r:id="rId421"/>
    <p:sldLayoutId id="2147485358" r:id="rId422"/>
    <p:sldLayoutId id="2147485868" r:id="rId423"/>
    <p:sldLayoutId id="2147485869" r:id="rId424"/>
    <p:sldLayoutId id="2147485870" r:id="rId425"/>
    <p:sldLayoutId id="2147485385" r:id="rId426"/>
    <p:sldLayoutId id="2147485871" r:id="rId427"/>
    <p:sldLayoutId id="2147485469" r:id="rId428"/>
    <p:sldLayoutId id="2147484570" r:id="rId429"/>
    <p:sldLayoutId id="2147484222" r:id="rId430"/>
    <p:sldLayoutId id="2147484854" r:id="rId431"/>
    <p:sldLayoutId id="2147484855" r:id="rId432"/>
    <p:sldLayoutId id="2147485079" r:id="rId433"/>
    <p:sldLayoutId id="2147485080" r:id="rId434"/>
    <p:sldLayoutId id="2147485081" r:id="rId435"/>
    <p:sldLayoutId id="2147485082" r:id="rId436"/>
    <p:sldLayoutId id="2147485083" r:id="rId437"/>
    <p:sldLayoutId id="2147484596" r:id="rId438"/>
    <p:sldLayoutId id="2147484835" r:id="rId439"/>
    <p:sldLayoutId id="2147484353" r:id="rId440"/>
    <p:sldLayoutId id="2147484852" r:id="rId441"/>
    <p:sldLayoutId id="2147487363" r:id="rId442"/>
    <p:sldLayoutId id="2147485093" r:id="rId443"/>
    <p:sldLayoutId id="2147486929" r:id="rId444"/>
    <p:sldLayoutId id="2147485072" r:id="rId445"/>
    <p:sldLayoutId id="2147485355" r:id="rId446"/>
    <p:sldLayoutId id="2147483726" r:id="rId447"/>
    <p:sldLayoutId id="2147487364" r:id="rId448"/>
    <p:sldLayoutId id="2147487365" r:id="rId449"/>
    <p:sldLayoutId id="2147487366" r:id="rId450"/>
    <p:sldLayoutId id="2147487367" r:id="rId451"/>
    <p:sldLayoutId id="2147483734" r:id="rId452"/>
    <p:sldLayoutId id="2147487368" r:id="rId453"/>
    <p:sldLayoutId id="2147484355" r:id="rId454"/>
    <p:sldLayoutId id="2147485444" r:id="rId455"/>
    <p:sldLayoutId id="2147484356" r:id="rId456"/>
    <p:sldLayoutId id="2147483860" r:id="rId457"/>
    <p:sldLayoutId id="2147486993" r:id="rId458"/>
    <p:sldLayoutId id="2147484357" r:id="rId459"/>
    <p:sldLayoutId id="2147484358" r:id="rId460"/>
    <p:sldLayoutId id="2147484359" r:id="rId461"/>
    <p:sldLayoutId id="2147484360" r:id="rId462"/>
    <p:sldLayoutId id="2147484361" r:id="rId463"/>
    <p:sldLayoutId id="2147484393" r:id="rId464"/>
    <p:sldLayoutId id="2147484394" r:id="rId465"/>
    <p:sldLayoutId id="2147483672" r:id="rId466"/>
    <p:sldLayoutId id="2147483673" r:id="rId467"/>
    <p:sldLayoutId id="2147486423" r:id="rId468"/>
    <p:sldLayoutId id="2147486950" r:id="rId469"/>
    <p:sldLayoutId id="2147484845" r:id="rId470"/>
    <p:sldLayoutId id="2147484846" r:id="rId471"/>
    <p:sldLayoutId id="2147484566" r:id="rId472"/>
    <p:sldLayoutId id="2147485470" r:id="rId473"/>
    <p:sldLayoutId id="2147484231" r:id="rId474"/>
    <p:sldLayoutId id="2147484268" r:id="rId475"/>
    <p:sldLayoutId id="2147484235" r:id="rId476"/>
    <p:sldLayoutId id="2147484847" r:id="rId477"/>
    <p:sldLayoutId id="2147484245" r:id="rId478"/>
    <p:sldLayoutId id="2147484262" r:id="rId479"/>
    <p:sldLayoutId id="2147486955" r:id="rId480"/>
    <p:sldLayoutId id="2147485238" r:id="rId481"/>
    <p:sldLayoutId id="2147486956" r:id="rId482"/>
    <p:sldLayoutId id="2147484233" r:id="rId483"/>
    <p:sldLayoutId id="2147486948" r:id="rId484"/>
    <p:sldLayoutId id="2147484774" r:id="rId485"/>
    <p:sldLayoutId id="2147484775" r:id="rId486"/>
    <p:sldLayoutId id="2147486425" r:id="rId487"/>
    <p:sldLayoutId id="2147484776" r:id="rId488"/>
    <p:sldLayoutId id="2147484777" r:id="rId489"/>
    <p:sldLayoutId id="2147486387" r:id="rId490"/>
    <p:sldLayoutId id="2147486389" r:id="rId491"/>
    <p:sldLayoutId id="2147486391" r:id="rId492"/>
    <p:sldLayoutId id="2147486949" r:id="rId493"/>
    <p:sldLayoutId id="2147486424" r:id="rId494"/>
    <p:sldLayoutId id="2147484821" r:id="rId495"/>
    <p:sldLayoutId id="2147486952" r:id="rId496"/>
    <p:sldLayoutId id="2147485239" r:id="rId497"/>
    <p:sldLayoutId id="2147484848" r:id="rId498"/>
    <p:sldLayoutId id="2147486048" r:id="rId499"/>
    <p:sldLayoutId id="2147486954" r:id="rId500"/>
    <p:sldLayoutId id="2147484400" r:id="rId501"/>
    <p:sldLayoutId id="2147484401" r:id="rId502"/>
    <p:sldLayoutId id="2147484402" r:id="rId503"/>
    <p:sldLayoutId id="2147484822" r:id="rId504"/>
    <p:sldLayoutId id="2147486251" r:id="rId505"/>
    <p:sldLayoutId id="2147484849" r:id="rId506"/>
    <p:sldLayoutId id="2147484850" r:id="rId507"/>
    <p:sldLayoutId id="2147487350" r:id="rId508"/>
    <p:sldLayoutId id="2147487351" r:id="rId509"/>
    <p:sldLayoutId id="2147486990" r:id="rId510"/>
    <p:sldLayoutId id="2147484585" r:id="rId511"/>
    <p:sldLayoutId id="2147484586" r:id="rId512"/>
    <p:sldLayoutId id="2147484587" r:id="rId513"/>
    <p:sldLayoutId id="2147484588" r:id="rId514"/>
    <p:sldLayoutId id="2147484592" r:id="rId515"/>
    <p:sldLayoutId id="2147484593" r:id="rId516"/>
    <p:sldLayoutId id="2147484594" r:id="rId517"/>
    <p:sldLayoutId id="2147487156" r:id="rId518"/>
    <p:sldLayoutId id="2147485370" r:id="rId519"/>
    <p:sldLayoutId id="2147485872" r:id="rId520"/>
    <p:sldLayoutId id="2147486927" r:id="rId521"/>
    <p:sldLayoutId id="2147485367" r:id="rId522"/>
    <p:sldLayoutId id="2147485368" r:id="rId523"/>
    <p:sldLayoutId id="2147485369" r:id="rId524"/>
    <p:sldLayoutId id="2147485400" r:id="rId525"/>
    <p:sldLayoutId id="2147485401" r:id="rId526"/>
    <p:sldLayoutId id="2147485402" r:id="rId527"/>
    <p:sldLayoutId id="2147485403" r:id="rId528"/>
    <p:sldLayoutId id="2147486221" r:id="rId529"/>
    <p:sldLayoutId id="2147483752" r:id="rId530"/>
    <p:sldLayoutId id="2147483753" r:id="rId531"/>
    <p:sldLayoutId id="2147483754" r:id="rId532"/>
    <p:sldLayoutId id="2147483755" r:id="rId533"/>
    <p:sldLayoutId id="2147484386" r:id="rId534"/>
    <p:sldLayoutId id="2147484815" r:id="rId535"/>
    <p:sldLayoutId id="2147484816" r:id="rId536"/>
    <p:sldLayoutId id="2147484817" r:id="rId537"/>
    <p:sldLayoutId id="2147484329" r:id="rId538"/>
    <p:sldLayoutId id="2147486396" r:id="rId539"/>
    <p:sldLayoutId id="2147486397" r:id="rId540"/>
    <p:sldLayoutId id="2147486418" r:id="rId541"/>
    <p:sldLayoutId id="2147484330" r:id="rId542"/>
    <p:sldLayoutId id="2147484331" r:id="rId543"/>
    <p:sldLayoutId id="2147484332" r:id="rId544"/>
    <p:sldLayoutId id="2147484485" r:id="rId545"/>
    <p:sldLayoutId id="2147484486" r:id="rId546"/>
    <p:sldLayoutId id="2147484609" r:id="rId547"/>
    <p:sldLayoutId id="2147484477" r:id="rId548"/>
    <p:sldLayoutId id="2147484478" r:id="rId549"/>
    <p:sldLayoutId id="2147484260" r:id="rId550"/>
    <p:sldLayoutId id="2147484856" r:id="rId551"/>
    <p:sldLayoutId id="2147484480" r:id="rId552"/>
    <p:sldLayoutId id="2147484267" r:id="rId553"/>
    <p:sldLayoutId id="2147484481" r:id="rId554"/>
    <p:sldLayoutId id="2147484482" r:id="rId555"/>
    <p:sldLayoutId id="2147484483" r:id="rId556"/>
    <p:sldLayoutId id="2147484484" r:id="rId557"/>
    <p:sldLayoutId id="2147485270" r:id="rId558"/>
    <p:sldLayoutId id="2147485271" r:id="rId559"/>
    <p:sldLayoutId id="2147485272" r:id="rId560"/>
    <p:sldLayoutId id="2147484857" r:id="rId561"/>
    <p:sldLayoutId id="2147485273" r:id="rId562"/>
    <p:sldLayoutId id="2147485274" r:id="rId563"/>
    <p:sldLayoutId id="2147485275" r:id="rId564"/>
    <p:sldLayoutId id="2147485276" r:id="rId565"/>
    <p:sldLayoutId id="2147485277" r:id="rId566"/>
    <p:sldLayoutId id="2147485278" r:id="rId567"/>
    <p:sldLayoutId id="2147486991" r:id="rId568"/>
    <p:sldLayoutId id="2147486992" r:id="rId569"/>
    <p:sldLayoutId id="2147486252" r:id="rId570"/>
    <p:sldLayoutId id="2147486253" r:id="rId571"/>
    <p:sldLayoutId id="2147486363" r:id="rId572"/>
    <p:sldLayoutId id="2147487006" r:id="rId573"/>
    <p:sldLayoutId id="2147486364" r:id="rId574"/>
    <p:sldLayoutId id="2147486365" r:id="rId575"/>
    <p:sldLayoutId id="2147487007" r:id="rId576"/>
    <p:sldLayoutId id="2147483940" r:id="rId577"/>
    <p:sldLayoutId id="2147486366" r:id="rId578"/>
    <p:sldLayoutId id="2147486367" r:id="rId579"/>
    <p:sldLayoutId id="2147486368" r:id="rId580"/>
    <p:sldLayoutId id="2147486369" r:id="rId581"/>
    <p:sldLayoutId id="2147483944" r:id="rId582"/>
    <p:sldLayoutId id="2147483945" r:id="rId583"/>
    <p:sldLayoutId id="2147483949" r:id="rId584"/>
    <p:sldLayoutId id="2147483953" r:id="rId585"/>
    <p:sldLayoutId id="2147483954" r:id="rId586"/>
    <p:sldLayoutId id="2147483955" r:id="rId587"/>
    <p:sldLayoutId id="2147483956" r:id="rId588"/>
    <p:sldLayoutId id="2147483957" r:id="rId589"/>
    <p:sldLayoutId id="2147483958" r:id="rId590"/>
    <p:sldLayoutId id="2147483959" r:id="rId591"/>
    <p:sldLayoutId id="2147483960" r:id="rId592"/>
    <p:sldLayoutId id="2147483961" r:id="rId593"/>
    <p:sldLayoutId id="2147483962" r:id="rId594"/>
    <p:sldLayoutId id="2147483963" r:id="rId595"/>
    <p:sldLayoutId id="2147483964" r:id="rId596"/>
    <p:sldLayoutId id="2147483965" r:id="rId597"/>
    <p:sldLayoutId id="2147483966" r:id="rId598"/>
    <p:sldLayoutId id="2147483967" r:id="rId599"/>
    <p:sldLayoutId id="2147483968" r:id="rId600"/>
    <p:sldLayoutId id="2147483969" r:id="rId601"/>
    <p:sldLayoutId id="2147483970" r:id="rId602"/>
    <p:sldLayoutId id="2147483971" r:id="rId603"/>
    <p:sldLayoutId id="2147483972" r:id="rId604"/>
    <p:sldLayoutId id="2147483973" r:id="rId605"/>
    <p:sldLayoutId id="2147483974" r:id="rId606"/>
    <p:sldLayoutId id="2147483975" r:id="rId607"/>
    <p:sldLayoutId id="2147483976" r:id="rId608"/>
    <p:sldLayoutId id="2147483977" r:id="rId609"/>
    <p:sldLayoutId id="2147483978" r:id="rId610"/>
    <p:sldLayoutId id="2147483979" r:id="rId611"/>
    <p:sldLayoutId id="2147483980" r:id="rId612"/>
    <p:sldLayoutId id="2147483981" r:id="rId613"/>
    <p:sldLayoutId id="2147483982" r:id="rId614"/>
    <p:sldLayoutId id="2147483983" r:id="rId615"/>
    <p:sldLayoutId id="2147483984" r:id="rId616"/>
    <p:sldLayoutId id="2147483985" r:id="rId617"/>
    <p:sldLayoutId id="2147483986" r:id="rId618"/>
    <p:sldLayoutId id="2147483987" r:id="rId619"/>
    <p:sldLayoutId id="2147483988" r:id="rId620"/>
    <p:sldLayoutId id="2147483989" r:id="rId621"/>
    <p:sldLayoutId id="2147483990" r:id="rId622"/>
    <p:sldLayoutId id="2147483991" r:id="rId623"/>
    <p:sldLayoutId id="2147483992" r:id="rId624"/>
    <p:sldLayoutId id="2147483993" r:id="rId625"/>
    <p:sldLayoutId id="2147483994" r:id="rId626"/>
    <p:sldLayoutId id="2147483995" r:id="rId627"/>
    <p:sldLayoutId id="2147483996" r:id="rId628"/>
    <p:sldLayoutId id="2147483997" r:id="rId629"/>
    <p:sldLayoutId id="2147483998" r:id="rId630"/>
    <p:sldLayoutId id="2147483999" r:id="rId631"/>
    <p:sldLayoutId id="2147484000" r:id="rId632"/>
    <p:sldLayoutId id="2147484001" r:id="rId633"/>
    <p:sldLayoutId id="2147484002" r:id="rId634"/>
    <p:sldLayoutId id="2147484003" r:id="rId635"/>
    <p:sldLayoutId id="2147484004" r:id="rId636"/>
    <p:sldLayoutId id="2147484652" r:id="rId637"/>
    <p:sldLayoutId id="2147484653" r:id="rId638"/>
    <p:sldLayoutId id="2147487008" r:id="rId639"/>
    <p:sldLayoutId id="2147487009" r:id="rId640"/>
    <p:sldLayoutId id="2147487010" r:id="rId641"/>
    <p:sldLayoutId id="2147487011" r:id="rId642"/>
    <p:sldLayoutId id="2147487012" r:id="rId643"/>
    <p:sldLayoutId id="2147487013" r:id="rId644"/>
    <p:sldLayoutId id="2147484999" r:id="rId645"/>
    <p:sldLayoutId id="2147485000" r:id="rId646"/>
    <p:sldLayoutId id="2147485001" r:id="rId647"/>
    <p:sldLayoutId id="2147485002" r:id="rId648"/>
    <p:sldLayoutId id="2147485006" r:id="rId649"/>
    <p:sldLayoutId id="2147485007" r:id="rId650"/>
    <p:sldLayoutId id="2147485008" r:id="rId651"/>
    <p:sldLayoutId id="2147485877" r:id="rId652"/>
    <p:sldLayoutId id="2147486419" r:id="rId653"/>
    <p:sldLayoutId id="2147486079" r:id="rId654"/>
    <p:sldLayoutId id="2147487352" r:id="rId655"/>
    <p:sldLayoutId id="2147483677" r:id="rId656"/>
    <p:sldLayoutId id="2147487353" r:id="rId657"/>
    <p:sldLayoutId id="2147487354" r:id="rId658"/>
    <p:sldLayoutId id="2147485215" r:id="rId659"/>
    <p:sldLayoutId id="2147485425" r:id="rId660"/>
    <p:sldLayoutId id="2147485903" r:id="rId661"/>
    <p:sldLayoutId id="2147485904" r:id="rId662"/>
    <p:sldLayoutId id="2147484354" r:id="rId663"/>
    <p:sldLayoutId id="2147484572" r:id="rId664"/>
    <p:sldLayoutId id="2147485391" r:id="rId665"/>
    <p:sldLayoutId id="2147485392" r:id="rId666"/>
    <p:sldLayoutId id="2147484376" r:id="rId667"/>
    <p:sldLayoutId id="2147485905" r:id="rId668"/>
    <p:sldLayoutId id="2147485906" r:id="rId669"/>
    <p:sldLayoutId id="2147485880" r:id="rId670"/>
    <p:sldLayoutId id="2147485393" r:id="rId671"/>
    <p:sldLayoutId id="2147485394" r:id="rId672"/>
    <p:sldLayoutId id="2147485395" r:id="rId673"/>
    <p:sldLayoutId id="2147486284" r:id="rId674"/>
    <p:sldLayoutId id="2147484378" r:id="rId675"/>
    <p:sldLayoutId id="2147484379" r:id="rId676"/>
    <p:sldLayoutId id="2147485396" r:id="rId677"/>
    <p:sldLayoutId id="2147486222" r:id="rId678"/>
    <p:sldLayoutId id="2147486223" r:id="rId679"/>
    <p:sldLayoutId id="2147486224" r:id="rId680"/>
    <p:sldLayoutId id="2147488079" r:id="rId681"/>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11/20/2023</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3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7157" r:id="rId1"/>
    <p:sldLayoutId id="2147487158" r:id="rId2"/>
    <p:sldLayoutId id="2147487159" r:id="rId3"/>
    <p:sldLayoutId id="2147487160" r:id="rId4"/>
    <p:sldLayoutId id="2147487161" r:id="rId5"/>
    <p:sldLayoutId id="2147487162" r:id="rId6"/>
    <p:sldLayoutId id="2147487163" r:id="rId7"/>
    <p:sldLayoutId id="2147487164" r:id="rId8"/>
    <p:sldLayoutId id="2147487165" r:id="rId9"/>
    <p:sldLayoutId id="2147487166" r:id="rId10"/>
    <p:sldLayoutId id="2147487167" r:id="rId11"/>
    <p:sldLayoutId id="2147483660" r:id="rId12"/>
    <p:sldLayoutId id="2147484597" r:id="rId13"/>
    <p:sldLayoutId id="2147484598" r:id="rId14"/>
    <p:sldLayoutId id="2147484599" r:id="rId15"/>
    <p:sldLayoutId id="2147484600" r:id="rId16"/>
    <p:sldLayoutId id="2147484601" r:id="rId17"/>
    <p:sldLayoutId id="2147487170" r:id="rId18"/>
    <p:sldLayoutId id="2147487171" r:id="rId19"/>
    <p:sldLayoutId id="2147487172" r:id="rId20"/>
    <p:sldLayoutId id="2147487173" r:id="rId21"/>
    <p:sldLayoutId id="2147487174" r:id="rId22"/>
    <p:sldLayoutId id="2147487175" r:id="rId23"/>
    <p:sldLayoutId id="2147487176" r:id="rId24"/>
    <p:sldLayoutId id="2147487177" r:id="rId25"/>
    <p:sldLayoutId id="2147483674" r:id="rId26"/>
    <p:sldLayoutId id="2147483675" r:id="rId27"/>
    <p:sldLayoutId id="2147483676" r:id="rId28"/>
    <p:sldLayoutId id="2147487181" r:id="rId29"/>
    <p:sldLayoutId id="2147483678" r:id="rId30"/>
    <p:sldLayoutId id="2147483679" r:id="rId31"/>
    <p:sldLayoutId id="2147487380" r:id="rId32"/>
    <p:sldLayoutId id="2147487381" r:id="rId33"/>
    <p:sldLayoutId id="2147487186" r:id="rId34"/>
    <p:sldLayoutId id="2147487187" r:id="rId35"/>
    <p:sldLayoutId id="2147483684" r:id="rId36"/>
    <p:sldLayoutId id="2147483685" r:id="rId37"/>
    <p:sldLayoutId id="2147483686" r:id="rId38"/>
    <p:sldLayoutId id="2147487191" r:id="rId39"/>
    <p:sldLayoutId id="2147483688" r:id="rId40"/>
    <p:sldLayoutId id="2147483689" r:id="rId41"/>
    <p:sldLayoutId id="2147487194" r:id="rId42"/>
    <p:sldLayoutId id="2147487195" r:id="rId43"/>
    <p:sldLayoutId id="2147487196" r:id="rId44"/>
    <p:sldLayoutId id="2147487197" r:id="rId45"/>
    <p:sldLayoutId id="2147487198" r:id="rId46"/>
    <p:sldLayoutId id="2147487199" r:id="rId47"/>
    <p:sldLayoutId id="2147487200" r:id="rId48"/>
    <p:sldLayoutId id="2147487201" r:id="rId49"/>
    <p:sldLayoutId id="2147487202" r:id="rId50"/>
    <p:sldLayoutId id="2147487203" r:id="rId51"/>
    <p:sldLayoutId id="2147487204" r:id="rId52"/>
    <p:sldLayoutId id="2147483701" r:id="rId53"/>
    <p:sldLayoutId id="2147483702" r:id="rId54"/>
    <p:sldLayoutId id="2147483703" r:id="rId55"/>
    <p:sldLayoutId id="2147483704" r:id="rId56"/>
    <p:sldLayoutId id="2147483705" r:id="rId57"/>
    <p:sldLayoutId id="2147483706" r:id="rId58"/>
    <p:sldLayoutId id="2147483707" r:id="rId59"/>
    <p:sldLayoutId id="2147483708" r:id="rId60"/>
    <p:sldLayoutId id="2147483709" r:id="rId61"/>
    <p:sldLayoutId id="2147483710" r:id="rId62"/>
    <p:sldLayoutId id="2147483711" r:id="rId63"/>
    <p:sldLayoutId id="2147483712" r:id="rId64"/>
    <p:sldLayoutId id="2147483713" r:id="rId65"/>
    <p:sldLayoutId id="2147483714" r:id="rId66"/>
    <p:sldLayoutId id="2147483715" r:id="rId67"/>
    <p:sldLayoutId id="2147483716" r:id="rId68"/>
    <p:sldLayoutId id="2147483717" r:id="rId69"/>
    <p:sldLayoutId id="2147483718" r:id="rId70"/>
    <p:sldLayoutId id="2147483719" r:id="rId71"/>
    <p:sldLayoutId id="2147483720" r:id="rId72"/>
    <p:sldLayoutId id="2147483721" r:id="rId73"/>
    <p:sldLayoutId id="2147483722" r:id="rId74"/>
    <p:sldLayoutId id="2147483723" r:id="rId75"/>
    <p:sldLayoutId id="2147483724" r:id="rId76"/>
    <p:sldLayoutId id="2147483725" r:id="rId77"/>
    <p:sldLayoutId id="2147487230" r:id="rId78"/>
    <p:sldLayoutId id="2147483727" r:id="rId79"/>
    <p:sldLayoutId id="2147483728" r:id="rId80"/>
    <p:sldLayoutId id="2147483729" r:id="rId81"/>
    <p:sldLayoutId id="2147483730" r:id="rId82"/>
    <p:sldLayoutId id="2147483731" r:id="rId83"/>
    <p:sldLayoutId id="2147483732" r:id="rId84"/>
    <p:sldLayoutId id="2147483733" r:id="rId85"/>
    <p:sldLayoutId id="2147487238" r:id="rId86"/>
    <p:sldLayoutId id="2147487239" r:id="rId87"/>
    <p:sldLayoutId id="2147487240" r:id="rId88"/>
    <p:sldLayoutId id="2147487241" r:id="rId89"/>
    <p:sldLayoutId id="2147483738" r:id="rId90"/>
    <p:sldLayoutId id="2147487243" r:id="rId91"/>
    <p:sldLayoutId id="2147483740" r:id="rId92"/>
    <p:sldLayoutId id="2147483741" r:id="rId93"/>
    <p:sldLayoutId id="2147483742" r:id="rId94"/>
    <p:sldLayoutId id="2147487247" r:id="rId95"/>
    <p:sldLayoutId id="2147483744" r:id="rId96"/>
    <p:sldLayoutId id="2147483745" r:id="rId97"/>
    <p:sldLayoutId id="2147483746" r:id="rId98"/>
    <p:sldLayoutId id="2147483747" r:id="rId99"/>
    <p:sldLayoutId id="2147483748" r:id="rId100"/>
    <p:sldLayoutId id="2147483749" r:id="rId101"/>
    <p:sldLayoutId id="2147487254" r:id="rId102"/>
    <p:sldLayoutId id="2147487255" r:id="rId103"/>
    <p:sldLayoutId id="2147487256" r:id="rId104"/>
    <p:sldLayoutId id="2147487257" r:id="rId105"/>
    <p:sldLayoutId id="2147487258" r:id="rId106"/>
    <p:sldLayoutId id="2147487259" r:id="rId107"/>
    <p:sldLayoutId id="2147487260" r:id="rId108"/>
    <p:sldLayoutId id="2147487261" r:id="rId109"/>
    <p:sldLayoutId id="2147487262" r:id="rId110"/>
    <p:sldLayoutId id="2147487263" r:id="rId111"/>
    <p:sldLayoutId id="2147487264" r:id="rId112"/>
    <p:sldLayoutId id="2147483761" r:id="rId113"/>
    <p:sldLayoutId id="2147483762" r:id="rId114"/>
    <p:sldLayoutId id="2147483763" r:id="rId115"/>
    <p:sldLayoutId id="2147487267" r:id="rId116"/>
    <p:sldLayoutId id="2147487268" r:id="rId117"/>
    <p:sldLayoutId id="2147487269" r:id="rId118"/>
    <p:sldLayoutId id="2147483767" r:id="rId119"/>
    <p:sldLayoutId id="2147483768" r:id="rId120"/>
    <p:sldLayoutId id="2147483769" r:id="rId121"/>
    <p:sldLayoutId id="2147483770" r:id="rId122"/>
    <p:sldLayoutId id="2147483771" r:id="rId123"/>
    <p:sldLayoutId id="2147483772" r:id="rId124"/>
    <p:sldLayoutId id="2147483773" r:id="rId125"/>
    <p:sldLayoutId id="2147483774" r:id="rId126"/>
    <p:sldLayoutId id="2147487278" r:id="rId127"/>
    <p:sldLayoutId id="2147487279" r:id="rId128"/>
    <p:sldLayoutId id="2147487280" r:id="rId129"/>
    <p:sldLayoutId id="2147487281" r:id="rId130"/>
    <p:sldLayoutId id="2147487282" r:id="rId131"/>
    <p:sldLayoutId id="2147487283" r:id="rId132"/>
    <p:sldLayoutId id="2147487284" r:id="rId133"/>
    <p:sldLayoutId id="2147487285" r:id="rId134"/>
    <p:sldLayoutId id="2147487286" r:id="rId135"/>
    <p:sldLayoutId id="2147487287" r:id="rId136"/>
    <p:sldLayoutId id="2147487288" r:id="rId137"/>
    <p:sldLayoutId id="2147487289" r:id="rId138"/>
    <p:sldLayoutId id="2147483787" r:id="rId139"/>
    <p:sldLayoutId id="2147483788" r:id="rId140"/>
    <p:sldLayoutId id="2147483789" r:id="rId141"/>
    <p:sldLayoutId id="2147487293" r:id="rId142"/>
    <p:sldLayoutId id="2147483791" r:id="rId143"/>
    <p:sldLayoutId id="2147483792" r:id="rId144"/>
    <p:sldLayoutId id="2147483793" r:id="rId145"/>
    <p:sldLayoutId id="2147483794" r:id="rId146"/>
    <p:sldLayoutId id="2147483795" r:id="rId147"/>
    <p:sldLayoutId id="2147483796" r:id="rId148"/>
    <p:sldLayoutId id="2147483797" r:id="rId149"/>
    <p:sldLayoutId id="2147483798" r:id="rId150"/>
    <p:sldLayoutId id="2147487302" r:id="rId151"/>
    <p:sldLayoutId id="2147483800" r:id="rId152"/>
    <p:sldLayoutId id="2147483801" r:id="rId153"/>
    <p:sldLayoutId id="2147483802" r:id="rId154"/>
    <p:sldLayoutId id="2147483803" r:id="rId155"/>
    <p:sldLayoutId id="2147483804" r:id="rId156"/>
    <p:sldLayoutId id="2147483805" r:id="rId157"/>
    <p:sldLayoutId id="2147487309" r:id="rId158"/>
    <p:sldLayoutId id="2147483807" r:id="rId159"/>
    <p:sldLayoutId id="2147483808" r:id="rId160"/>
    <p:sldLayoutId id="2147487312" r:id="rId161"/>
    <p:sldLayoutId id="2147487313" r:id="rId162"/>
    <p:sldLayoutId id="2147487314" r:id="rId163"/>
    <p:sldLayoutId id="2147487315" r:id="rId164"/>
    <p:sldLayoutId id="2147487316" r:id="rId165"/>
    <p:sldLayoutId id="2147487317" r:id="rId166"/>
    <p:sldLayoutId id="2147483815" r:id="rId167"/>
    <p:sldLayoutId id="2147483816" r:id="rId168"/>
    <p:sldLayoutId id="2147483817" r:id="rId169"/>
    <p:sldLayoutId id="2147487321" r:id="rId170"/>
    <p:sldLayoutId id="2147487322" r:id="rId171"/>
    <p:sldLayoutId id="2147487323" r:id="rId172"/>
    <p:sldLayoutId id="2147487324" r:id="rId173"/>
    <p:sldLayoutId id="2147487325" r:id="rId174"/>
    <p:sldLayoutId id="2147483823" r:id="rId175"/>
    <p:sldLayoutId id="2147487327" r:id="rId176"/>
    <p:sldLayoutId id="2147487328" r:id="rId177"/>
    <p:sldLayoutId id="2147487329" r:id="rId178"/>
    <p:sldLayoutId id="2147487330" r:id="rId179"/>
    <p:sldLayoutId id="2147487331" r:id="rId180"/>
    <p:sldLayoutId id="2147487332" r:id="rId181"/>
    <p:sldLayoutId id="2147487333" r:id="rId182"/>
    <p:sldLayoutId id="2147487334" r:id="rId183"/>
    <p:sldLayoutId id="2147487335" r:id="rId184"/>
    <p:sldLayoutId id="2147487336" r:id="rId185"/>
    <p:sldLayoutId id="2147487337" r:id="rId186"/>
    <p:sldLayoutId id="2147487338" r:id="rId187"/>
    <p:sldLayoutId id="2147487339" r:id="rId188"/>
    <p:sldLayoutId id="2147487340" r:id="rId189"/>
    <p:sldLayoutId id="2147487341" r:id="rId190"/>
    <p:sldLayoutId id="2147487342" r:id="rId191"/>
    <p:sldLayoutId id="2147487343" r:id="rId192"/>
    <p:sldLayoutId id="2147487344" r:id="rId193"/>
    <p:sldLayoutId id="2147487345" r:id="rId194"/>
    <p:sldLayoutId id="2147483843" r:id="rId195"/>
    <p:sldLayoutId id="2147487347" r:id="rId196"/>
    <p:sldLayoutId id="2147483845" r:id="rId197"/>
    <p:sldLayoutId id="2147483846" r:id="rId19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2446292310"/>
      </p:ext>
    </p:extLst>
  </p:cSld>
  <p:clrMap bg1="lt1" tx1="dk1" bg2="lt2" tx2="dk2" accent1="accent1" accent2="accent2" accent3="accent3" accent4="accent4" accent5="accent5" accent6="accent6" hlink="hlink" folHlink="folHlink"/>
  <p:sldLayoutIdLst>
    <p:sldLayoutId id="2147487383" r:id="rId1"/>
    <p:sldLayoutId id="2147487384" r:id="rId2"/>
    <p:sldLayoutId id="2147487385" r:id="rId3"/>
    <p:sldLayoutId id="2147487386" r:id="rId4"/>
    <p:sldLayoutId id="2147487387" r:id="rId5"/>
    <p:sldLayoutId id="2147487388" r:id="rId6"/>
    <p:sldLayoutId id="2147487389" r:id="rId7"/>
    <p:sldLayoutId id="2147487390" r:id="rId8"/>
    <p:sldLayoutId id="2147487391" r:id="rId9"/>
    <p:sldLayoutId id="2147487392" r:id="rId10"/>
    <p:sldLayoutId id="2147487393" r:id="rId11"/>
    <p:sldLayoutId id="2147487394" r:id="rId12"/>
    <p:sldLayoutId id="2147487395" r:id="rId13"/>
    <p:sldLayoutId id="2147487396" r:id="rId14"/>
    <p:sldLayoutId id="2147487397" r:id="rId15"/>
    <p:sldLayoutId id="2147487398" r:id="rId16"/>
    <p:sldLayoutId id="2147487401" r:id="rId17"/>
    <p:sldLayoutId id="2147487402" r:id="rId18"/>
    <p:sldLayoutId id="2147487403" r:id="rId19"/>
    <p:sldLayoutId id="2147487404" r:id="rId20"/>
    <p:sldLayoutId id="2147487405" r:id="rId21"/>
    <p:sldLayoutId id="2147487406" r:id="rId22"/>
    <p:sldLayoutId id="2147487407" r:id="rId23"/>
    <p:sldLayoutId id="2147487408" r:id="rId24"/>
    <p:sldLayoutId id="2147487409" r:id="rId25"/>
    <p:sldLayoutId id="2147487410" r:id="rId26"/>
    <p:sldLayoutId id="2147487411" r:id="rId27"/>
    <p:sldLayoutId id="2147487412" r:id="rId28"/>
    <p:sldLayoutId id="2147487413" r:id="rId29"/>
    <p:sldLayoutId id="2147487414" r:id="rId30"/>
    <p:sldLayoutId id="2147487415" r:id="rId31"/>
    <p:sldLayoutId id="2147487416" r:id="rId32"/>
    <p:sldLayoutId id="2147487417" r:id="rId33"/>
    <p:sldLayoutId id="2147487418" r:id="rId34"/>
    <p:sldLayoutId id="2147487419" r:id="rId35"/>
    <p:sldLayoutId id="2147487420" r:id="rId36"/>
    <p:sldLayoutId id="2147487421" r:id="rId37"/>
    <p:sldLayoutId id="2147487422" r:id="rId38"/>
    <p:sldLayoutId id="2147487423" r:id="rId39"/>
    <p:sldLayoutId id="2147487424" r:id="rId40"/>
    <p:sldLayoutId id="2147487425" r:id="rId41"/>
    <p:sldLayoutId id="2147487426" r:id="rId42"/>
    <p:sldLayoutId id="2147487427" r:id="rId43"/>
    <p:sldLayoutId id="2147487428" r:id="rId44"/>
    <p:sldLayoutId id="2147487429" r:id="rId45"/>
    <p:sldLayoutId id="2147487430" r:id="rId46"/>
    <p:sldLayoutId id="2147487431" r:id="rId47"/>
    <p:sldLayoutId id="2147487432" r:id="rId48"/>
    <p:sldLayoutId id="2147487434" r:id="rId49"/>
    <p:sldLayoutId id="2147487435" r:id="rId50"/>
    <p:sldLayoutId id="2147487436" r:id="rId51"/>
    <p:sldLayoutId id="2147487437" r:id="rId52"/>
    <p:sldLayoutId id="2147487438" r:id="rId53"/>
    <p:sldLayoutId id="2147487439" r:id="rId54"/>
    <p:sldLayoutId id="2147487440" r:id="rId55"/>
    <p:sldLayoutId id="2147487441" r:id="rId56"/>
    <p:sldLayoutId id="2147487442" r:id="rId57"/>
    <p:sldLayoutId id="2147487443" r:id="rId58"/>
    <p:sldLayoutId id="2147487444" r:id="rId59"/>
    <p:sldLayoutId id="2147487445" r:id="rId60"/>
    <p:sldLayoutId id="2147487446" r:id="rId61"/>
    <p:sldLayoutId id="2147487447" r:id="rId62"/>
    <p:sldLayoutId id="2147487448" r:id="rId63"/>
    <p:sldLayoutId id="2147487449" r:id="rId64"/>
    <p:sldLayoutId id="2147487450" r:id="rId65"/>
    <p:sldLayoutId id="2147487451" r:id="rId66"/>
    <p:sldLayoutId id="2147487452" r:id="rId67"/>
    <p:sldLayoutId id="2147487453" r:id="rId68"/>
    <p:sldLayoutId id="2147487454" r:id="rId69"/>
    <p:sldLayoutId id="2147487455" r:id="rId70"/>
    <p:sldLayoutId id="2147487456" r:id="rId71"/>
    <p:sldLayoutId id="2147487457" r:id="rId72"/>
    <p:sldLayoutId id="2147487458" r:id="rId73"/>
    <p:sldLayoutId id="2147487459" r:id="rId74"/>
    <p:sldLayoutId id="2147487460" r:id="rId75"/>
    <p:sldLayoutId id="2147487461" r:id="rId76"/>
    <p:sldLayoutId id="2147487462" r:id="rId77"/>
    <p:sldLayoutId id="2147487463" r:id="rId78"/>
    <p:sldLayoutId id="2147487464" r:id="rId79"/>
    <p:sldLayoutId id="2147487465" r:id="rId80"/>
    <p:sldLayoutId id="2147487466" r:id="rId81"/>
    <p:sldLayoutId id="2147487467" r:id="rId82"/>
    <p:sldLayoutId id="2147487468" r:id="rId83"/>
    <p:sldLayoutId id="2147487469" r:id="rId84"/>
    <p:sldLayoutId id="2147487470" r:id="rId85"/>
    <p:sldLayoutId id="2147487471" r:id="rId86"/>
    <p:sldLayoutId id="2147487472" r:id="rId87"/>
    <p:sldLayoutId id="2147487473" r:id="rId88"/>
    <p:sldLayoutId id="2147487474" r:id="rId89"/>
    <p:sldLayoutId id="2147487475" r:id="rId90"/>
    <p:sldLayoutId id="2147487476" r:id="rId91"/>
    <p:sldLayoutId id="2147487477" r:id="rId92"/>
    <p:sldLayoutId id="2147487478" r:id="rId93"/>
    <p:sldLayoutId id="2147487479" r:id="rId94"/>
    <p:sldLayoutId id="2147487480" r:id="rId95"/>
    <p:sldLayoutId id="2147487481" r:id="rId96"/>
    <p:sldLayoutId id="2147487482" r:id="rId97"/>
    <p:sldLayoutId id="2147487483" r:id="rId98"/>
    <p:sldLayoutId id="2147487484" r:id="rId99"/>
    <p:sldLayoutId id="2147487485" r:id="rId100"/>
    <p:sldLayoutId id="2147487486" r:id="rId101"/>
    <p:sldLayoutId id="2147487487" r:id="rId102"/>
    <p:sldLayoutId id="2147487488" r:id="rId103"/>
    <p:sldLayoutId id="2147487489" r:id="rId104"/>
    <p:sldLayoutId id="2147487490" r:id="rId105"/>
    <p:sldLayoutId id="2147487491" r:id="rId106"/>
    <p:sldLayoutId id="2147487492" r:id="rId107"/>
    <p:sldLayoutId id="2147487493" r:id="rId108"/>
    <p:sldLayoutId id="2147487494" r:id="rId109"/>
    <p:sldLayoutId id="2147487495" r:id="rId110"/>
    <p:sldLayoutId id="2147487496" r:id="rId111"/>
    <p:sldLayoutId id="2147487497" r:id="rId112"/>
    <p:sldLayoutId id="2147487498" r:id="rId113"/>
    <p:sldLayoutId id="2147487499" r:id="rId114"/>
    <p:sldLayoutId id="2147487500" r:id="rId115"/>
    <p:sldLayoutId id="2147487501" r:id="rId116"/>
    <p:sldLayoutId id="2147487502" r:id="rId117"/>
    <p:sldLayoutId id="2147487503" r:id="rId118"/>
    <p:sldLayoutId id="2147487504" r:id="rId119"/>
    <p:sldLayoutId id="2147487505" r:id="rId120"/>
    <p:sldLayoutId id="2147487506" r:id="rId121"/>
    <p:sldLayoutId id="2147487507" r:id="rId122"/>
    <p:sldLayoutId id="2147487508" r:id="rId123"/>
    <p:sldLayoutId id="2147487509" r:id="rId124"/>
    <p:sldLayoutId id="2147487510" r:id="rId125"/>
    <p:sldLayoutId id="2147487511" r:id="rId126"/>
    <p:sldLayoutId id="2147487512" r:id="rId127"/>
    <p:sldLayoutId id="2147487513" r:id="rId128"/>
    <p:sldLayoutId id="2147487514" r:id="rId129"/>
    <p:sldLayoutId id="2147487515" r:id="rId130"/>
    <p:sldLayoutId id="2147487516" r:id="rId131"/>
    <p:sldLayoutId id="2147487517" r:id="rId132"/>
    <p:sldLayoutId id="2147487518" r:id="rId133"/>
    <p:sldLayoutId id="2147487519" r:id="rId134"/>
    <p:sldLayoutId id="2147487520" r:id="rId135"/>
    <p:sldLayoutId id="2147487521" r:id="rId136"/>
    <p:sldLayoutId id="2147487522" r:id="rId137"/>
    <p:sldLayoutId id="2147487523" r:id="rId138"/>
    <p:sldLayoutId id="2147487524" r:id="rId139"/>
    <p:sldLayoutId id="2147487525" r:id="rId140"/>
    <p:sldLayoutId id="2147487526" r:id="rId141"/>
    <p:sldLayoutId id="2147487527" r:id="rId142"/>
    <p:sldLayoutId id="2147487528" r:id="rId143"/>
    <p:sldLayoutId id="2147487529" r:id="rId144"/>
    <p:sldLayoutId id="2147487530" r:id="rId145"/>
    <p:sldLayoutId id="2147487531" r:id="rId146"/>
    <p:sldLayoutId id="2147487532" r:id="rId147"/>
    <p:sldLayoutId id="2147487533" r:id="rId148"/>
    <p:sldLayoutId id="2147487534" r:id="rId149"/>
    <p:sldLayoutId id="2147487535" r:id="rId150"/>
    <p:sldLayoutId id="2147487536" r:id="rId151"/>
    <p:sldLayoutId id="2147487537" r:id="rId152"/>
    <p:sldLayoutId id="2147487538" r:id="rId153"/>
    <p:sldLayoutId id="2147487539" r:id="rId154"/>
    <p:sldLayoutId id="2147487540" r:id="rId155"/>
    <p:sldLayoutId id="2147487541" r:id="rId156"/>
    <p:sldLayoutId id="2147487542" r:id="rId157"/>
    <p:sldLayoutId id="2147487543" r:id="rId158"/>
    <p:sldLayoutId id="2147487544" r:id="rId159"/>
    <p:sldLayoutId id="2147487545" r:id="rId160"/>
    <p:sldLayoutId id="2147487546" r:id="rId161"/>
    <p:sldLayoutId id="2147487547" r:id="rId162"/>
    <p:sldLayoutId id="2147487548" r:id="rId163"/>
    <p:sldLayoutId id="2147487549" r:id="rId164"/>
    <p:sldLayoutId id="2147487550" r:id="rId165"/>
    <p:sldLayoutId id="2147487551" r:id="rId166"/>
    <p:sldLayoutId id="2147487552" r:id="rId167"/>
    <p:sldLayoutId id="2147487553" r:id="rId168"/>
    <p:sldLayoutId id="2147487554" r:id="rId169"/>
    <p:sldLayoutId id="2147487555" r:id="rId170"/>
    <p:sldLayoutId id="2147487556" r:id="rId171"/>
    <p:sldLayoutId id="2147487557" r:id="rId172"/>
    <p:sldLayoutId id="2147487558" r:id="rId173"/>
    <p:sldLayoutId id="2147487559" r:id="rId174"/>
    <p:sldLayoutId id="2147487560" r:id="rId175"/>
    <p:sldLayoutId id="2147487561" r:id="rId176"/>
    <p:sldLayoutId id="2147487562" r:id="rId177"/>
    <p:sldLayoutId id="2147487563" r:id="rId178"/>
    <p:sldLayoutId id="2147487564" r:id="rId179"/>
    <p:sldLayoutId id="2147487565" r:id="rId180"/>
    <p:sldLayoutId id="2147487566" r:id="rId181"/>
    <p:sldLayoutId id="2147487567" r:id="rId182"/>
    <p:sldLayoutId id="2147487568" r:id="rId183"/>
    <p:sldLayoutId id="2147487569" r:id="rId184"/>
    <p:sldLayoutId id="2147487570" r:id="rId185"/>
    <p:sldLayoutId id="2147487571" r:id="rId186"/>
    <p:sldLayoutId id="2147487572" r:id="rId187"/>
    <p:sldLayoutId id="2147487573" r:id="rId188"/>
    <p:sldLayoutId id="2147487574" r:id="rId189"/>
    <p:sldLayoutId id="2147487575" r:id="rId190"/>
    <p:sldLayoutId id="2147487576" r:id="rId191"/>
    <p:sldLayoutId id="2147487577" r:id="rId192"/>
    <p:sldLayoutId id="2147487578" r:id="rId193"/>
    <p:sldLayoutId id="2147487579" r:id="rId194"/>
    <p:sldLayoutId id="2147487580" r:id="rId195"/>
    <p:sldLayoutId id="2147487581" r:id="rId196"/>
    <p:sldLayoutId id="2147487582" r:id="rId197"/>
    <p:sldLayoutId id="2147487583" r:id="rId198"/>
    <p:sldLayoutId id="2147487584" r:id="rId199"/>
    <p:sldLayoutId id="2147487585" r:id="rId200"/>
    <p:sldLayoutId id="2147487586" r:id="rId201"/>
    <p:sldLayoutId id="2147487587" r:id="rId202"/>
    <p:sldLayoutId id="2147487588" r:id="rId203"/>
    <p:sldLayoutId id="2147487589" r:id="rId204"/>
    <p:sldLayoutId id="2147487590" r:id="rId205"/>
    <p:sldLayoutId id="2147487591" r:id="rId206"/>
    <p:sldLayoutId id="2147487592" r:id="rId207"/>
    <p:sldLayoutId id="2147487593" r:id="rId208"/>
    <p:sldLayoutId id="2147487594" r:id="rId209"/>
    <p:sldLayoutId id="2147487595" r:id="rId210"/>
    <p:sldLayoutId id="2147487596" r:id="rId211"/>
    <p:sldLayoutId id="2147487597" r:id="rId212"/>
    <p:sldLayoutId id="2147487598" r:id="rId213"/>
    <p:sldLayoutId id="2147487599" r:id="rId214"/>
    <p:sldLayoutId id="2147487600" r:id="rId215"/>
    <p:sldLayoutId id="2147487601" r:id="rId216"/>
    <p:sldLayoutId id="2147487602" r:id="rId217"/>
    <p:sldLayoutId id="2147487603" r:id="rId218"/>
    <p:sldLayoutId id="2147487604" r:id="rId219"/>
    <p:sldLayoutId id="2147487605" r:id="rId220"/>
    <p:sldLayoutId id="2147487606" r:id="rId221"/>
    <p:sldLayoutId id="2147487607" r:id="rId222"/>
    <p:sldLayoutId id="2147487608" r:id="rId223"/>
    <p:sldLayoutId id="2147487609" r:id="rId224"/>
    <p:sldLayoutId id="2147487610" r:id="rId225"/>
    <p:sldLayoutId id="2147487611" r:id="rId226"/>
    <p:sldLayoutId id="2147487612" r:id="rId227"/>
    <p:sldLayoutId id="2147487613" r:id="rId228"/>
    <p:sldLayoutId id="2147487614" r:id="rId229"/>
    <p:sldLayoutId id="2147487615" r:id="rId230"/>
    <p:sldLayoutId id="2147487616" r:id="rId231"/>
    <p:sldLayoutId id="2147487617" r:id="rId232"/>
    <p:sldLayoutId id="2147487618" r:id="rId233"/>
    <p:sldLayoutId id="2147487619" r:id="rId234"/>
    <p:sldLayoutId id="2147487620" r:id="rId235"/>
    <p:sldLayoutId id="2147487621" r:id="rId236"/>
    <p:sldLayoutId id="2147487622" r:id="rId237"/>
    <p:sldLayoutId id="2147487623" r:id="rId238"/>
    <p:sldLayoutId id="2147487624" r:id="rId239"/>
    <p:sldLayoutId id="2147487625" r:id="rId240"/>
    <p:sldLayoutId id="2147487626" r:id="rId241"/>
    <p:sldLayoutId id="2147487627" r:id="rId242"/>
    <p:sldLayoutId id="2147487628" r:id="rId243"/>
    <p:sldLayoutId id="2147487629" r:id="rId244"/>
    <p:sldLayoutId id="2147487630" r:id="rId245"/>
    <p:sldLayoutId id="2147487631" r:id="rId246"/>
    <p:sldLayoutId id="2147487632" r:id="rId247"/>
    <p:sldLayoutId id="2147487633" r:id="rId248"/>
    <p:sldLayoutId id="2147487634" r:id="rId249"/>
    <p:sldLayoutId id="2147487635" r:id="rId250"/>
    <p:sldLayoutId id="2147487636" r:id="rId251"/>
    <p:sldLayoutId id="2147487637" r:id="rId252"/>
    <p:sldLayoutId id="2147487638" r:id="rId253"/>
    <p:sldLayoutId id="2147487639" r:id="rId254"/>
    <p:sldLayoutId id="2147487640" r:id="rId255"/>
    <p:sldLayoutId id="2147487641" r:id="rId256"/>
    <p:sldLayoutId id="2147487642" r:id="rId257"/>
    <p:sldLayoutId id="2147487643" r:id="rId258"/>
    <p:sldLayoutId id="2147487644" r:id="rId259"/>
    <p:sldLayoutId id="2147487645" r:id="rId260"/>
    <p:sldLayoutId id="2147487646" r:id="rId261"/>
    <p:sldLayoutId id="2147487647" r:id="rId262"/>
    <p:sldLayoutId id="2147487648" r:id="rId263"/>
    <p:sldLayoutId id="2147487649" r:id="rId264"/>
    <p:sldLayoutId id="2147487650" r:id="rId265"/>
    <p:sldLayoutId id="2147487651" r:id="rId266"/>
    <p:sldLayoutId id="2147487652" r:id="rId267"/>
    <p:sldLayoutId id="2147487653" r:id="rId268"/>
    <p:sldLayoutId id="2147487654" r:id="rId269"/>
    <p:sldLayoutId id="2147487655" r:id="rId270"/>
    <p:sldLayoutId id="2147487656" r:id="rId271"/>
    <p:sldLayoutId id="2147487657" r:id="rId272"/>
    <p:sldLayoutId id="2147487658" r:id="rId273"/>
    <p:sldLayoutId id="2147487659" r:id="rId274"/>
    <p:sldLayoutId id="2147487660" r:id="rId275"/>
    <p:sldLayoutId id="2147487661" r:id="rId276"/>
    <p:sldLayoutId id="2147487662" r:id="rId277"/>
    <p:sldLayoutId id="2147487663" r:id="rId278"/>
    <p:sldLayoutId id="2147487664" r:id="rId279"/>
    <p:sldLayoutId id="2147487665" r:id="rId280"/>
    <p:sldLayoutId id="2147487666" r:id="rId281"/>
    <p:sldLayoutId id="2147487667" r:id="rId282"/>
    <p:sldLayoutId id="2147487668" r:id="rId283"/>
    <p:sldLayoutId id="2147487669" r:id="rId284"/>
    <p:sldLayoutId id="2147487670" r:id="rId285"/>
    <p:sldLayoutId id="2147487671" r:id="rId286"/>
    <p:sldLayoutId id="2147487672" r:id="rId287"/>
    <p:sldLayoutId id="2147487673" r:id="rId288"/>
    <p:sldLayoutId id="2147487674" r:id="rId289"/>
    <p:sldLayoutId id="2147487675" r:id="rId290"/>
    <p:sldLayoutId id="2147487676" r:id="rId291"/>
    <p:sldLayoutId id="2147487677" r:id="rId292"/>
    <p:sldLayoutId id="2147487679" r:id="rId293"/>
    <p:sldLayoutId id="2147487680" r:id="rId294"/>
    <p:sldLayoutId id="2147487681" r:id="rId295"/>
    <p:sldLayoutId id="2147487682" r:id="rId296"/>
    <p:sldLayoutId id="2147487683" r:id="rId297"/>
    <p:sldLayoutId id="2147487684" r:id="rId298"/>
    <p:sldLayoutId id="2147487685" r:id="rId299"/>
    <p:sldLayoutId id="2147487686" r:id="rId300"/>
    <p:sldLayoutId id="2147487687" r:id="rId301"/>
    <p:sldLayoutId id="2147487688" r:id="rId302"/>
    <p:sldLayoutId id="2147487689" r:id="rId303"/>
    <p:sldLayoutId id="2147487690" r:id="rId304"/>
    <p:sldLayoutId id="2147487691" r:id="rId305"/>
    <p:sldLayoutId id="2147487692" r:id="rId306"/>
    <p:sldLayoutId id="2147487693" r:id="rId307"/>
    <p:sldLayoutId id="2147487694" r:id="rId308"/>
    <p:sldLayoutId id="2147487695" r:id="rId309"/>
    <p:sldLayoutId id="2147487696" r:id="rId310"/>
    <p:sldLayoutId id="2147487697" r:id="rId311"/>
    <p:sldLayoutId id="2147487698" r:id="rId312"/>
    <p:sldLayoutId id="2147487699" r:id="rId313"/>
    <p:sldLayoutId id="2147487700" r:id="rId314"/>
    <p:sldLayoutId id="2147487701" r:id="rId315"/>
    <p:sldLayoutId id="2147487702" r:id="rId316"/>
    <p:sldLayoutId id="2147487703" r:id="rId317"/>
    <p:sldLayoutId id="2147487704" r:id="rId318"/>
    <p:sldLayoutId id="2147487705" r:id="rId319"/>
    <p:sldLayoutId id="2147487706" r:id="rId320"/>
    <p:sldLayoutId id="2147487707" r:id="rId321"/>
    <p:sldLayoutId id="2147487708" r:id="rId322"/>
    <p:sldLayoutId id="2147487709" r:id="rId323"/>
    <p:sldLayoutId id="2147487710" r:id="rId324"/>
    <p:sldLayoutId id="2147487711" r:id="rId325"/>
    <p:sldLayoutId id="2147487712" r:id="rId326"/>
    <p:sldLayoutId id="2147487713" r:id="rId327"/>
    <p:sldLayoutId id="2147487714" r:id="rId328"/>
    <p:sldLayoutId id="2147487715" r:id="rId329"/>
    <p:sldLayoutId id="2147487716" r:id="rId330"/>
    <p:sldLayoutId id="2147487717" r:id="rId331"/>
    <p:sldLayoutId id="2147487718" r:id="rId332"/>
    <p:sldLayoutId id="2147487719" r:id="rId333"/>
    <p:sldLayoutId id="2147487720" r:id="rId334"/>
    <p:sldLayoutId id="2147487721" r:id="rId335"/>
    <p:sldLayoutId id="2147487722" r:id="rId336"/>
    <p:sldLayoutId id="2147487723" r:id="rId337"/>
    <p:sldLayoutId id="2147487724" r:id="rId338"/>
    <p:sldLayoutId id="2147487725" r:id="rId339"/>
    <p:sldLayoutId id="2147487726" r:id="rId340"/>
    <p:sldLayoutId id="2147487727" r:id="rId341"/>
    <p:sldLayoutId id="2147487728" r:id="rId342"/>
    <p:sldLayoutId id="2147487729" r:id="rId343"/>
    <p:sldLayoutId id="2147487730" r:id="rId344"/>
    <p:sldLayoutId id="2147487731" r:id="rId345"/>
    <p:sldLayoutId id="2147487732" r:id="rId346"/>
    <p:sldLayoutId id="2147487733" r:id="rId347"/>
    <p:sldLayoutId id="2147487734" r:id="rId348"/>
    <p:sldLayoutId id="2147487735" r:id="rId349"/>
    <p:sldLayoutId id="2147487736" r:id="rId350"/>
    <p:sldLayoutId id="2147487737" r:id="rId351"/>
    <p:sldLayoutId id="2147487738" r:id="rId352"/>
    <p:sldLayoutId id="2147487739" r:id="rId353"/>
    <p:sldLayoutId id="2147487740" r:id="rId354"/>
    <p:sldLayoutId id="2147487741" r:id="rId355"/>
    <p:sldLayoutId id="2147487742" r:id="rId356"/>
    <p:sldLayoutId id="2147487743" r:id="rId357"/>
    <p:sldLayoutId id="2147487744" r:id="rId358"/>
    <p:sldLayoutId id="2147487745" r:id="rId359"/>
    <p:sldLayoutId id="2147487746" r:id="rId360"/>
    <p:sldLayoutId id="2147487747" r:id="rId361"/>
    <p:sldLayoutId id="2147487748" r:id="rId362"/>
    <p:sldLayoutId id="2147487749" r:id="rId363"/>
    <p:sldLayoutId id="2147487750" r:id="rId364"/>
    <p:sldLayoutId id="2147487751" r:id="rId365"/>
    <p:sldLayoutId id="2147487752" r:id="rId366"/>
    <p:sldLayoutId id="2147487753" r:id="rId367"/>
    <p:sldLayoutId id="2147487754" r:id="rId368"/>
    <p:sldLayoutId id="2147487755" r:id="rId369"/>
    <p:sldLayoutId id="2147487756" r:id="rId370"/>
    <p:sldLayoutId id="2147487757" r:id="rId371"/>
    <p:sldLayoutId id="2147487758" r:id="rId372"/>
    <p:sldLayoutId id="2147487759" r:id="rId373"/>
    <p:sldLayoutId id="2147487760" r:id="rId374"/>
    <p:sldLayoutId id="2147487761" r:id="rId375"/>
    <p:sldLayoutId id="2147487762" r:id="rId376"/>
    <p:sldLayoutId id="2147487763" r:id="rId377"/>
    <p:sldLayoutId id="2147487764" r:id="rId378"/>
    <p:sldLayoutId id="2147487765" r:id="rId379"/>
    <p:sldLayoutId id="2147487766" r:id="rId380"/>
    <p:sldLayoutId id="2147487767" r:id="rId381"/>
    <p:sldLayoutId id="2147487768" r:id="rId382"/>
    <p:sldLayoutId id="2147487769" r:id="rId383"/>
    <p:sldLayoutId id="2147487770" r:id="rId384"/>
    <p:sldLayoutId id="2147487771" r:id="rId385"/>
    <p:sldLayoutId id="2147487772" r:id="rId386"/>
    <p:sldLayoutId id="2147487773" r:id="rId387"/>
    <p:sldLayoutId id="2147487774" r:id="rId388"/>
    <p:sldLayoutId id="2147487775" r:id="rId389"/>
    <p:sldLayoutId id="2147487776" r:id="rId390"/>
    <p:sldLayoutId id="2147487777" r:id="rId391"/>
    <p:sldLayoutId id="2147487778" r:id="rId392"/>
    <p:sldLayoutId id="2147487779" r:id="rId393"/>
    <p:sldLayoutId id="2147487780" r:id="rId394"/>
    <p:sldLayoutId id="2147487781" r:id="rId395"/>
    <p:sldLayoutId id="2147487782" r:id="rId396"/>
    <p:sldLayoutId id="2147487783" r:id="rId397"/>
    <p:sldLayoutId id="2147487784" r:id="rId398"/>
    <p:sldLayoutId id="2147487785" r:id="rId399"/>
    <p:sldLayoutId id="2147487786" r:id="rId400"/>
    <p:sldLayoutId id="2147487787" r:id="rId401"/>
    <p:sldLayoutId id="2147487788" r:id="rId402"/>
    <p:sldLayoutId id="2147487789" r:id="rId403"/>
    <p:sldLayoutId id="2147487790" r:id="rId404"/>
    <p:sldLayoutId id="2147487791" r:id="rId405"/>
    <p:sldLayoutId id="2147487792" r:id="rId406"/>
    <p:sldLayoutId id="2147487793" r:id="rId407"/>
    <p:sldLayoutId id="2147487794" r:id="rId408"/>
    <p:sldLayoutId id="2147487795" r:id="rId409"/>
    <p:sldLayoutId id="2147487796" r:id="rId410"/>
    <p:sldLayoutId id="2147487797" r:id="rId411"/>
    <p:sldLayoutId id="2147487798" r:id="rId412"/>
    <p:sldLayoutId id="2147487799" r:id="rId413"/>
    <p:sldLayoutId id="2147487800" r:id="rId414"/>
    <p:sldLayoutId id="2147487801" r:id="rId415"/>
    <p:sldLayoutId id="2147487802" r:id="rId416"/>
    <p:sldLayoutId id="2147487803" r:id="rId417"/>
    <p:sldLayoutId id="2147487804" r:id="rId418"/>
    <p:sldLayoutId id="2147487805" r:id="rId419"/>
    <p:sldLayoutId id="2147487806" r:id="rId420"/>
    <p:sldLayoutId id="2147487807" r:id="rId421"/>
    <p:sldLayoutId id="2147487808" r:id="rId422"/>
    <p:sldLayoutId id="2147487809" r:id="rId423"/>
    <p:sldLayoutId id="2147487810" r:id="rId424"/>
    <p:sldLayoutId id="2147487811" r:id="rId425"/>
    <p:sldLayoutId id="2147487812" r:id="rId426"/>
    <p:sldLayoutId id="2147487813" r:id="rId427"/>
    <p:sldLayoutId id="2147487814" r:id="rId428"/>
    <p:sldLayoutId id="2147487815" r:id="rId429"/>
    <p:sldLayoutId id="2147487816" r:id="rId430"/>
    <p:sldLayoutId id="2147487817" r:id="rId431"/>
    <p:sldLayoutId id="2147487818" r:id="rId432"/>
    <p:sldLayoutId id="2147487819" r:id="rId433"/>
    <p:sldLayoutId id="2147487820" r:id="rId434"/>
    <p:sldLayoutId id="2147487821" r:id="rId435"/>
    <p:sldLayoutId id="2147487822" r:id="rId436"/>
    <p:sldLayoutId id="2147487823" r:id="rId437"/>
    <p:sldLayoutId id="2147487824" r:id="rId438"/>
    <p:sldLayoutId id="2147487825" r:id="rId439"/>
    <p:sldLayoutId id="2147487826" r:id="rId440"/>
    <p:sldLayoutId id="2147487827" r:id="rId441"/>
    <p:sldLayoutId id="2147487828" r:id="rId442"/>
    <p:sldLayoutId id="2147487829" r:id="rId443"/>
    <p:sldLayoutId id="2147487830" r:id="rId444"/>
    <p:sldLayoutId id="2147487831" r:id="rId445"/>
    <p:sldLayoutId id="2147487832" r:id="rId446"/>
    <p:sldLayoutId id="2147487833" r:id="rId447"/>
    <p:sldLayoutId id="2147487834" r:id="rId448"/>
    <p:sldLayoutId id="2147487835" r:id="rId449"/>
    <p:sldLayoutId id="2147487836" r:id="rId450"/>
    <p:sldLayoutId id="2147487843" r:id="rId451"/>
    <p:sldLayoutId id="2147487844" r:id="rId452"/>
    <p:sldLayoutId id="2147487845" r:id="rId453"/>
    <p:sldLayoutId id="2147487847" r:id="rId454"/>
    <p:sldLayoutId id="2147487848" r:id="rId455"/>
    <p:sldLayoutId id="2147487849" r:id="rId456"/>
    <p:sldLayoutId id="2147487850" r:id="rId457"/>
    <p:sldLayoutId id="2147487851" r:id="rId458"/>
    <p:sldLayoutId id="2147487852" r:id="rId459"/>
    <p:sldLayoutId id="2147487853" r:id="rId460"/>
    <p:sldLayoutId id="2147487854" r:id="rId461"/>
    <p:sldLayoutId id="2147487855" r:id="rId462"/>
    <p:sldLayoutId id="2147487856" r:id="rId463"/>
    <p:sldLayoutId id="2147487857" r:id="rId464"/>
    <p:sldLayoutId id="2147487858" r:id="rId465"/>
    <p:sldLayoutId id="2147487859" r:id="rId466"/>
    <p:sldLayoutId id="2147487860" r:id="rId467"/>
    <p:sldLayoutId id="2147487861" r:id="rId468"/>
    <p:sldLayoutId id="2147487862" r:id="rId469"/>
    <p:sldLayoutId id="2147487864" r:id="rId470"/>
    <p:sldLayoutId id="2147487865" r:id="rId471"/>
    <p:sldLayoutId id="2147487866" r:id="rId472"/>
    <p:sldLayoutId id="2147487867" r:id="rId473"/>
    <p:sldLayoutId id="2147487868" r:id="rId474"/>
    <p:sldLayoutId id="2147487869" r:id="rId475"/>
    <p:sldLayoutId id="2147487870" r:id="rId476"/>
    <p:sldLayoutId id="2147487871" r:id="rId477"/>
    <p:sldLayoutId id="2147487872" r:id="rId478"/>
    <p:sldLayoutId id="2147487873" r:id="rId479"/>
    <p:sldLayoutId id="2147487874" r:id="rId480"/>
    <p:sldLayoutId id="2147487875" r:id="rId481"/>
    <p:sldLayoutId id="2147487876" r:id="rId482"/>
    <p:sldLayoutId id="2147487877" r:id="rId483"/>
    <p:sldLayoutId id="2147487878" r:id="rId484"/>
    <p:sldLayoutId id="2147487879" r:id="rId485"/>
    <p:sldLayoutId id="2147487880" r:id="rId486"/>
    <p:sldLayoutId id="2147487881" r:id="rId487"/>
    <p:sldLayoutId id="2147487882" r:id="rId488"/>
    <p:sldLayoutId id="2147487883" r:id="rId489"/>
    <p:sldLayoutId id="2147487884" r:id="rId490"/>
    <p:sldLayoutId id="2147487885" r:id="rId491"/>
    <p:sldLayoutId id="2147487886" r:id="rId492"/>
    <p:sldLayoutId id="2147487887" r:id="rId493"/>
    <p:sldLayoutId id="2147487888" r:id="rId494"/>
    <p:sldLayoutId id="2147487889" r:id="rId495"/>
    <p:sldLayoutId id="2147487890" r:id="rId496"/>
    <p:sldLayoutId id="2147487891" r:id="rId497"/>
    <p:sldLayoutId id="2147487892" r:id="rId498"/>
    <p:sldLayoutId id="2147487893" r:id="rId499"/>
    <p:sldLayoutId id="2147487894" r:id="rId500"/>
    <p:sldLayoutId id="2147487895" r:id="rId501"/>
    <p:sldLayoutId id="2147487896" r:id="rId502"/>
    <p:sldLayoutId id="2147487897" r:id="rId503"/>
    <p:sldLayoutId id="2147487898" r:id="rId504"/>
    <p:sldLayoutId id="2147487899" r:id="rId505"/>
    <p:sldLayoutId id="2147487900" r:id="rId506"/>
    <p:sldLayoutId id="2147487901" r:id="rId507"/>
    <p:sldLayoutId id="2147487902" r:id="rId508"/>
    <p:sldLayoutId id="2147487903" r:id="rId509"/>
    <p:sldLayoutId id="2147487904" r:id="rId510"/>
    <p:sldLayoutId id="2147487905" r:id="rId511"/>
    <p:sldLayoutId id="2147487906" r:id="rId512"/>
    <p:sldLayoutId id="2147487907" r:id="rId513"/>
    <p:sldLayoutId id="2147487908" r:id="rId514"/>
    <p:sldLayoutId id="2147487909" r:id="rId515"/>
    <p:sldLayoutId id="2147487910" r:id="rId516"/>
    <p:sldLayoutId id="2147487911" r:id="rId517"/>
    <p:sldLayoutId id="2147487912" r:id="rId518"/>
    <p:sldLayoutId id="2147487913" r:id="rId519"/>
    <p:sldLayoutId id="2147487914" r:id="rId520"/>
    <p:sldLayoutId id="2147487915" r:id="rId521"/>
    <p:sldLayoutId id="2147487916" r:id="rId522"/>
    <p:sldLayoutId id="2147487917" r:id="rId523"/>
    <p:sldLayoutId id="2147487918" r:id="rId524"/>
    <p:sldLayoutId id="2147487919" r:id="rId525"/>
    <p:sldLayoutId id="2147487920" r:id="rId526"/>
    <p:sldLayoutId id="2147487921" r:id="rId527"/>
    <p:sldLayoutId id="2147487922" r:id="rId528"/>
    <p:sldLayoutId id="2147487923" r:id="rId529"/>
    <p:sldLayoutId id="2147487924" r:id="rId530"/>
    <p:sldLayoutId id="2147487925" r:id="rId531"/>
    <p:sldLayoutId id="2147487926" r:id="rId532"/>
    <p:sldLayoutId id="2147487927" r:id="rId533"/>
    <p:sldLayoutId id="2147487928" r:id="rId534"/>
    <p:sldLayoutId id="2147487929" r:id="rId535"/>
    <p:sldLayoutId id="2147487930" r:id="rId536"/>
    <p:sldLayoutId id="2147487931" r:id="rId537"/>
    <p:sldLayoutId id="2147487932" r:id="rId538"/>
    <p:sldLayoutId id="2147487933" r:id="rId539"/>
    <p:sldLayoutId id="2147487934" r:id="rId540"/>
    <p:sldLayoutId id="2147487935" r:id="rId541"/>
    <p:sldLayoutId id="2147487936" r:id="rId542"/>
    <p:sldLayoutId id="2147487937" r:id="rId543"/>
    <p:sldLayoutId id="2147487938" r:id="rId544"/>
    <p:sldLayoutId id="2147487939" r:id="rId545"/>
    <p:sldLayoutId id="2147487940" r:id="rId546"/>
    <p:sldLayoutId id="2147487941" r:id="rId547"/>
    <p:sldLayoutId id="2147487942" r:id="rId548"/>
    <p:sldLayoutId id="2147487943" r:id="rId549"/>
    <p:sldLayoutId id="2147487944" r:id="rId550"/>
    <p:sldLayoutId id="2147487945" r:id="rId551"/>
    <p:sldLayoutId id="2147487946" r:id="rId552"/>
    <p:sldLayoutId id="2147487947" r:id="rId553"/>
    <p:sldLayoutId id="2147487948" r:id="rId554"/>
    <p:sldLayoutId id="2147487949" r:id="rId555"/>
    <p:sldLayoutId id="2147487950" r:id="rId556"/>
    <p:sldLayoutId id="2147487951" r:id="rId557"/>
    <p:sldLayoutId id="2147487952" r:id="rId558"/>
    <p:sldLayoutId id="2147487953" r:id="rId559"/>
    <p:sldLayoutId id="2147487954" r:id="rId560"/>
    <p:sldLayoutId id="2147487955" r:id="rId561"/>
    <p:sldLayoutId id="2147487956" r:id="rId562"/>
    <p:sldLayoutId id="2147487957" r:id="rId563"/>
    <p:sldLayoutId id="2147487958" r:id="rId564"/>
    <p:sldLayoutId id="2147487959" r:id="rId565"/>
    <p:sldLayoutId id="2147487960" r:id="rId566"/>
    <p:sldLayoutId id="2147487961" r:id="rId567"/>
    <p:sldLayoutId id="2147487962" r:id="rId568"/>
    <p:sldLayoutId id="2147487963" r:id="rId569"/>
    <p:sldLayoutId id="2147487964" r:id="rId570"/>
    <p:sldLayoutId id="2147487965" r:id="rId571"/>
    <p:sldLayoutId id="2147487966" r:id="rId572"/>
    <p:sldLayoutId id="2147487967" r:id="rId573"/>
    <p:sldLayoutId id="2147487968" r:id="rId574"/>
    <p:sldLayoutId id="2147487969" r:id="rId575"/>
    <p:sldLayoutId id="2147487970" r:id="rId576"/>
    <p:sldLayoutId id="2147487971" r:id="rId577"/>
    <p:sldLayoutId id="2147487972" r:id="rId578"/>
    <p:sldLayoutId id="2147487973" r:id="rId579"/>
    <p:sldLayoutId id="2147487974" r:id="rId580"/>
    <p:sldLayoutId id="2147487975" r:id="rId581"/>
    <p:sldLayoutId id="2147487976" r:id="rId582"/>
    <p:sldLayoutId id="2147487977" r:id="rId583"/>
    <p:sldLayoutId id="2147487978" r:id="rId584"/>
    <p:sldLayoutId id="2147487979" r:id="rId585"/>
    <p:sldLayoutId id="2147487980" r:id="rId586"/>
    <p:sldLayoutId id="2147487981" r:id="rId587"/>
    <p:sldLayoutId id="2147487982" r:id="rId588"/>
    <p:sldLayoutId id="2147487983" r:id="rId589"/>
    <p:sldLayoutId id="2147487984" r:id="rId590"/>
    <p:sldLayoutId id="2147487985" r:id="rId591"/>
    <p:sldLayoutId id="2147487986" r:id="rId592"/>
    <p:sldLayoutId id="2147487987" r:id="rId593"/>
    <p:sldLayoutId id="2147487988" r:id="rId594"/>
    <p:sldLayoutId id="2147487989" r:id="rId595"/>
    <p:sldLayoutId id="2147487990" r:id="rId596"/>
    <p:sldLayoutId id="2147487991" r:id="rId597"/>
    <p:sldLayoutId id="2147487992" r:id="rId598"/>
    <p:sldLayoutId id="2147487993" r:id="rId599"/>
    <p:sldLayoutId id="2147487994" r:id="rId600"/>
    <p:sldLayoutId id="2147487995" r:id="rId601"/>
    <p:sldLayoutId id="2147487996" r:id="rId602"/>
    <p:sldLayoutId id="2147487997" r:id="rId603"/>
    <p:sldLayoutId id="2147487998" r:id="rId604"/>
    <p:sldLayoutId id="2147487999" r:id="rId605"/>
    <p:sldLayoutId id="2147488000" r:id="rId606"/>
    <p:sldLayoutId id="2147488001" r:id="rId607"/>
    <p:sldLayoutId id="2147488002" r:id="rId608"/>
    <p:sldLayoutId id="2147488003" r:id="rId609"/>
    <p:sldLayoutId id="2147488004" r:id="rId610"/>
    <p:sldLayoutId id="2147488005" r:id="rId611"/>
    <p:sldLayoutId id="2147488006" r:id="rId612"/>
    <p:sldLayoutId id="2147488007" r:id="rId613"/>
    <p:sldLayoutId id="2147488008" r:id="rId614"/>
    <p:sldLayoutId id="2147488009" r:id="rId615"/>
    <p:sldLayoutId id="2147488010" r:id="rId616"/>
    <p:sldLayoutId id="2147488011" r:id="rId617"/>
    <p:sldLayoutId id="2147488012" r:id="rId618"/>
    <p:sldLayoutId id="2147488013" r:id="rId619"/>
    <p:sldLayoutId id="2147488014" r:id="rId620"/>
    <p:sldLayoutId id="2147488015" r:id="rId621"/>
    <p:sldLayoutId id="2147488016" r:id="rId622"/>
    <p:sldLayoutId id="2147488017" r:id="rId623"/>
    <p:sldLayoutId id="2147488018" r:id="rId624"/>
    <p:sldLayoutId id="2147488019" r:id="rId625"/>
    <p:sldLayoutId id="2147488020" r:id="rId626"/>
    <p:sldLayoutId id="2147488021" r:id="rId627"/>
    <p:sldLayoutId id="2147488022" r:id="rId628"/>
    <p:sldLayoutId id="2147488023" r:id="rId629"/>
    <p:sldLayoutId id="2147488024" r:id="rId630"/>
    <p:sldLayoutId id="2147488025" r:id="rId631"/>
    <p:sldLayoutId id="2147488026" r:id="rId632"/>
    <p:sldLayoutId id="2147488027" r:id="rId633"/>
    <p:sldLayoutId id="2147488028" r:id="rId634"/>
    <p:sldLayoutId id="2147488029" r:id="rId635"/>
    <p:sldLayoutId id="2147488030" r:id="rId636"/>
    <p:sldLayoutId id="2147488031" r:id="rId637"/>
    <p:sldLayoutId id="2147488032" r:id="rId638"/>
    <p:sldLayoutId id="2147488033" r:id="rId639"/>
    <p:sldLayoutId id="2147488034" r:id="rId640"/>
    <p:sldLayoutId id="2147488035" r:id="rId641"/>
    <p:sldLayoutId id="2147488036" r:id="rId642"/>
    <p:sldLayoutId id="2147488037" r:id="rId643"/>
    <p:sldLayoutId id="2147488038" r:id="rId644"/>
    <p:sldLayoutId id="2147488039" r:id="rId645"/>
    <p:sldLayoutId id="2147488040" r:id="rId646"/>
    <p:sldLayoutId id="2147488041" r:id="rId647"/>
    <p:sldLayoutId id="2147488042" r:id="rId648"/>
    <p:sldLayoutId id="2147488043" r:id="rId649"/>
    <p:sldLayoutId id="2147488044" r:id="rId650"/>
    <p:sldLayoutId id="2147488045" r:id="rId651"/>
    <p:sldLayoutId id="2147488046" r:id="rId652"/>
    <p:sldLayoutId id="2147488047" r:id="rId653"/>
    <p:sldLayoutId id="2147488048" r:id="rId654"/>
    <p:sldLayoutId id="2147488049" r:id="rId655"/>
    <p:sldLayoutId id="2147488050" r:id="rId656"/>
    <p:sldLayoutId id="2147488051" r:id="rId657"/>
    <p:sldLayoutId id="2147488052" r:id="rId658"/>
    <p:sldLayoutId id="2147488053" r:id="rId659"/>
    <p:sldLayoutId id="2147488054" r:id="rId660"/>
    <p:sldLayoutId id="2147488055" r:id="rId661"/>
    <p:sldLayoutId id="2147488056" r:id="rId662"/>
    <p:sldLayoutId id="2147488057" r:id="rId663"/>
    <p:sldLayoutId id="2147488058" r:id="rId664"/>
    <p:sldLayoutId id="2147488059" r:id="rId665"/>
    <p:sldLayoutId id="2147488060" r:id="rId666"/>
    <p:sldLayoutId id="2147488061" r:id="rId667"/>
    <p:sldLayoutId id="2147488062" r:id="rId668"/>
    <p:sldLayoutId id="2147488063" r:id="rId669"/>
    <p:sldLayoutId id="2147488064" r:id="rId670"/>
    <p:sldLayoutId id="2147488065" r:id="rId671"/>
    <p:sldLayoutId id="2147488066" r:id="rId672"/>
    <p:sldLayoutId id="2147488067" r:id="rId673"/>
    <p:sldLayoutId id="2147488068" r:id="rId674"/>
    <p:sldLayoutId id="2147488069" r:id="rId675"/>
    <p:sldLayoutId id="2147488070" r:id="rId676"/>
    <p:sldLayoutId id="2147488071" r:id="rId677"/>
    <p:sldLayoutId id="2147488072" r:id="rId678"/>
    <p:sldLayoutId id="2147488073" r:id="rId679"/>
    <p:sldLayoutId id="2147488074" r:id="rId680"/>
    <p:sldLayoutId id="2147488075" r:id="rId681"/>
    <p:sldLayoutId id="2147488076" r:id="rId682"/>
    <p:sldLayoutId id="2147488077" r:id="rId683"/>
    <p:sldLayoutId id="2147488078" r:id="rId684"/>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385.xml"/></Relationships>
</file>

<file path=ppt/slides/_rels/slide10.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6.xml"/><Relationship Id="rId1" Type="http://schemas.openxmlformats.org/officeDocument/2006/relationships/slideLayout" Target="../slideLayouts/slideLayout26.xml"/><Relationship Id="rId5" Type="http://schemas.openxmlformats.org/officeDocument/2006/relationships/image" Target="../media/image111.png"/><Relationship Id="rId4" Type="http://schemas.openxmlformats.org/officeDocument/2006/relationships/image" Target="../media/image110.png"/></Relationships>
</file>

<file path=ppt/slides/_rels/slide11.xml.rels><?xml version="1.0" encoding="UTF-8" standalone="yes"?>
<Relationships xmlns="http://schemas.openxmlformats.org/package/2006/relationships"><Relationship Id="rId3" Type="http://schemas.openxmlformats.org/officeDocument/2006/relationships/image" Target="../media/image112.emf"/><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11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9.xml"/><Relationship Id="rId1" Type="http://schemas.openxmlformats.org/officeDocument/2006/relationships/slideLayout" Target="../slideLayouts/slideLayout895.xml"/></Relationships>
</file>

<file path=ppt/slides/_rels/slide16.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895.xml"/></Relationships>
</file>

<file path=ppt/slides/_rels/slide1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0.xml"/><Relationship Id="rId1" Type="http://schemas.openxmlformats.org/officeDocument/2006/relationships/slideLayout" Target="../slideLayouts/slideLayout391.xml"/></Relationships>
</file>

<file path=ppt/slides/_rels/slide18.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1.xml"/><Relationship Id="rId1" Type="http://schemas.openxmlformats.org/officeDocument/2006/relationships/slideLayout" Target="../slideLayouts/slideLayout895.xml"/></Relationships>
</file>

<file path=ppt/slides/_rels/slide19.xml.rels><?xml version="1.0" encoding="UTF-8" standalone="yes"?>
<Relationships xmlns="http://schemas.openxmlformats.org/package/2006/relationships"><Relationship Id="rId8" Type="http://schemas.openxmlformats.org/officeDocument/2006/relationships/image" Target="../media/image129.svg"/><Relationship Id="rId3" Type="http://schemas.openxmlformats.org/officeDocument/2006/relationships/image" Target="../media/image124.png"/><Relationship Id="rId7" Type="http://schemas.openxmlformats.org/officeDocument/2006/relationships/image" Target="../media/image128.png"/><Relationship Id="rId12" Type="http://schemas.openxmlformats.org/officeDocument/2006/relationships/image" Target="../media/image133.svg"/><Relationship Id="rId2" Type="http://schemas.openxmlformats.org/officeDocument/2006/relationships/notesSlide" Target="../notesSlides/notesSlide12.xml"/><Relationship Id="rId1" Type="http://schemas.openxmlformats.org/officeDocument/2006/relationships/slideLayout" Target="../slideLayouts/slideLayout895.xml"/><Relationship Id="rId6" Type="http://schemas.openxmlformats.org/officeDocument/2006/relationships/image" Target="../media/image127.svg"/><Relationship Id="rId11" Type="http://schemas.openxmlformats.org/officeDocument/2006/relationships/image" Target="../media/image132.png"/><Relationship Id="rId5" Type="http://schemas.openxmlformats.org/officeDocument/2006/relationships/image" Target="../media/image126.png"/><Relationship Id="rId10" Type="http://schemas.openxmlformats.org/officeDocument/2006/relationships/image" Target="../media/image131.svg"/><Relationship Id="rId4" Type="http://schemas.openxmlformats.org/officeDocument/2006/relationships/image" Target="../media/image125.svg"/><Relationship Id="rId9" Type="http://schemas.openxmlformats.org/officeDocument/2006/relationships/image" Target="../media/image13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5.xml"/></Relationships>
</file>

<file path=ppt/slides/_rels/slide20.xml.rels><?xml version="1.0" encoding="UTF-8" standalone="yes"?>
<Relationships xmlns="http://schemas.openxmlformats.org/package/2006/relationships"><Relationship Id="rId2" Type="http://schemas.openxmlformats.org/officeDocument/2006/relationships/image" Target="../media/image134.jpeg"/><Relationship Id="rId1" Type="http://schemas.openxmlformats.org/officeDocument/2006/relationships/slideLayout" Target="../slideLayouts/slideLayout276.xml"/></Relationships>
</file>

<file path=ppt/slides/_rels/slide21.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13.xml"/><Relationship Id="rId1" Type="http://schemas.openxmlformats.org/officeDocument/2006/relationships/slideLayout" Target="../slideLayouts/slideLayout696.xml"/></Relationships>
</file>

<file path=ppt/slides/_rels/slide22.xml.rels><?xml version="1.0" encoding="UTF-8" standalone="yes"?>
<Relationships xmlns="http://schemas.openxmlformats.org/package/2006/relationships"><Relationship Id="rId8" Type="http://schemas.openxmlformats.org/officeDocument/2006/relationships/image" Target="../media/image141.svg"/><Relationship Id="rId3" Type="http://schemas.openxmlformats.org/officeDocument/2006/relationships/image" Target="../media/image136.png"/><Relationship Id="rId7" Type="http://schemas.openxmlformats.org/officeDocument/2006/relationships/image" Target="../media/image140.png"/><Relationship Id="rId2" Type="http://schemas.openxmlformats.org/officeDocument/2006/relationships/notesSlide" Target="../notesSlides/notesSlide14.xml"/><Relationship Id="rId1" Type="http://schemas.openxmlformats.org/officeDocument/2006/relationships/slideLayout" Target="../slideLayouts/slideLayout465.xml"/><Relationship Id="rId6" Type="http://schemas.openxmlformats.org/officeDocument/2006/relationships/image" Target="../media/image139.svg"/><Relationship Id="rId5" Type="http://schemas.openxmlformats.org/officeDocument/2006/relationships/image" Target="../media/image138.png"/><Relationship Id="rId4" Type="http://schemas.openxmlformats.org/officeDocument/2006/relationships/image" Target="../media/image137.svg"/><Relationship Id="rId9" Type="http://schemas.openxmlformats.org/officeDocument/2006/relationships/image" Target="../media/image111.png"/></Relationships>
</file>

<file path=ppt/slides/_rels/slide23.xml.rels><?xml version="1.0" encoding="UTF-8" standalone="yes"?>
<Relationships xmlns="http://schemas.openxmlformats.org/package/2006/relationships"><Relationship Id="rId8" Type="http://schemas.openxmlformats.org/officeDocument/2006/relationships/image" Target="../media/image147.svg"/><Relationship Id="rId3" Type="http://schemas.openxmlformats.org/officeDocument/2006/relationships/image" Target="../media/image142.png"/><Relationship Id="rId7" Type="http://schemas.openxmlformats.org/officeDocument/2006/relationships/image" Target="../media/image146.png"/><Relationship Id="rId12" Type="http://schemas.openxmlformats.org/officeDocument/2006/relationships/image" Target="../media/image151.sv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145.svg"/><Relationship Id="rId11" Type="http://schemas.openxmlformats.org/officeDocument/2006/relationships/image" Target="../media/image150.png"/><Relationship Id="rId5" Type="http://schemas.openxmlformats.org/officeDocument/2006/relationships/image" Target="../media/image144.png"/><Relationship Id="rId10" Type="http://schemas.openxmlformats.org/officeDocument/2006/relationships/image" Target="../media/image149.svg"/><Relationship Id="rId4" Type="http://schemas.openxmlformats.org/officeDocument/2006/relationships/image" Target="../media/image143.svg"/><Relationship Id="rId9" Type="http://schemas.openxmlformats.org/officeDocument/2006/relationships/image" Target="../media/image148.png"/></Relationships>
</file>

<file path=ppt/slides/_rels/slide24.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111.png"/><Relationship Id="rId4" Type="http://schemas.openxmlformats.org/officeDocument/2006/relationships/image" Target="../media/image153.svg"/></Relationships>
</file>

<file path=ppt/slides/_rels/slide25.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7.xml"/><Relationship Id="rId1" Type="http://schemas.openxmlformats.org/officeDocument/2006/relationships/slideLayout" Target="../slideLayouts/slideLayout5.xml"/><Relationship Id="rId5" Type="http://schemas.openxmlformats.org/officeDocument/2006/relationships/image" Target="../media/image111.png"/><Relationship Id="rId4" Type="http://schemas.openxmlformats.org/officeDocument/2006/relationships/image" Target="../media/image153.svg"/></Relationships>
</file>

<file path=ppt/slides/_rels/slide26.xml.rels><?xml version="1.0" encoding="UTF-8" standalone="yes"?>
<Relationships xmlns="http://schemas.openxmlformats.org/package/2006/relationships"><Relationship Id="rId2" Type="http://schemas.openxmlformats.org/officeDocument/2006/relationships/image" Target="../media/image154.jpeg"/><Relationship Id="rId1" Type="http://schemas.openxmlformats.org/officeDocument/2006/relationships/slideLayout" Target="../slideLayouts/slideLayout276.xml"/></Relationships>
</file>

<file path=ppt/slides/_rels/slide27.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8.xml"/><Relationship Id="rId1" Type="http://schemas.openxmlformats.org/officeDocument/2006/relationships/slideLayout" Target="../slideLayouts/slideLayout688.xml"/><Relationship Id="rId4" Type="http://schemas.openxmlformats.org/officeDocument/2006/relationships/image" Target="../media/image156.sv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8" Type="http://schemas.openxmlformats.org/officeDocument/2006/relationships/image" Target="../media/image155.png"/><Relationship Id="rId13" Type="http://schemas.openxmlformats.org/officeDocument/2006/relationships/image" Target="../media/image166.png"/><Relationship Id="rId18" Type="http://schemas.openxmlformats.org/officeDocument/2006/relationships/image" Target="../media/image171.png"/><Relationship Id="rId3" Type="http://schemas.openxmlformats.org/officeDocument/2006/relationships/image" Target="../media/image158.svg"/><Relationship Id="rId21" Type="http://schemas.openxmlformats.org/officeDocument/2006/relationships/image" Target="../media/image174.svg"/><Relationship Id="rId7" Type="http://schemas.openxmlformats.org/officeDocument/2006/relationships/image" Target="../media/image162.svg"/><Relationship Id="rId12" Type="http://schemas.openxmlformats.org/officeDocument/2006/relationships/image" Target="../media/image165.svg"/><Relationship Id="rId17" Type="http://schemas.openxmlformats.org/officeDocument/2006/relationships/image" Target="../media/image170.svg"/><Relationship Id="rId2" Type="http://schemas.openxmlformats.org/officeDocument/2006/relationships/image" Target="../media/image157.png"/><Relationship Id="rId16" Type="http://schemas.openxmlformats.org/officeDocument/2006/relationships/image" Target="../media/image169.png"/><Relationship Id="rId20" Type="http://schemas.openxmlformats.org/officeDocument/2006/relationships/image" Target="../media/image173.png"/><Relationship Id="rId1" Type="http://schemas.openxmlformats.org/officeDocument/2006/relationships/slideLayout" Target="../slideLayouts/slideLayout688.xml"/><Relationship Id="rId6" Type="http://schemas.openxmlformats.org/officeDocument/2006/relationships/image" Target="../media/image161.png"/><Relationship Id="rId11" Type="http://schemas.openxmlformats.org/officeDocument/2006/relationships/image" Target="../media/image164.png"/><Relationship Id="rId5" Type="http://schemas.openxmlformats.org/officeDocument/2006/relationships/image" Target="../media/image160.svg"/><Relationship Id="rId15" Type="http://schemas.openxmlformats.org/officeDocument/2006/relationships/image" Target="../media/image168.svg"/><Relationship Id="rId10" Type="http://schemas.openxmlformats.org/officeDocument/2006/relationships/image" Target="../media/image163.png"/><Relationship Id="rId19" Type="http://schemas.openxmlformats.org/officeDocument/2006/relationships/image" Target="../media/image172.svg"/><Relationship Id="rId4" Type="http://schemas.openxmlformats.org/officeDocument/2006/relationships/image" Target="../media/image159.png"/><Relationship Id="rId9" Type="http://schemas.openxmlformats.org/officeDocument/2006/relationships/image" Target="../media/image156.svg"/><Relationship Id="rId14" Type="http://schemas.openxmlformats.org/officeDocument/2006/relationships/image" Target="../media/image16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155.png"/><Relationship Id="rId13" Type="http://schemas.openxmlformats.org/officeDocument/2006/relationships/image" Target="../media/image177.png"/><Relationship Id="rId18" Type="http://schemas.openxmlformats.org/officeDocument/2006/relationships/image" Target="../media/image182.png"/><Relationship Id="rId26" Type="http://schemas.openxmlformats.org/officeDocument/2006/relationships/image" Target="../media/image190.png"/><Relationship Id="rId3" Type="http://schemas.openxmlformats.org/officeDocument/2006/relationships/image" Target="../media/image158.svg"/><Relationship Id="rId21" Type="http://schemas.openxmlformats.org/officeDocument/2006/relationships/image" Target="../media/image185.svg"/><Relationship Id="rId7" Type="http://schemas.openxmlformats.org/officeDocument/2006/relationships/image" Target="../media/image162.svg"/><Relationship Id="rId12" Type="http://schemas.openxmlformats.org/officeDocument/2006/relationships/image" Target="../media/image176.svg"/><Relationship Id="rId17" Type="http://schemas.openxmlformats.org/officeDocument/2006/relationships/image" Target="../media/image181.svg"/><Relationship Id="rId25" Type="http://schemas.openxmlformats.org/officeDocument/2006/relationships/image" Target="../media/image189.svg"/><Relationship Id="rId2" Type="http://schemas.openxmlformats.org/officeDocument/2006/relationships/image" Target="../media/image157.png"/><Relationship Id="rId16" Type="http://schemas.openxmlformats.org/officeDocument/2006/relationships/image" Target="../media/image180.png"/><Relationship Id="rId20" Type="http://schemas.openxmlformats.org/officeDocument/2006/relationships/image" Target="../media/image184.png"/><Relationship Id="rId29" Type="http://schemas.openxmlformats.org/officeDocument/2006/relationships/image" Target="../media/image193.svg"/><Relationship Id="rId1" Type="http://schemas.openxmlformats.org/officeDocument/2006/relationships/slideLayout" Target="../slideLayouts/slideLayout688.xml"/><Relationship Id="rId6" Type="http://schemas.openxmlformats.org/officeDocument/2006/relationships/image" Target="../media/image161.png"/><Relationship Id="rId11" Type="http://schemas.openxmlformats.org/officeDocument/2006/relationships/image" Target="../media/image175.png"/><Relationship Id="rId24" Type="http://schemas.openxmlformats.org/officeDocument/2006/relationships/image" Target="../media/image188.png"/><Relationship Id="rId5" Type="http://schemas.openxmlformats.org/officeDocument/2006/relationships/image" Target="../media/image160.svg"/><Relationship Id="rId15" Type="http://schemas.openxmlformats.org/officeDocument/2006/relationships/image" Target="../media/image179.svg"/><Relationship Id="rId23" Type="http://schemas.openxmlformats.org/officeDocument/2006/relationships/image" Target="../media/image187.svg"/><Relationship Id="rId28" Type="http://schemas.openxmlformats.org/officeDocument/2006/relationships/image" Target="../media/image192.png"/><Relationship Id="rId10" Type="http://schemas.openxmlformats.org/officeDocument/2006/relationships/image" Target="../media/image163.png"/><Relationship Id="rId19" Type="http://schemas.openxmlformats.org/officeDocument/2006/relationships/image" Target="../media/image183.svg"/><Relationship Id="rId4" Type="http://schemas.openxmlformats.org/officeDocument/2006/relationships/image" Target="../media/image159.png"/><Relationship Id="rId9" Type="http://schemas.openxmlformats.org/officeDocument/2006/relationships/image" Target="../media/image156.svg"/><Relationship Id="rId14" Type="http://schemas.openxmlformats.org/officeDocument/2006/relationships/image" Target="../media/image178.png"/><Relationship Id="rId22" Type="http://schemas.openxmlformats.org/officeDocument/2006/relationships/image" Target="../media/image186.png"/><Relationship Id="rId27" Type="http://schemas.openxmlformats.org/officeDocument/2006/relationships/image" Target="../media/image191.svg"/></Relationships>
</file>

<file path=ppt/slides/_rels/slide31.xml.rels><?xml version="1.0" encoding="UTF-8" standalone="yes"?>
<Relationships xmlns="http://schemas.openxmlformats.org/package/2006/relationships"><Relationship Id="rId8" Type="http://schemas.openxmlformats.org/officeDocument/2006/relationships/image" Target="../media/image155.png"/><Relationship Id="rId13" Type="http://schemas.openxmlformats.org/officeDocument/2006/relationships/image" Target="../media/image196.png"/><Relationship Id="rId18" Type="http://schemas.openxmlformats.org/officeDocument/2006/relationships/image" Target="../media/image201.png"/><Relationship Id="rId3" Type="http://schemas.openxmlformats.org/officeDocument/2006/relationships/image" Target="../media/image158.svg"/><Relationship Id="rId21" Type="http://schemas.openxmlformats.org/officeDocument/2006/relationships/image" Target="../media/image204.svg"/><Relationship Id="rId7" Type="http://schemas.openxmlformats.org/officeDocument/2006/relationships/image" Target="../media/image162.svg"/><Relationship Id="rId12" Type="http://schemas.openxmlformats.org/officeDocument/2006/relationships/image" Target="../media/image195.svg"/><Relationship Id="rId17" Type="http://schemas.openxmlformats.org/officeDocument/2006/relationships/image" Target="../media/image200.png"/><Relationship Id="rId2" Type="http://schemas.openxmlformats.org/officeDocument/2006/relationships/image" Target="../media/image157.png"/><Relationship Id="rId16" Type="http://schemas.openxmlformats.org/officeDocument/2006/relationships/image" Target="../media/image199.svg"/><Relationship Id="rId20" Type="http://schemas.openxmlformats.org/officeDocument/2006/relationships/image" Target="../media/image203.png"/><Relationship Id="rId1" Type="http://schemas.openxmlformats.org/officeDocument/2006/relationships/slideLayout" Target="../slideLayouts/slideLayout688.xml"/><Relationship Id="rId6" Type="http://schemas.openxmlformats.org/officeDocument/2006/relationships/image" Target="../media/image161.png"/><Relationship Id="rId11" Type="http://schemas.openxmlformats.org/officeDocument/2006/relationships/image" Target="../media/image194.png"/><Relationship Id="rId24" Type="http://schemas.openxmlformats.org/officeDocument/2006/relationships/image" Target="../media/image207.png"/><Relationship Id="rId5" Type="http://schemas.openxmlformats.org/officeDocument/2006/relationships/image" Target="../media/image160.svg"/><Relationship Id="rId15" Type="http://schemas.openxmlformats.org/officeDocument/2006/relationships/image" Target="../media/image198.png"/><Relationship Id="rId23" Type="http://schemas.openxmlformats.org/officeDocument/2006/relationships/image" Target="../media/image206.svg"/><Relationship Id="rId10" Type="http://schemas.openxmlformats.org/officeDocument/2006/relationships/image" Target="../media/image163.png"/><Relationship Id="rId19" Type="http://schemas.openxmlformats.org/officeDocument/2006/relationships/image" Target="../media/image202.svg"/><Relationship Id="rId4" Type="http://schemas.openxmlformats.org/officeDocument/2006/relationships/image" Target="../media/image159.png"/><Relationship Id="rId9" Type="http://schemas.openxmlformats.org/officeDocument/2006/relationships/image" Target="../media/image156.svg"/><Relationship Id="rId14" Type="http://schemas.openxmlformats.org/officeDocument/2006/relationships/image" Target="../media/image197.svg"/><Relationship Id="rId22" Type="http://schemas.openxmlformats.org/officeDocument/2006/relationships/image" Target="../media/image205.png"/></Relationships>
</file>

<file path=ppt/slides/_rels/slide32.xml.rels><?xml version="1.0" encoding="UTF-8" standalone="yes"?>
<Relationships xmlns="http://schemas.openxmlformats.org/package/2006/relationships"><Relationship Id="rId8" Type="http://schemas.openxmlformats.org/officeDocument/2006/relationships/image" Target="../media/image162.svg"/><Relationship Id="rId13" Type="http://schemas.openxmlformats.org/officeDocument/2006/relationships/image" Target="../media/image209.svg"/><Relationship Id="rId18" Type="http://schemas.openxmlformats.org/officeDocument/2006/relationships/image" Target="../media/image200.png"/><Relationship Id="rId3" Type="http://schemas.openxmlformats.org/officeDocument/2006/relationships/image" Target="../media/image157.png"/><Relationship Id="rId7" Type="http://schemas.openxmlformats.org/officeDocument/2006/relationships/image" Target="../media/image161.png"/><Relationship Id="rId12" Type="http://schemas.openxmlformats.org/officeDocument/2006/relationships/image" Target="../media/image208.png"/><Relationship Id="rId17" Type="http://schemas.openxmlformats.org/officeDocument/2006/relationships/image" Target="../media/image213.png"/><Relationship Id="rId2" Type="http://schemas.openxmlformats.org/officeDocument/2006/relationships/notesSlide" Target="../notesSlides/notesSlide20.xml"/><Relationship Id="rId16" Type="http://schemas.openxmlformats.org/officeDocument/2006/relationships/image" Target="../media/image212.svg"/><Relationship Id="rId1" Type="http://schemas.openxmlformats.org/officeDocument/2006/relationships/slideLayout" Target="../slideLayouts/slideLayout688.xml"/><Relationship Id="rId6" Type="http://schemas.openxmlformats.org/officeDocument/2006/relationships/image" Target="../media/image160.svg"/><Relationship Id="rId11" Type="http://schemas.openxmlformats.org/officeDocument/2006/relationships/image" Target="../media/image163.png"/><Relationship Id="rId5" Type="http://schemas.openxmlformats.org/officeDocument/2006/relationships/image" Target="../media/image159.png"/><Relationship Id="rId15" Type="http://schemas.openxmlformats.org/officeDocument/2006/relationships/image" Target="../media/image211.png"/><Relationship Id="rId10" Type="http://schemas.openxmlformats.org/officeDocument/2006/relationships/image" Target="../media/image156.svg"/><Relationship Id="rId4" Type="http://schemas.openxmlformats.org/officeDocument/2006/relationships/image" Target="../media/image158.svg"/><Relationship Id="rId9" Type="http://schemas.openxmlformats.org/officeDocument/2006/relationships/image" Target="../media/image155.png"/><Relationship Id="rId14" Type="http://schemas.openxmlformats.org/officeDocument/2006/relationships/image" Target="../media/image210.png"/></Relationships>
</file>

<file path=ppt/slides/_rels/slide33.xml.rels><?xml version="1.0" encoding="UTF-8" standalone="yes"?>
<Relationships xmlns="http://schemas.openxmlformats.org/package/2006/relationships"><Relationship Id="rId8" Type="http://schemas.openxmlformats.org/officeDocument/2006/relationships/image" Target="../media/image155.png"/><Relationship Id="rId13" Type="http://schemas.openxmlformats.org/officeDocument/2006/relationships/image" Target="../media/image220.png"/><Relationship Id="rId3" Type="http://schemas.openxmlformats.org/officeDocument/2006/relationships/image" Target="../media/image214.svg"/><Relationship Id="rId7" Type="http://schemas.openxmlformats.org/officeDocument/2006/relationships/image" Target="../media/image216.svg"/><Relationship Id="rId12" Type="http://schemas.openxmlformats.org/officeDocument/2006/relationships/image" Target="../media/image219.svg"/><Relationship Id="rId17" Type="http://schemas.openxmlformats.org/officeDocument/2006/relationships/image" Target="../media/image224.svg"/><Relationship Id="rId2" Type="http://schemas.openxmlformats.org/officeDocument/2006/relationships/image" Target="../media/image157.png"/><Relationship Id="rId16" Type="http://schemas.openxmlformats.org/officeDocument/2006/relationships/image" Target="../media/image223.png"/><Relationship Id="rId1" Type="http://schemas.openxmlformats.org/officeDocument/2006/relationships/slideLayout" Target="../slideLayouts/slideLayout688.xml"/><Relationship Id="rId6" Type="http://schemas.openxmlformats.org/officeDocument/2006/relationships/image" Target="../media/image161.png"/><Relationship Id="rId11" Type="http://schemas.openxmlformats.org/officeDocument/2006/relationships/image" Target="../media/image218.png"/><Relationship Id="rId5" Type="http://schemas.openxmlformats.org/officeDocument/2006/relationships/image" Target="../media/image215.svg"/><Relationship Id="rId15" Type="http://schemas.openxmlformats.org/officeDocument/2006/relationships/image" Target="../media/image222.svg"/><Relationship Id="rId10" Type="http://schemas.openxmlformats.org/officeDocument/2006/relationships/image" Target="../media/image163.png"/><Relationship Id="rId4" Type="http://schemas.openxmlformats.org/officeDocument/2006/relationships/image" Target="../media/image159.png"/><Relationship Id="rId9" Type="http://schemas.openxmlformats.org/officeDocument/2006/relationships/image" Target="../media/image217.svg"/><Relationship Id="rId14" Type="http://schemas.openxmlformats.org/officeDocument/2006/relationships/image" Target="../media/image221.png"/></Relationships>
</file>

<file path=ppt/slides/_rels/slide34.xml.rels><?xml version="1.0" encoding="UTF-8" standalone="yes"?>
<Relationships xmlns="http://schemas.openxmlformats.org/package/2006/relationships"><Relationship Id="rId8" Type="http://schemas.openxmlformats.org/officeDocument/2006/relationships/image" Target="../media/image164.png"/><Relationship Id="rId13" Type="http://schemas.openxmlformats.org/officeDocument/2006/relationships/image" Target="../media/image232.svg"/><Relationship Id="rId3" Type="http://schemas.microsoft.com/office/2018/10/relationships/comments" Target="../comments/modernComment_2E1_440EB12B.xml"/><Relationship Id="rId7" Type="http://schemas.openxmlformats.org/officeDocument/2006/relationships/image" Target="../media/image227.svg"/><Relationship Id="rId12" Type="http://schemas.openxmlformats.org/officeDocument/2006/relationships/image" Target="../media/image231.png"/><Relationship Id="rId2" Type="http://schemas.openxmlformats.org/officeDocument/2006/relationships/notesSlide" Target="../notesSlides/notesSlide21.xml"/><Relationship Id="rId16" Type="http://schemas.openxmlformats.org/officeDocument/2006/relationships/image" Target="../media/image235.png"/><Relationship Id="rId1" Type="http://schemas.openxmlformats.org/officeDocument/2006/relationships/slideLayout" Target="../slideLayouts/slideLayout688.xml"/><Relationship Id="rId6" Type="http://schemas.openxmlformats.org/officeDocument/2006/relationships/image" Target="../media/image175.png"/><Relationship Id="rId11" Type="http://schemas.openxmlformats.org/officeDocument/2006/relationships/image" Target="../media/image230.svg"/><Relationship Id="rId5" Type="http://schemas.openxmlformats.org/officeDocument/2006/relationships/image" Target="../media/image226.svg"/><Relationship Id="rId15" Type="http://schemas.openxmlformats.org/officeDocument/2006/relationships/image" Target="../media/image234.svg"/><Relationship Id="rId10" Type="http://schemas.openxmlformats.org/officeDocument/2006/relationships/image" Target="../media/image229.png"/><Relationship Id="rId4" Type="http://schemas.openxmlformats.org/officeDocument/2006/relationships/image" Target="../media/image225.png"/><Relationship Id="rId9" Type="http://schemas.openxmlformats.org/officeDocument/2006/relationships/image" Target="../media/image228.svg"/><Relationship Id="rId14" Type="http://schemas.openxmlformats.org/officeDocument/2006/relationships/image" Target="../media/image233.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236.pn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237.png"/><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95.emf"/><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27.xml"/><Relationship Id="rId1" Type="http://schemas.openxmlformats.org/officeDocument/2006/relationships/slideLayout" Target="../slideLayouts/slideLayout5.xml"/><Relationship Id="rId4" Type="http://schemas.openxmlformats.org/officeDocument/2006/relationships/image" Target="../media/image241.png"/></Relationships>
</file>

<file path=ppt/slides/_rels/slide42.xml.rels><?xml version="1.0" encoding="UTF-8" standalone="yes"?>
<Relationships xmlns="http://schemas.openxmlformats.org/package/2006/relationships"><Relationship Id="rId3" Type="http://schemas.microsoft.com/office/2018/10/relationships/comments" Target="../comments/modernComment_2D9_CC678456.xml"/><Relationship Id="rId2" Type="http://schemas.openxmlformats.org/officeDocument/2006/relationships/notesSlide" Target="../notesSlides/notesSlide28.xml"/><Relationship Id="rId1" Type="http://schemas.openxmlformats.org/officeDocument/2006/relationships/slideLayout" Target="../slideLayouts/slideLayout5.xml"/><Relationship Id="rId4" Type="http://schemas.openxmlformats.org/officeDocument/2006/relationships/image" Target="../media/image242.png"/></Relationships>
</file>

<file path=ppt/slides/_rels/slide43.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notesSlide" Target="../notesSlides/notesSlide29.xml"/><Relationship Id="rId1" Type="http://schemas.openxmlformats.org/officeDocument/2006/relationships/slideLayout" Target="../slideLayouts/slideLayout5.xml"/><Relationship Id="rId4" Type="http://schemas.openxmlformats.org/officeDocument/2006/relationships/image" Target="../media/image244.png"/></Relationships>
</file>

<file path=ppt/slides/_rels/slide44.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30.xml"/><Relationship Id="rId1" Type="http://schemas.openxmlformats.org/officeDocument/2006/relationships/slideLayout" Target="../slideLayouts/slideLayout5.xml"/><Relationship Id="rId4" Type="http://schemas.openxmlformats.org/officeDocument/2006/relationships/image" Target="../media/image246.png"/></Relationships>
</file>

<file path=ppt/slides/_rels/slide45.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31.xml"/><Relationship Id="rId1" Type="http://schemas.openxmlformats.org/officeDocument/2006/relationships/slideLayout" Target="../slideLayouts/slideLayout5.xml"/><Relationship Id="rId4" Type="http://schemas.openxmlformats.org/officeDocument/2006/relationships/image" Target="../media/image248.png"/></Relationships>
</file>

<file path=ppt/slides/_rels/slide46.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32.xml"/><Relationship Id="rId1" Type="http://schemas.openxmlformats.org/officeDocument/2006/relationships/slideLayout" Target="../slideLayouts/slideLayout5.xml"/><Relationship Id="rId4" Type="http://schemas.openxmlformats.org/officeDocument/2006/relationships/image" Target="../media/image250.png"/></Relationships>
</file>

<file path=ppt/slides/_rels/slide47.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34.xml"/><Relationship Id="rId1" Type="http://schemas.openxmlformats.org/officeDocument/2006/relationships/slideLayout" Target="../slideLayouts/slideLayout5.xml"/><Relationship Id="rId4" Type="http://schemas.openxmlformats.org/officeDocument/2006/relationships/image" Target="../media/image253.png"/></Relationships>
</file>

<file path=ppt/slides/_rels/slide49.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35.xml"/><Relationship Id="rId1" Type="http://schemas.openxmlformats.org/officeDocument/2006/relationships/slideLayout" Target="../slideLayouts/slideLayout5.xml"/><Relationship Id="rId4" Type="http://schemas.openxmlformats.org/officeDocument/2006/relationships/image" Target="../media/image255.png"/></Relationships>
</file>

<file path=ppt/slides/_rels/slide5.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272.xml"/></Relationships>
</file>

<file path=ppt/slides/_rels/slide50.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36.xml"/><Relationship Id="rId1" Type="http://schemas.openxmlformats.org/officeDocument/2006/relationships/slideLayout" Target="../slideLayouts/slideLayout5.xml"/><Relationship Id="rId4" Type="http://schemas.openxmlformats.org/officeDocument/2006/relationships/image" Target="../media/image257.png"/></Relationships>
</file>

<file path=ppt/slides/_rels/slide51.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40.xml"/><Relationship Id="rId1" Type="http://schemas.openxmlformats.org/officeDocument/2006/relationships/slideLayout" Target="../slideLayouts/slideLayout5.xml"/><Relationship Id="rId5" Type="http://schemas.openxmlformats.org/officeDocument/2006/relationships/image" Target="../media/image263.png"/><Relationship Id="rId4" Type="http://schemas.openxmlformats.org/officeDocument/2006/relationships/image" Target="../media/image262.png"/></Relationships>
</file>

<file path=ppt/slides/_rels/slide5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41.xml"/><Relationship Id="rId1" Type="http://schemas.openxmlformats.org/officeDocument/2006/relationships/slideLayout" Target="../slideLayouts/slideLayout696.xml"/></Relationships>
</file>

<file path=ppt/slides/_rels/slide56.xml.rels><?xml version="1.0" encoding="UTF-8" standalone="yes"?>
<Relationships xmlns="http://schemas.openxmlformats.org/package/2006/relationships"><Relationship Id="rId8" Type="http://schemas.openxmlformats.org/officeDocument/2006/relationships/image" Target="../media/image164.png"/><Relationship Id="rId13" Type="http://schemas.openxmlformats.org/officeDocument/2006/relationships/image" Target="../media/image232.svg"/><Relationship Id="rId3" Type="http://schemas.microsoft.com/office/2018/10/relationships/comments" Target="../comments/modernComment_2E7_403B96C1.xml"/><Relationship Id="rId7" Type="http://schemas.openxmlformats.org/officeDocument/2006/relationships/image" Target="../media/image227.svg"/><Relationship Id="rId12" Type="http://schemas.openxmlformats.org/officeDocument/2006/relationships/image" Target="../media/image231.png"/><Relationship Id="rId2" Type="http://schemas.openxmlformats.org/officeDocument/2006/relationships/notesSlide" Target="../notesSlides/notesSlide42.xml"/><Relationship Id="rId16" Type="http://schemas.openxmlformats.org/officeDocument/2006/relationships/image" Target="../media/image235.png"/><Relationship Id="rId1" Type="http://schemas.openxmlformats.org/officeDocument/2006/relationships/slideLayout" Target="../slideLayouts/slideLayout688.xml"/><Relationship Id="rId6" Type="http://schemas.openxmlformats.org/officeDocument/2006/relationships/image" Target="../media/image175.png"/><Relationship Id="rId11" Type="http://schemas.openxmlformats.org/officeDocument/2006/relationships/image" Target="../media/image230.svg"/><Relationship Id="rId5" Type="http://schemas.openxmlformats.org/officeDocument/2006/relationships/image" Target="../media/image226.svg"/><Relationship Id="rId15" Type="http://schemas.openxmlformats.org/officeDocument/2006/relationships/image" Target="../media/image234.svg"/><Relationship Id="rId10" Type="http://schemas.openxmlformats.org/officeDocument/2006/relationships/image" Target="../media/image229.png"/><Relationship Id="rId4" Type="http://schemas.openxmlformats.org/officeDocument/2006/relationships/image" Target="../media/image225.png"/><Relationship Id="rId9" Type="http://schemas.openxmlformats.org/officeDocument/2006/relationships/image" Target="../media/image228.svg"/><Relationship Id="rId14" Type="http://schemas.openxmlformats.org/officeDocument/2006/relationships/image" Target="../media/image233.png"/></Relationships>
</file>

<file path=ppt/slides/_rels/slide57.xml.rels><?xml version="1.0" encoding="UTF-8" standalone="yes"?>
<Relationships xmlns="http://schemas.openxmlformats.org/package/2006/relationships"><Relationship Id="rId8" Type="http://schemas.openxmlformats.org/officeDocument/2006/relationships/image" Target="../media/image141.svg"/><Relationship Id="rId3" Type="http://schemas.openxmlformats.org/officeDocument/2006/relationships/image" Target="../media/image136.png"/><Relationship Id="rId7" Type="http://schemas.openxmlformats.org/officeDocument/2006/relationships/image" Target="../media/image140.png"/><Relationship Id="rId2" Type="http://schemas.openxmlformats.org/officeDocument/2006/relationships/notesSlide" Target="../notesSlides/notesSlide43.xml"/><Relationship Id="rId1" Type="http://schemas.openxmlformats.org/officeDocument/2006/relationships/slideLayout" Target="../slideLayouts/slideLayout465.xml"/><Relationship Id="rId6" Type="http://schemas.openxmlformats.org/officeDocument/2006/relationships/image" Target="../media/image139.svg"/><Relationship Id="rId5" Type="http://schemas.openxmlformats.org/officeDocument/2006/relationships/image" Target="../media/image138.png"/><Relationship Id="rId4" Type="http://schemas.openxmlformats.org/officeDocument/2006/relationships/image" Target="../media/image137.svg"/><Relationship Id="rId9" Type="http://schemas.openxmlformats.org/officeDocument/2006/relationships/image" Target="../media/image111.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76.xml"/></Relationships>
</file>

<file path=ppt/slides/_rels/slide59.xml.rels><?xml version="1.0" encoding="UTF-8" standalone="yes"?>
<Relationships xmlns="http://schemas.openxmlformats.org/package/2006/relationships"><Relationship Id="rId8" Type="http://schemas.openxmlformats.org/officeDocument/2006/relationships/image" Target="../media/image269.svg"/><Relationship Id="rId13" Type="http://schemas.openxmlformats.org/officeDocument/2006/relationships/image" Target="../media/image274.png"/><Relationship Id="rId3" Type="http://schemas.openxmlformats.org/officeDocument/2006/relationships/image" Target="../media/image264.png"/><Relationship Id="rId7" Type="http://schemas.openxmlformats.org/officeDocument/2006/relationships/image" Target="../media/image268.png"/><Relationship Id="rId12" Type="http://schemas.openxmlformats.org/officeDocument/2006/relationships/image" Target="../media/image273.svg"/><Relationship Id="rId2" Type="http://schemas.openxmlformats.org/officeDocument/2006/relationships/notesSlide" Target="../notesSlides/notesSlide45.xml"/><Relationship Id="rId1" Type="http://schemas.openxmlformats.org/officeDocument/2006/relationships/slideLayout" Target="../slideLayouts/slideLayout688.xml"/><Relationship Id="rId6" Type="http://schemas.openxmlformats.org/officeDocument/2006/relationships/image" Target="../media/image267.svg"/><Relationship Id="rId11" Type="http://schemas.openxmlformats.org/officeDocument/2006/relationships/image" Target="../media/image272.png"/><Relationship Id="rId5" Type="http://schemas.openxmlformats.org/officeDocument/2006/relationships/image" Target="../media/image266.png"/><Relationship Id="rId10" Type="http://schemas.openxmlformats.org/officeDocument/2006/relationships/image" Target="../media/image271.svg"/><Relationship Id="rId4" Type="http://schemas.openxmlformats.org/officeDocument/2006/relationships/image" Target="../media/image265.svg"/><Relationship Id="rId9" Type="http://schemas.openxmlformats.org/officeDocument/2006/relationships/image" Target="../media/image270.png"/><Relationship Id="rId14" Type="http://schemas.openxmlformats.org/officeDocument/2006/relationships/image" Target="../media/image275.svg"/></Relationships>
</file>

<file path=ppt/slides/_rels/slide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895.xml"/><Relationship Id="rId4" Type="http://schemas.openxmlformats.org/officeDocument/2006/relationships/image" Target="../media/image99.png"/></Relationships>
</file>

<file path=ppt/slides/_rels/slide60.xml.rels><?xml version="1.0" encoding="UTF-8" standalone="yes"?>
<Relationships xmlns="http://schemas.openxmlformats.org/package/2006/relationships"><Relationship Id="rId8" Type="http://schemas.openxmlformats.org/officeDocument/2006/relationships/image" Target="../media/image270.png"/><Relationship Id="rId13" Type="http://schemas.openxmlformats.org/officeDocument/2006/relationships/image" Target="../media/image275.svg"/><Relationship Id="rId3" Type="http://schemas.openxmlformats.org/officeDocument/2006/relationships/image" Target="../media/image265.svg"/><Relationship Id="rId7" Type="http://schemas.openxmlformats.org/officeDocument/2006/relationships/image" Target="../media/image269.svg"/><Relationship Id="rId12" Type="http://schemas.openxmlformats.org/officeDocument/2006/relationships/image" Target="../media/image274.png"/><Relationship Id="rId2" Type="http://schemas.openxmlformats.org/officeDocument/2006/relationships/image" Target="../media/image264.png"/><Relationship Id="rId1" Type="http://schemas.openxmlformats.org/officeDocument/2006/relationships/slideLayout" Target="../slideLayouts/slideLayout688.xml"/><Relationship Id="rId6" Type="http://schemas.openxmlformats.org/officeDocument/2006/relationships/image" Target="../media/image268.png"/><Relationship Id="rId11" Type="http://schemas.openxmlformats.org/officeDocument/2006/relationships/image" Target="../media/image273.svg"/><Relationship Id="rId5" Type="http://schemas.openxmlformats.org/officeDocument/2006/relationships/image" Target="../media/image267.svg"/><Relationship Id="rId10" Type="http://schemas.openxmlformats.org/officeDocument/2006/relationships/image" Target="../media/image272.png"/><Relationship Id="rId4" Type="http://schemas.openxmlformats.org/officeDocument/2006/relationships/image" Target="../media/image266.png"/><Relationship Id="rId9" Type="http://schemas.openxmlformats.org/officeDocument/2006/relationships/image" Target="../media/image271.sv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3" Type="http://schemas.openxmlformats.org/officeDocument/2006/relationships/image" Target="../media/image277.png"/><Relationship Id="rId2" Type="http://schemas.openxmlformats.org/officeDocument/2006/relationships/image" Target="../media/image276.png"/><Relationship Id="rId1" Type="http://schemas.openxmlformats.org/officeDocument/2006/relationships/slideLayout" Target="../slideLayouts/slideLayout688.xml"/><Relationship Id="rId4" Type="http://schemas.openxmlformats.org/officeDocument/2006/relationships/image" Target="../media/image278.svg"/></Relationships>
</file>

<file path=ppt/slides/_rels/slide6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6.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2" Type="http://schemas.openxmlformats.org/officeDocument/2006/relationships/image" Target="../media/image279.jpe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3.xml"/><Relationship Id="rId1" Type="http://schemas.openxmlformats.org/officeDocument/2006/relationships/slideLayout" Target="../slideLayouts/slideLayout27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5.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73.xml.rels><?xml version="1.0" encoding="UTF-8" standalone="yes"?>
<Relationships xmlns="http://schemas.openxmlformats.org/package/2006/relationships"><Relationship Id="rId3" Type="http://schemas.openxmlformats.org/officeDocument/2006/relationships/image" Target="../media/image288.png"/><Relationship Id="rId2" Type="http://schemas.openxmlformats.org/officeDocument/2006/relationships/hyperlink" Target="http://www.ilpqc.org/essi" TargetMode="External"/><Relationship Id="rId1" Type="http://schemas.openxmlformats.org/officeDocument/2006/relationships/slideLayout" Target="../slideLayouts/slideLayout5.xml"/><Relationship Id="rId4" Type="http://schemas.openxmlformats.org/officeDocument/2006/relationships/image" Target="../media/image289.svg"/></Relationships>
</file>

<file path=ppt/slides/_rels/slide74.xml.rels><?xml version="1.0" encoding="UTF-8" standalone="yes"?>
<Relationships xmlns="http://schemas.openxmlformats.org/package/2006/relationships"><Relationship Id="rId8" Type="http://schemas.openxmlformats.org/officeDocument/2006/relationships/image" Target="../media/image228.svg"/><Relationship Id="rId13" Type="http://schemas.openxmlformats.org/officeDocument/2006/relationships/image" Target="../media/image296.png"/><Relationship Id="rId18" Type="http://schemas.openxmlformats.org/officeDocument/2006/relationships/image" Target="../media/image301.svg"/><Relationship Id="rId3" Type="http://schemas.openxmlformats.org/officeDocument/2006/relationships/image" Target="../media/image290.png"/><Relationship Id="rId21" Type="http://schemas.openxmlformats.org/officeDocument/2006/relationships/image" Target="../media/image288.png"/><Relationship Id="rId7" Type="http://schemas.openxmlformats.org/officeDocument/2006/relationships/image" Target="../media/image164.png"/><Relationship Id="rId12" Type="http://schemas.openxmlformats.org/officeDocument/2006/relationships/image" Target="../media/image295.svg"/><Relationship Id="rId17" Type="http://schemas.openxmlformats.org/officeDocument/2006/relationships/image" Target="../media/image300.png"/><Relationship Id="rId2" Type="http://schemas.openxmlformats.org/officeDocument/2006/relationships/notesSlide" Target="../notesSlides/notesSlide47.xml"/><Relationship Id="rId16" Type="http://schemas.openxmlformats.org/officeDocument/2006/relationships/image" Target="../media/image299.svg"/><Relationship Id="rId20" Type="http://schemas.openxmlformats.org/officeDocument/2006/relationships/image" Target="../media/image303.svg"/><Relationship Id="rId1" Type="http://schemas.openxmlformats.org/officeDocument/2006/relationships/slideLayout" Target="../slideLayouts/slideLayout688.xml"/><Relationship Id="rId6" Type="http://schemas.openxmlformats.org/officeDocument/2006/relationships/image" Target="../media/image226.svg"/><Relationship Id="rId11" Type="http://schemas.openxmlformats.org/officeDocument/2006/relationships/image" Target="../media/image294.png"/><Relationship Id="rId5" Type="http://schemas.openxmlformats.org/officeDocument/2006/relationships/image" Target="../media/image225.png"/><Relationship Id="rId15" Type="http://schemas.openxmlformats.org/officeDocument/2006/relationships/image" Target="../media/image298.png"/><Relationship Id="rId23" Type="http://schemas.openxmlformats.org/officeDocument/2006/relationships/image" Target="../media/image163.png"/><Relationship Id="rId10" Type="http://schemas.openxmlformats.org/officeDocument/2006/relationships/image" Target="../media/image293.svg"/><Relationship Id="rId19" Type="http://schemas.openxmlformats.org/officeDocument/2006/relationships/image" Target="../media/image302.png"/><Relationship Id="rId4" Type="http://schemas.openxmlformats.org/officeDocument/2006/relationships/image" Target="../media/image291.svg"/><Relationship Id="rId9" Type="http://schemas.openxmlformats.org/officeDocument/2006/relationships/image" Target="../media/image292.png"/><Relationship Id="rId14" Type="http://schemas.openxmlformats.org/officeDocument/2006/relationships/image" Target="../media/image297.svg"/><Relationship Id="rId22" Type="http://schemas.openxmlformats.org/officeDocument/2006/relationships/image" Target="../media/image289.svg"/></Relationships>
</file>

<file path=ppt/slides/_rels/slide75.xml.rels><?xml version="1.0" encoding="UTF-8" standalone="yes"?>
<Relationships xmlns="http://schemas.openxmlformats.org/package/2006/relationships"><Relationship Id="rId8" Type="http://schemas.openxmlformats.org/officeDocument/2006/relationships/image" Target="../media/image306.png"/><Relationship Id="rId13" Type="http://schemas.openxmlformats.org/officeDocument/2006/relationships/image" Target="../media/image295.svg"/><Relationship Id="rId18" Type="http://schemas.openxmlformats.org/officeDocument/2006/relationships/image" Target="../media/image163.png"/><Relationship Id="rId3" Type="http://schemas.openxmlformats.org/officeDocument/2006/relationships/image" Target="../media/image305.svg"/><Relationship Id="rId7" Type="http://schemas.openxmlformats.org/officeDocument/2006/relationships/image" Target="../media/image228.svg"/><Relationship Id="rId12" Type="http://schemas.openxmlformats.org/officeDocument/2006/relationships/image" Target="../media/image294.png"/><Relationship Id="rId17" Type="http://schemas.openxmlformats.org/officeDocument/2006/relationships/image" Target="../media/image289.svg"/><Relationship Id="rId2" Type="http://schemas.openxmlformats.org/officeDocument/2006/relationships/image" Target="../media/image304.png"/><Relationship Id="rId16" Type="http://schemas.openxmlformats.org/officeDocument/2006/relationships/image" Target="../media/image288.png"/><Relationship Id="rId1" Type="http://schemas.openxmlformats.org/officeDocument/2006/relationships/slideLayout" Target="../slideLayouts/slideLayout688.xml"/><Relationship Id="rId6" Type="http://schemas.openxmlformats.org/officeDocument/2006/relationships/image" Target="../media/image164.png"/><Relationship Id="rId11" Type="http://schemas.openxmlformats.org/officeDocument/2006/relationships/image" Target="../media/image309.svg"/><Relationship Id="rId5" Type="http://schemas.openxmlformats.org/officeDocument/2006/relationships/image" Target="../media/image226.svg"/><Relationship Id="rId15" Type="http://schemas.openxmlformats.org/officeDocument/2006/relationships/image" Target="../media/image311.svg"/><Relationship Id="rId10" Type="http://schemas.openxmlformats.org/officeDocument/2006/relationships/image" Target="../media/image308.png"/><Relationship Id="rId4" Type="http://schemas.openxmlformats.org/officeDocument/2006/relationships/image" Target="../media/image225.png"/><Relationship Id="rId9" Type="http://schemas.openxmlformats.org/officeDocument/2006/relationships/image" Target="../media/image307.svg"/><Relationship Id="rId14" Type="http://schemas.openxmlformats.org/officeDocument/2006/relationships/image" Target="../media/image310.png"/></Relationships>
</file>

<file path=ppt/slides/_rels/slide76.xml.rels><?xml version="1.0" encoding="UTF-8" standalone="yes"?>
<Relationships xmlns="http://schemas.openxmlformats.org/package/2006/relationships"><Relationship Id="rId2" Type="http://schemas.openxmlformats.org/officeDocument/2006/relationships/image" Target="../media/image312.png"/><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48.xml"/><Relationship Id="rId1" Type="http://schemas.openxmlformats.org/officeDocument/2006/relationships/slideLayout" Target="../slideLayouts/slideLayout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78.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hyperlink" Target="mailto:info@ilpqc.org" TargetMode="External"/><Relationship Id="rId1" Type="http://schemas.openxmlformats.org/officeDocument/2006/relationships/slideLayout" Target="../slideLayouts/slideLayout5.xml"/><Relationship Id="rId4" Type="http://schemas.openxmlformats.org/officeDocument/2006/relationships/image" Target="../media/image314.svg"/></Relationships>
</file>

<file path=ppt/slides/_rels/slide79.xml.rels><?xml version="1.0" encoding="UTF-8" standalone="yes"?>
<Relationships xmlns="http://schemas.openxmlformats.org/package/2006/relationships"><Relationship Id="rId8" Type="http://schemas.openxmlformats.org/officeDocument/2006/relationships/image" Target="../media/image164.png"/><Relationship Id="rId13" Type="http://schemas.openxmlformats.org/officeDocument/2006/relationships/image" Target="../media/image232.svg"/><Relationship Id="rId3" Type="http://schemas.microsoft.com/office/2018/10/relationships/comments" Target="../comments/modernComment_2E8_908653B0.xml"/><Relationship Id="rId7" Type="http://schemas.openxmlformats.org/officeDocument/2006/relationships/image" Target="../media/image227.svg"/><Relationship Id="rId12" Type="http://schemas.openxmlformats.org/officeDocument/2006/relationships/image" Target="../media/image231.png"/><Relationship Id="rId2" Type="http://schemas.openxmlformats.org/officeDocument/2006/relationships/notesSlide" Target="../notesSlides/notesSlide49.xml"/><Relationship Id="rId16" Type="http://schemas.openxmlformats.org/officeDocument/2006/relationships/image" Target="../media/image235.png"/><Relationship Id="rId1" Type="http://schemas.openxmlformats.org/officeDocument/2006/relationships/slideLayout" Target="../slideLayouts/slideLayout688.xml"/><Relationship Id="rId6" Type="http://schemas.openxmlformats.org/officeDocument/2006/relationships/image" Target="../media/image175.png"/><Relationship Id="rId11" Type="http://schemas.openxmlformats.org/officeDocument/2006/relationships/image" Target="../media/image230.svg"/><Relationship Id="rId5" Type="http://schemas.openxmlformats.org/officeDocument/2006/relationships/image" Target="../media/image226.svg"/><Relationship Id="rId15" Type="http://schemas.openxmlformats.org/officeDocument/2006/relationships/image" Target="../media/image234.svg"/><Relationship Id="rId10" Type="http://schemas.openxmlformats.org/officeDocument/2006/relationships/image" Target="../media/image229.png"/><Relationship Id="rId4" Type="http://schemas.openxmlformats.org/officeDocument/2006/relationships/image" Target="../media/image225.png"/><Relationship Id="rId9" Type="http://schemas.openxmlformats.org/officeDocument/2006/relationships/image" Target="../media/image228.svg"/><Relationship Id="rId14" Type="http://schemas.openxmlformats.org/officeDocument/2006/relationships/image" Target="../media/image233.png"/></Relationships>
</file>

<file path=ppt/slides/_rels/slide8.xml.rels><?xml version="1.0" encoding="UTF-8" standalone="yes"?>
<Relationships xmlns="http://schemas.openxmlformats.org/package/2006/relationships"><Relationship Id="rId8" Type="http://schemas.openxmlformats.org/officeDocument/2006/relationships/image" Target="../media/image106.jpeg"/><Relationship Id="rId3" Type="http://schemas.openxmlformats.org/officeDocument/2006/relationships/image" Target="../media/image101.jpeg"/><Relationship Id="rId7" Type="http://schemas.openxmlformats.org/officeDocument/2006/relationships/image" Target="../media/image105.jpe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104.jpeg"/><Relationship Id="rId5" Type="http://schemas.openxmlformats.org/officeDocument/2006/relationships/image" Target="../media/image103.jpeg"/><Relationship Id="rId4" Type="http://schemas.openxmlformats.org/officeDocument/2006/relationships/image" Target="../media/image102.jpeg"/><Relationship Id="rId9" Type="http://schemas.openxmlformats.org/officeDocument/2006/relationships/image" Target="../media/image107.jpeg"/></Relationships>
</file>

<file path=ppt/slides/_rels/slide80.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5.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81.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5.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82.xml.rels><?xml version="1.0" encoding="UTF-8" standalone="yes"?>
<Relationships xmlns="http://schemas.openxmlformats.org/package/2006/relationships"><Relationship Id="rId2" Type="http://schemas.openxmlformats.org/officeDocument/2006/relationships/image" Target="../media/image321.jpeg"/><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2" Type="http://schemas.openxmlformats.org/officeDocument/2006/relationships/image" Target="../media/image322.jpeg"/><Relationship Id="rId1" Type="http://schemas.openxmlformats.org/officeDocument/2006/relationships/slideLayout" Target="../slideLayouts/slideLayout390.xml"/></Relationships>
</file>

<file path=ppt/slides/_rels/slide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5.xml"/><Relationship Id="rId1" Type="http://schemas.openxmlformats.org/officeDocument/2006/relationships/slideLayout" Target="../slideLayouts/slideLayout68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a:xfrm>
            <a:off x="1023261" y="1903320"/>
            <a:ext cx="6404329" cy="2618177"/>
          </a:xfrm>
        </p:spPr>
        <p:txBody>
          <a:bodyPr/>
          <a:lstStyle/>
          <a:p>
            <a:pPr algn="ctr"/>
            <a:r>
              <a:rPr lang="en-US" dirty="0">
                <a:solidFill>
                  <a:schemeClr val="accent1"/>
                </a:solidFill>
                <a:ea typeface="+mj-lt"/>
                <a:cs typeface="+mj-lt"/>
              </a:rPr>
              <a:t>Equity and Safe Sleep for Infants: ESSI Initiative</a:t>
            </a:r>
            <a:r>
              <a:rPr lang="en-US" dirty="0">
                <a:ea typeface="+mj-lt"/>
                <a:cs typeface="+mj-lt"/>
              </a:rPr>
              <a:t> </a:t>
            </a:r>
            <a:br>
              <a:rPr lang="en-US" dirty="0">
                <a:ea typeface="+mj-lt"/>
                <a:cs typeface="+mj-lt"/>
              </a:rPr>
            </a:br>
            <a:r>
              <a:rPr lang="en-US" dirty="0">
                <a:ea typeface="+mj-lt"/>
                <a:cs typeface="+mj-lt"/>
              </a:rPr>
              <a:t>Launch Call</a:t>
            </a:r>
            <a:br>
              <a:rPr lang="en-US" sz="3600" dirty="0">
                <a:ea typeface="+mj-lt"/>
                <a:cs typeface="+mj-lt"/>
              </a:rPr>
            </a:br>
            <a:endParaRPr lang="en-US" sz="3600" b="0">
              <a:cs typeface="Calibri"/>
            </a:endParaRPr>
          </a:p>
        </p:txBody>
      </p:sp>
      <p:pic>
        <p:nvPicPr>
          <p:cNvPr id="2" name="Picture 1" descr="A person holding a baby&#10;&#10;Description automatically generated">
            <a:extLst>
              <a:ext uri="{FF2B5EF4-FFF2-40B4-BE49-F238E27FC236}">
                <a16:creationId xmlns:a16="http://schemas.microsoft.com/office/drawing/2014/main" id="{0D7C69D0-240C-8322-D521-66F461EE341B}"/>
              </a:ext>
            </a:extLst>
          </p:cNvPr>
          <p:cNvPicPr>
            <a:picLocks noChangeAspect="1"/>
          </p:cNvPicPr>
          <p:nvPr/>
        </p:nvPicPr>
        <p:blipFill>
          <a:blip r:embed="rId2"/>
          <a:stretch>
            <a:fillRect/>
          </a:stretch>
        </p:blipFill>
        <p:spPr>
          <a:xfrm>
            <a:off x="7283571" y="1815347"/>
            <a:ext cx="4425350" cy="2896629"/>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9" name="Subtitle 3">
            <a:extLst>
              <a:ext uri="{FF2B5EF4-FFF2-40B4-BE49-F238E27FC236}">
                <a16:creationId xmlns:a16="http://schemas.microsoft.com/office/drawing/2014/main" id="{7F20A429-9947-F447-2DF2-A5C17B5C6EC1}"/>
              </a:ext>
            </a:extLst>
          </p:cNvPr>
          <p:cNvSpPr>
            <a:spLocks noGrp="1"/>
          </p:cNvSpPr>
          <p:nvPr/>
        </p:nvSpPr>
        <p:spPr>
          <a:xfrm>
            <a:off x="1515724" y="3973463"/>
            <a:ext cx="5426907" cy="986569"/>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spcAft>
                <a:spcPts val="1000"/>
              </a:spcAft>
              <a:buClr>
                <a:schemeClr val="accent2"/>
              </a:buClr>
              <a:buFont typeface="Arial" panose="020B0604020202020204" pitchFamily="34" charset="0"/>
              <a:buNone/>
              <a:defRPr sz="2400" b="0" i="0" kern="1200">
                <a:solidFill>
                  <a:schemeClr val="tx1"/>
                </a:solidFill>
                <a:latin typeface="+mn-lt"/>
                <a:ea typeface="Lato" panose="020F0502020204030203" pitchFamily="34" charset="0"/>
                <a:cs typeface="Lato" panose="020F0502020204030203" pitchFamily="34" charset="0"/>
              </a:defRPr>
            </a:lvl1pPr>
            <a:lvl2pPr marL="457200" indent="0" algn="ctr" defTabSz="914400" rtl="0" eaLnBrk="1" latinLnBrk="0" hangingPunct="1">
              <a:lnSpc>
                <a:spcPct val="100000"/>
              </a:lnSpc>
              <a:spcBef>
                <a:spcPts val="500"/>
              </a:spcBef>
              <a:spcAft>
                <a:spcPts val="1000"/>
              </a:spcAft>
              <a:buClr>
                <a:schemeClr val="accent1"/>
              </a:buClr>
              <a:buFont typeface="Arial" panose="020B0604020202020204" pitchFamily="34" charset="0"/>
              <a:buNone/>
              <a:defRPr sz="2000" b="0" i="0" kern="1200">
                <a:solidFill>
                  <a:schemeClr val="tx1"/>
                </a:solidFill>
                <a:latin typeface="+mn-lt"/>
                <a:ea typeface="Lato" panose="020F0502020204030203" pitchFamily="34" charset="0"/>
                <a:cs typeface="Lato" panose="020F0502020204030203" pitchFamily="34" charset="0"/>
              </a:defRPr>
            </a:lvl2pPr>
            <a:lvl3pPr marL="9144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800" b="0" i="0" kern="1200">
                <a:solidFill>
                  <a:schemeClr val="tx1"/>
                </a:solidFill>
                <a:latin typeface="+mn-lt"/>
                <a:ea typeface="Lato" panose="020F0502020204030203" pitchFamily="34" charset="0"/>
                <a:cs typeface="Lato" panose="020F0502020204030203" pitchFamily="34" charset="0"/>
              </a:defRPr>
            </a:lvl3pPr>
            <a:lvl4pPr marL="13716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600" b="0" i="0" kern="1200">
                <a:solidFill>
                  <a:schemeClr val="tx1"/>
                </a:solidFill>
                <a:latin typeface="+mn-lt"/>
                <a:ea typeface="Lato" panose="020F0502020204030203" pitchFamily="34" charset="0"/>
                <a:cs typeface="Lato" panose="020F0502020204030203" pitchFamily="34" charset="0"/>
              </a:defRPr>
            </a:lvl4pPr>
            <a:lvl5pPr marL="18288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600" b="0" i="0" kern="1200">
                <a:solidFill>
                  <a:schemeClr val="tx1"/>
                </a:solidFill>
                <a:latin typeface="+mn-lt"/>
                <a:ea typeface="Lato" panose="020F0502020204030203" pitchFamily="34" charset="0"/>
                <a:cs typeface="Lato" panose="020F050202020403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US" dirty="0">
                <a:ea typeface="+mn-lt"/>
                <a:cs typeface="+mn-lt"/>
              </a:rPr>
              <a:t> 2:00-4:00 PM </a:t>
            </a:r>
            <a:endParaRPr lang="en-US"/>
          </a:p>
        </p:txBody>
      </p:sp>
    </p:spTree>
    <p:extLst>
      <p:ext uri="{BB962C8B-B14F-4D97-AF65-F5344CB8AC3E}">
        <p14:creationId xmlns:p14="http://schemas.microsoft.com/office/powerpoint/2010/main" val="31279213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EFEADE"/>
        </a:solidFill>
        <a:effectLst/>
      </p:bgPr>
    </p:bg>
    <p:spTree>
      <p:nvGrpSpPr>
        <p:cNvPr id="1" name=""/>
        <p:cNvGrpSpPr/>
        <p:nvPr/>
      </p:nvGrpSpPr>
      <p:grpSpPr>
        <a:xfrm>
          <a:off x="0" y="0"/>
          <a:ext cx="0" cy="0"/>
          <a:chOff x="0" y="0"/>
          <a:chExt cx="0" cy="0"/>
        </a:xfrm>
      </p:grpSpPr>
      <p:sp>
        <p:nvSpPr>
          <p:cNvPr id="2" name="Freeform 2"/>
          <p:cNvSpPr/>
          <p:nvPr/>
        </p:nvSpPr>
        <p:spPr>
          <a:xfrm rot="16200000">
            <a:off x="2667000" y="-2192547"/>
            <a:ext cx="6858000" cy="12192000"/>
          </a:xfrm>
          <a:custGeom>
            <a:avLst/>
            <a:gdLst/>
            <a:ahLst/>
            <a:cxnLst/>
            <a:rect l="l" t="t" r="r" b="b"/>
            <a:pathLst>
              <a:path w="10287000" h="18288000">
                <a:moveTo>
                  <a:pt x="10287000" y="0"/>
                </a:moveTo>
                <a:lnTo>
                  <a:pt x="10287000" y="18288000"/>
                </a:lnTo>
                <a:lnTo>
                  <a:pt x="0" y="18288000"/>
                </a:lnTo>
                <a:lnTo>
                  <a:pt x="0" y="0"/>
                </a:lnTo>
                <a:lnTo>
                  <a:pt x="10287000" y="0"/>
                </a:lnTo>
                <a:close/>
              </a:path>
            </a:pathLst>
          </a:custGeom>
          <a:blipFill>
            <a:blip r:embed="rId3">
              <a:alphaModFix amt="50000"/>
            </a:blip>
            <a:stretch>
              <a:fillRect l="-70429" r="-70429"/>
            </a:stretch>
          </a:blipFill>
        </p:spPr>
      </p:sp>
      <p:sp>
        <p:nvSpPr>
          <p:cNvPr id="3" name="Freeform 3"/>
          <p:cNvSpPr/>
          <p:nvPr/>
        </p:nvSpPr>
        <p:spPr>
          <a:xfrm>
            <a:off x="9444723" y="1335006"/>
            <a:ext cx="2751492" cy="4179349"/>
          </a:xfrm>
          <a:custGeom>
            <a:avLst/>
            <a:gdLst/>
            <a:ahLst/>
            <a:cxnLst/>
            <a:rect l="l" t="t" r="r" b="b"/>
            <a:pathLst>
              <a:path w="4127238" h="6269024">
                <a:moveTo>
                  <a:pt x="0" y="0"/>
                </a:moveTo>
                <a:lnTo>
                  <a:pt x="4127238" y="0"/>
                </a:lnTo>
                <a:lnTo>
                  <a:pt x="4127238" y="6269024"/>
                </a:lnTo>
                <a:lnTo>
                  <a:pt x="0" y="6269024"/>
                </a:lnTo>
                <a:lnTo>
                  <a:pt x="0" y="0"/>
                </a:lnTo>
                <a:close/>
              </a:path>
            </a:pathLst>
          </a:custGeom>
          <a:blipFill>
            <a:blip r:embed="rId4"/>
            <a:stretch>
              <a:fillRect/>
            </a:stretch>
          </a:blipFill>
        </p:spPr>
      </p:sp>
      <p:sp>
        <p:nvSpPr>
          <p:cNvPr id="4" name="TextBox 4"/>
          <p:cNvSpPr txBox="1"/>
          <p:nvPr/>
        </p:nvSpPr>
        <p:spPr>
          <a:xfrm>
            <a:off x="-128836" y="1140997"/>
            <a:ext cx="9331906" cy="615553"/>
          </a:xfrm>
          <a:prstGeom prst="rect">
            <a:avLst/>
          </a:prstGeom>
        </p:spPr>
        <p:txBody>
          <a:bodyPr wrap="square" lIns="0" tIns="0" rIns="0" bIns="0" rtlCol="0" anchor="t">
            <a:spAutoFit/>
          </a:bodyPr>
          <a:lstStyle/>
          <a:p>
            <a:pPr algn="ctr"/>
            <a:r>
              <a:rPr lang="en-US" sz="4000" b="1">
                <a:solidFill>
                  <a:schemeClr val="tx2"/>
                </a:solidFill>
                <a:latin typeface="Calibri"/>
                <a:cs typeface="Calibri"/>
              </a:rPr>
              <a:t>ILPQC: Making Change Happen</a:t>
            </a:r>
            <a:endParaRPr lang="en-US">
              <a:solidFill>
                <a:schemeClr val="tx2"/>
              </a:solidFill>
            </a:endParaRPr>
          </a:p>
        </p:txBody>
      </p:sp>
      <p:grpSp>
        <p:nvGrpSpPr>
          <p:cNvPr id="5" name="Group 5"/>
          <p:cNvGrpSpPr/>
          <p:nvPr/>
        </p:nvGrpSpPr>
        <p:grpSpPr>
          <a:xfrm>
            <a:off x="226147" y="2343731"/>
            <a:ext cx="2819636" cy="2535710"/>
            <a:chOff x="0" y="0"/>
            <a:chExt cx="1113930" cy="717765"/>
          </a:xfrm>
        </p:grpSpPr>
        <p:sp>
          <p:nvSpPr>
            <p:cNvPr id="6" name="Freeform 6"/>
            <p:cNvSpPr/>
            <p:nvPr/>
          </p:nvSpPr>
          <p:spPr>
            <a:xfrm>
              <a:off x="0" y="0"/>
              <a:ext cx="1113930" cy="717765"/>
            </a:xfrm>
            <a:custGeom>
              <a:avLst/>
              <a:gdLst/>
              <a:ahLst/>
              <a:cxnLst/>
              <a:rect l="l" t="t" r="r" b="b"/>
              <a:pathLst>
                <a:path w="1113930" h="717765">
                  <a:moveTo>
                    <a:pt x="93354" y="0"/>
                  </a:moveTo>
                  <a:lnTo>
                    <a:pt x="1020576" y="0"/>
                  </a:lnTo>
                  <a:cubicBezTo>
                    <a:pt x="1072134" y="0"/>
                    <a:pt x="1113930" y="41796"/>
                    <a:pt x="1113930" y="93354"/>
                  </a:cubicBezTo>
                  <a:lnTo>
                    <a:pt x="1113930" y="624411"/>
                  </a:lnTo>
                  <a:cubicBezTo>
                    <a:pt x="1113930" y="649170"/>
                    <a:pt x="1104095" y="672915"/>
                    <a:pt x="1086587" y="690422"/>
                  </a:cubicBezTo>
                  <a:cubicBezTo>
                    <a:pt x="1069080" y="707930"/>
                    <a:pt x="1045335" y="717765"/>
                    <a:pt x="1020576" y="717765"/>
                  </a:cubicBezTo>
                  <a:lnTo>
                    <a:pt x="93354" y="717765"/>
                  </a:lnTo>
                  <a:cubicBezTo>
                    <a:pt x="41796" y="717765"/>
                    <a:pt x="0" y="675969"/>
                    <a:pt x="0" y="624411"/>
                  </a:cubicBezTo>
                  <a:lnTo>
                    <a:pt x="0" y="93354"/>
                  </a:lnTo>
                  <a:cubicBezTo>
                    <a:pt x="0" y="41796"/>
                    <a:pt x="41796" y="0"/>
                    <a:pt x="93354" y="0"/>
                  </a:cubicBezTo>
                  <a:close/>
                </a:path>
              </a:pathLst>
            </a:custGeom>
            <a:solidFill>
              <a:srgbClr val="B8CDDB"/>
            </a:solidFill>
          </p:spPr>
        </p:sp>
        <p:sp>
          <p:nvSpPr>
            <p:cNvPr id="7" name="TextBox 7"/>
            <p:cNvSpPr txBox="1"/>
            <p:nvPr/>
          </p:nvSpPr>
          <p:spPr>
            <a:xfrm>
              <a:off x="0" y="9525"/>
              <a:ext cx="1113930" cy="708240"/>
            </a:xfrm>
            <a:prstGeom prst="rect">
              <a:avLst/>
            </a:prstGeom>
          </p:spPr>
          <p:txBody>
            <a:bodyPr lIns="33867" tIns="33867" rIns="33867" bIns="33867" rtlCol="0" anchor="ctr"/>
            <a:lstStyle/>
            <a:p>
              <a:pPr algn="ctr">
                <a:lnSpc>
                  <a:spcPts val="1932"/>
                </a:lnSpc>
              </a:pPr>
              <a:endParaRPr sz="800"/>
            </a:p>
          </p:txBody>
        </p:sp>
      </p:grpSp>
      <p:grpSp>
        <p:nvGrpSpPr>
          <p:cNvPr id="8" name="Group 8"/>
          <p:cNvGrpSpPr/>
          <p:nvPr/>
        </p:nvGrpSpPr>
        <p:grpSpPr>
          <a:xfrm>
            <a:off x="3276364" y="2343731"/>
            <a:ext cx="2819636" cy="2535710"/>
            <a:chOff x="0" y="0"/>
            <a:chExt cx="1113930" cy="717765"/>
          </a:xfrm>
        </p:grpSpPr>
        <p:sp>
          <p:nvSpPr>
            <p:cNvPr id="9" name="Freeform 9"/>
            <p:cNvSpPr/>
            <p:nvPr/>
          </p:nvSpPr>
          <p:spPr>
            <a:xfrm>
              <a:off x="0" y="0"/>
              <a:ext cx="1113930" cy="717765"/>
            </a:xfrm>
            <a:custGeom>
              <a:avLst/>
              <a:gdLst/>
              <a:ahLst/>
              <a:cxnLst/>
              <a:rect l="l" t="t" r="r" b="b"/>
              <a:pathLst>
                <a:path w="1113930" h="717765">
                  <a:moveTo>
                    <a:pt x="93354" y="0"/>
                  </a:moveTo>
                  <a:lnTo>
                    <a:pt x="1020576" y="0"/>
                  </a:lnTo>
                  <a:cubicBezTo>
                    <a:pt x="1072134" y="0"/>
                    <a:pt x="1113930" y="41796"/>
                    <a:pt x="1113930" y="93354"/>
                  </a:cubicBezTo>
                  <a:lnTo>
                    <a:pt x="1113930" y="624411"/>
                  </a:lnTo>
                  <a:cubicBezTo>
                    <a:pt x="1113930" y="649170"/>
                    <a:pt x="1104095" y="672915"/>
                    <a:pt x="1086587" y="690422"/>
                  </a:cubicBezTo>
                  <a:cubicBezTo>
                    <a:pt x="1069080" y="707930"/>
                    <a:pt x="1045335" y="717765"/>
                    <a:pt x="1020576" y="717765"/>
                  </a:cubicBezTo>
                  <a:lnTo>
                    <a:pt x="93354" y="717765"/>
                  </a:lnTo>
                  <a:cubicBezTo>
                    <a:pt x="41796" y="717765"/>
                    <a:pt x="0" y="675969"/>
                    <a:pt x="0" y="624411"/>
                  </a:cubicBezTo>
                  <a:lnTo>
                    <a:pt x="0" y="93354"/>
                  </a:lnTo>
                  <a:cubicBezTo>
                    <a:pt x="0" y="41796"/>
                    <a:pt x="41796" y="0"/>
                    <a:pt x="93354" y="0"/>
                  </a:cubicBezTo>
                  <a:close/>
                </a:path>
              </a:pathLst>
            </a:custGeom>
            <a:solidFill>
              <a:srgbClr val="F7BB97"/>
            </a:solidFill>
          </p:spPr>
        </p:sp>
        <p:sp>
          <p:nvSpPr>
            <p:cNvPr id="10" name="TextBox 10"/>
            <p:cNvSpPr txBox="1"/>
            <p:nvPr/>
          </p:nvSpPr>
          <p:spPr>
            <a:xfrm>
              <a:off x="0" y="9525"/>
              <a:ext cx="1113930" cy="708240"/>
            </a:xfrm>
            <a:prstGeom prst="rect">
              <a:avLst/>
            </a:prstGeom>
          </p:spPr>
          <p:txBody>
            <a:bodyPr lIns="33867" tIns="33867" rIns="33867" bIns="33867" rtlCol="0" anchor="ctr"/>
            <a:lstStyle/>
            <a:p>
              <a:pPr algn="ctr">
                <a:lnSpc>
                  <a:spcPts val="1932"/>
                </a:lnSpc>
              </a:pPr>
              <a:endParaRPr sz="800"/>
            </a:p>
          </p:txBody>
        </p:sp>
      </p:grpSp>
      <p:grpSp>
        <p:nvGrpSpPr>
          <p:cNvPr id="11" name="Group 11"/>
          <p:cNvGrpSpPr/>
          <p:nvPr/>
        </p:nvGrpSpPr>
        <p:grpSpPr>
          <a:xfrm>
            <a:off x="6324600" y="2343731"/>
            <a:ext cx="2819636" cy="2535710"/>
            <a:chOff x="0" y="0"/>
            <a:chExt cx="1113930" cy="717765"/>
          </a:xfrm>
        </p:grpSpPr>
        <p:sp>
          <p:nvSpPr>
            <p:cNvPr id="12" name="Freeform 12"/>
            <p:cNvSpPr/>
            <p:nvPr/>
          </p:nvSpPr>
          <p:spPr>
            <a:xfrm>
              <a:off x="0" y="0"/>
              <a:ext cx="1113930" cy="717765"/>
            </a:xfrm>
            <a:custGeom>
              <a:avLst/>
              <a:gdLst/>
              <a:ahLst/>
              <a:cxnLst/>
              <a:rect l="l" t="t" r="r" b="b"/>
              <a:pathLst>
                <a:path w="1113930" h="717765">
                  <a:moveTo>
                    <a:pt x="93354" y="0"/>
                  </a:moveTo>
                  <a:lnTo>
                    <a:pt x="1020576" y="0"/>
                  </a:lnTo>
                  <a:cubicBezTo>
                    <a:pt x="1072134" y="0"/>
                    <a:pt x="1113930" y="41796"/>
                    <a:pt x="1113930" y="93354"/>
                  </a:cubicBezTo>
                  <a:lnTo>
                    <a:pt x="1113930" y="624411"/>
                  </a:lnTo>
                  <a:cubicBezTo>
                    <a:pt x="1113930" y="649170"/>
                    <a:pt x="1104095" y="672915"/>
                    <a:pt x="1086587" y="690422"/>
                  </a:cubicBezTo>
                  <a:cubicBezTo>
                    <a:pt x="1069080" y="707930"/>
                    <a:pt x="1045335" y="717765"/>
                    <a:pt x="1020576" y="717765"/>
                  </a:cubicBezTo>
                  <a:lnTo>
                    <a:pt x="93354" y="717765"/>
                  </a:lnTo>
                  <a:cubicBezTo>
                    <a:pt x="41796" y="717765"/>
                    <a:pt x="0" y="675969"/>
                    <a:pt x="0" y="624411"/>
                  </a:cubicBezTo>
                  <a:lnTo>
                    <a:pt x="0" y="93354"/>
                  </a:lnTo>
                  <a:cubicBezTo>
                    <a:pt x="0" y="41796"/>
                    <a:pt x="41796" y="0"/>
                    <a:pt x="93354" y="0"/>
                  </a:cubicBezTo>
                  <a:close/>
                </a:path>
              </a:pathLst>
            </a:custGeom>
            <a:solidFill>
              <a:srgbClr val="FFD2CC"/>
            </a:solidFill>
          </p:spPr>
        </p:sp>
        <p:sp>
          <p:nvSpPr>
            <p:cNvPr id="13" name="TextBox 13"/>
            <p:cNvSpPr txBox="1"/>
            <p:nvPr/>
          </p:nvSpPr>
          <p:spPr>
            <a:xfrm>
              <a:off x="0" y="9525"/>
              <a:ext cx="1113930" cy="708240"/>
            </a:xfrm>
            <a:prstGeom prst="rect">
              <a:avLst/>
            </a:prstGeom>
          </p:spPr>
          <p:txBody>
            <a:bodyPr lIns="33867" tIns="33867" rIns="33867" bIns="33867" rtlCol="0" anchor="ctr"/>
            <a:lstStyle/>
            <a:p>
              <a:pPr algn="ctr">
                <a:lnSpc>
                  <a:spcPts val="1932"/>
                </a:lnSpc>
              </a:pPr>
              <a:endParaRPr sz="800"/>
            </a:p>
          </p:txBody>
        </p:sp>
      </p:grpSp>
      <p:sp>
        <p:nvSpPr>
          <p:cNvPr id="14" name="TextBox 14"/>
          <p:cNvSpPr txBox="1"/>
          <p:nvPr/>
        </p:nvSpPr>
        <p:spPr>
          <a:xfrm>
            <a:off x="806620" y="2624029"/>
            <a:ext cx="1773708" cy="377667"/>
          </a:xfrm>
          <a:prstGeom prst="rect">
            <a:avLst/>
          </a:prstGeom>
        </p:spPr>
        <p:txBody>
          <a:bodyPr lIns="0" tIns="0" rIns="0" bIns="0" rtlCol="0" anchor="t">
            <a:spAutoFit/>
          </a:bodyPr>
          <a:lstStyle/>
          <a:p>
            <a:pPr algn="ctr">
              <a:lnSpc>
                <a:spcPts val="2799"/>
              </a:lnSpc>
              <a:spcBef>
                <a:spcPct val="0"/>
              </a:spcBef>
            </a:pPr>
            <a:r>
              <a:rPr lang="en-US" sz="3200" b="1" spc="63">
                <a:solidFill>
                  <a:schemeClr val="tx2"/>
                </a:solidFill>
                <a:latin typeface="Calibri"/>
                <a:cs typeface="Calibri"/>
              </a:rPr>
              <a:t>ENGAGE</a:t>
            </a:r>
          </a:p>
        </p:txBody>
      </p:sp>
      <p:sp>
        <p:nvSpPr>
          <p:cNvPr id="15" name="TextBox 15"/>
          <p:cNvSpPr txBox="1"/>
          <p:nvPr/>
        </p:nvSpPr>
        <p:spPr>
          <a:xfrm>
            <a:off x="369499" y="3309161"/>
            <a:ext cx="2509233" cy="737766"/>
          </a:xfrm>
          <a:prstGeom prst="rect">
            <a:avLst/>
          </a:prstGeom>
        </p:spPr>
        <p:txBody>
          <a:bodyPr wrap="square" lIns="0" tIns="0" rIns="0" bIns="0" rtlCol="0" anchor="t">
            <a:spAutoFit/>
          </a:bodyPr>
          <a:lstStyle/>
          <a:p>
            <a:pPr algn="ctr">
              <a:lnSpc>
                <a:spcPts val="1925"/>
              </a:lnSpc>
            </a:pPr>
            <a:r>
              <a:rPr lang="en-US" sz="2000" spc="40">
                <a:solidFill>
                  <a:srgbClr val="000000"/>
                </a:solidFill>
                <a:latin typeface="Calibri"/>
                <a:cs typeface="Calibri"/>
              </a:rPr>
              <a:t>Engage hospitals to create an environment of improvement</a:t>
            </a:r>
          </a:p>
        </p:txBody>
      </p:sp>
      <p:sp>
        <p:nvSpPr>
          <p:cNvPr id="16" name="TextBox 16"/>
          <p:cNvSpPr txBox="1"/>
          <p:nvPr/>
        </p:nvSpPr>
        <p:spPr>
          <a:xfrm>
            <a:off x="3489075" y="3309161"/>
            <a:ext cx="2365459" cy="995800"/>
          </a:xfrm>
          <a:prstGeom prst="rect">
            <a:avLst/>
          </a:prstGeom>
        </p:spPr>
        <p:txBody>
          <a:bodyPr wrap="square" lIns="0" tIns="0" rIns="0" bIns="0" rtlCol="0" anchor="t">
            <a:spAutoFit/>
          </a:bodyPr>
          <a:lstStyle/>
          <a:p>
            <a:pPr algn="ctr">
              <a:lnSpc>
                <a:spcPts val="1925"/>
              </a:lnSpc>
            </a:pPr>
            <a:r>
              <a:rPr lang="en-US" sz="2000" spc="40">
                <a:solidFill>
                  <a:srgbClr val="000000"/>
                </a:solidFill>
                <a:latin typeface="Calibri"/>
                <a:cs typeface="Calibri"/>
              </a:rPr>
              <a:t>Motivate hospital teams to facilitate change at their hospital</a:t>
            </a:r>
          </a:p>
        </p:txBody>
      </p:sp>
      <p:sp>
        <p:nvSpPr>
          <p:cNvPr id="17" name="TextBox 17"/>
          <p:cNvSpPr txBox="1"/>
          <p:nvPr/>
        </p:nvSpPr>
        <p:spPr>
          <a:xfrm>
            <a:off x="6853327" y="2624029"/>
            <a:ext cx="1773708" cy="377667"/>
          </a:xfrm>
          <a:prstGeom prst="rect">
            <a:avLst/>
          </a:prstGeom>
        </p:spPr>
        <p:txBody>
          <a:bodyPr lIns="0" tIns="0" rIns="0" bIns="0" rtlCol="0" anchor="t">
            <a:spAutoFit/>
          </a:bodyPr>
          <a:lstStyle/>
          <a:p>
            <a:pPr algn="ctr">
              <a:lnSpc>
                <a:spcPts val="2799"/>
              </a:lnSpc>
              <a:spcBef>
                <a:spcPct val="0"/>
              </a:spcBef>
            </a:pPr>
            <a:r>
              <a:rPr lang="en-US" sz="3200" b="1" spc="63">
                <a:solidFill>
                  <a:schemeClr val="tx2"/>
                </a:solidFill>
                <a:latin typeface="Calibri"/>
                <a:cs typeface="Calibri"/>
              </a:rPr>
              <a:t>SUPPORT</a:t>
            </a:r>
          </a:p>
        </p:txBody>
      </p:sp>
      <p:sp>
        <p:nvSpPr>
          <p:cNvPr id="18" name="TextBox 18"/>
          <p:cNvSpPr txBox="1"/>
          <p:nvPr/>
        </p:nvSpPr>
        <p:spPr>
          <a:xfrm>
            <a:off x="6527082" y="3309161"/>
            <a:ext cx="2451723" cy="1225079"/>
          </a:xfrm>
          <a:prstGeom prst="rect">
            <a:avLst/>
          </a:prstGeom>
        </p:spPr>
        <p:txBody>
          <a:bodyPr wrap="square" lIns="0" tIns="0" rIns="0" bIns="0" rtlCol="0" anchor="t">
            <a:spAutoFit/>
          </a:bodyPr>
          <a:lstStyle/>
          <a:p>
            <a:pPr algn="ctr">
              <a:lnSpc>
                <a:spcPts val="1925"/>
              </a:lnSpc>
            </a:pPr>
            <a:r>
              <a:rPr lang="en-US" sz="2000" spc="40">
                <a:solidFill>
                  <a:srgbClr val="000000"/>
                </a:solidFill>
                <a:latin typeface="Calibri"/>
                <a:cs typeface="Calibri"/>
              </a:rPr>
              <a:t>Support hospital teams through </a:t>
            </a:r>
            <a:endParaRPr lang="en-US"/>
          </a:p>
          <a:p>
            <a:pPr algn="ctr">
              <a:lnSpc>
                <a:spcPts val="1925"/>
              </a:lnSpc>
            </a:pPr>
            <a:r>
              <a:rPr lang="en-US" sz="2000" spc="40">
                <a:solidFill>
                  <a:srgbClr val="000000"/>
                </a:solidFill>
                <a:latin typeface="Calibri"/>
                <a:cs typeface="Calibri"/>
              </a:rPr>
              <a:t>collaborative learning, rapid-response data, &amp;  QI support​</a:t>
            </a:r>
            <a:endParaRPr lang="en-US"/>
          </a:p>
        </p:txBody>
      </p:sp>
      <p:sp>
        <p:nvSpPr>
          <p:cNvPr id="19" name="TextBox 19"/>
          <p:cNvSpPr txBox="1"/>
          <p:nvPr/>
        </p:nvSpPr>
        <p:spPr>
          <a:xfrm>
            <a:off x="3705209" y="2624029"/>
            <a:ext cx="1960613" cy="377667"/>
          </a:xfrm>
          <a:prstGeom prst="rect">
            <a:avLst/>
          </a:prstGeom>
        </p:spPr>
        <p:txBody>
          <a:bodyPr wrap="square" lIns="0" tIns="0" rIns="0" bIns="0" rtlCol="0" anchor="t">
            <a:spAutoFit/>
          </a:bodyPr>
          <a:lstStyle/>
          <a:p>
            <a:pPr algn="ctr">
              <a:lnSpc>
                <a:spcPts val="2799"/>
              </a:lnSpc>
              <a:spcBef>
                <a:spcPct val="0"/>
              </a:spcBef>
            </a:pPr>
            <a:r>
              <a:rPr lang="en-US" sz="3200" b="1" spc="63">
                <a:solidFill>
                  <a:schemeClr val="tx2"/>
                </a:solidFill>
                <a:latin typeface="Calibri"/>
                <a:cs typeface="Calibri"/>
              </a:rPr>
              <a:t>MOTIVATE​</a:t>
            </a:r>
          </a:p>
        </p:txBody>
      </p:sp>
      <p:sp>
        <p:nvSpPr>
          <p:cNvPr id="20" name="TextBox 20"/>
          <p:cNvSpPr txBox="1"/>
          <p:nvPr/>
        </p:nvSpPr>
        <p:spPr>
          <a:xfrm>
            <a:off x="336624" y="5321903"/>
            <a:ext cx="9114727" cy="1343958"/>
          </a:xfrm>
          <a:prstGeom prst="rect">
            <a:avLst/>
          </a:prstGeom>
        </p:spPr>
        <p:txBody>
          <a:bodyPr wrap="square" lIns="0" tIns="0" rIns="0" bIns="0" rtlCol="0" anchor="t">
            <a:spAutoFit/>
          </a:bodyPr>
          <a:lstStyle/>
          <a:p>
            <a:pPr algn="ctr">
              <a:spcBef>
                <a:spcPts val="400"/>
              </a:spcBef>
            </a:pPr>
            <a:r>
              <a:rPr lang="en-US" sz="2800" spc="55">
                <a:solidFill>
                  <a:schemeClr val="tx2"/>
                </a:solidFill>
                <a:latin typeface="Calibri"/>
                <a:cs typeface="Calibri"/>
              </a:rPr>
              <a:t>TO ACHIEVE INITIATIVE GOALS AND EQUITABLY IMPROVE OUTCOMES AND REDUCE DISPARITIES </a:t>
            </a:r>
          </a:p>
          <a:p>
            <a:pPr algn="ctr">
              <a:spcBef>
                <a:spcPts val="400"/>
              </a:spcBef>
            </a:pPr>
            <a:r>
              <a:rPr lang="en-US" sz="2800" spc="55">
                <a:solidFill>
                  <a:schemeClr val="tx2"/>
                </a:solidFill>
                <a:latin typeface="Calibri"/>
                <a:cs typeface="Calibri"/>
              </a:rPr>
              <a:t>FOR BIRTHING PEOPLE AND THEIR NEWBORNS </a:t>
            </a:r>
          </a:p>
        </p:txBody>
      </p:sp>
      <p:sp>
        <p:nvSpPr>
          <p:cNvPr id="22" name="Freeform 13">
            <a:extLst>
              <a:ext uri="{FF2B5EF4-FFF2-40B4-BE49-F238E27FC236}">
                <a16:creationId xmlns:a16="http://schemas.microsoft.com/office/drawing/2014/main" id="{FC17955B-1095-3B3F-42CD-74BB54765AD3}"/>
              </a:ext>
            </a:extLst>
          </p:cNvPr>
          <p:cNvSpPr/>
          <p:nvPr/>
        </p:nvSpPr>
        <p:spPr>
          <a:xfrm>
            <a:off x="10070190" y="5888398"/>
            <a:ext cx="1923480" cy="971492"/>
          </a:xfrm>
          <a:custGeom>
            <a:avLst/>
            <a:gdLst/>
            <a:ahLst/>
            <a:cxnLst/>
            <a:rect l="l" t="t" r="r" b="b"/>
            <a:pathLst>
              <a:path w="2281371" h="982786">
                <a:moveTo>
                  <a:pt x="0" y="0"/>
                </a:moveTo>
                <a:lnTo>
                  <a:pt x="2281372" y="0"/>
                </a:lnTo>
                <a:lnTo>
                  <a:pt x="2281372" y="982786"/>
                </a:lnTo>
                <a:lnTo>
                  <a:pt x="0" y="982786"/>
                </a:lnTo>
                <a:lnTo>
                  <a:pt x="0" y="0"/>
                </a:lnTo>
                <a:close/>
              </a:path>
            </a:pathLst>
          </a:custGeom>
          <a:blipFill>
            <a:blip r:embed="rId5"/>
            <a:stretch>
              <a:fillRect t="-16582"/>
            </a:stretch>
          </a:blipFill>
        </p:spPr>
      </p:sp>
    </p:spTree>
    <p:extLst>
      <p:ext uri="{BB962C8B-B14F-4D97-AF65-F5344CB8AC3E}">
        <p14:creationId xmlns:p14="http://schemas.microsoft.com/office/powerpoint/2010/main" val="17897545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166" y="307616"/>
            <a:ext cx="10972800" cy="1325563"/>
          </a:xfrm>
          <a:noFill/>
        </p:spPr>
        <p:txBody>
          <a:bodyPr/>
          <a:lstStyle/>
          <a:p>
            <a:r>
              <a:rPr lang="en-US" sz="4400" dirty="0">
                <a:ea typeface="Lato Medium"/>
                <a:cs typeface="Lato Medium"/>
              </a:rPr>
              <a:t>ILPQC helps make change happen</a:t>
            </a:r>
          </a:p>
        </p:txBody>
      </p:sp>
      <p:sp>
        <p:nvSpPr>
          <p:cNvPr id="4" name="Slide Number Placeholder 3"/>
          <p:cNvSpPr>
            <a:spLocks noGrp="1"/>
          </p:cNvSpPr>
          <p:nvPr>
            <p:ph type="sldNum" sz="quarter" idx="10"/>
          </p:nvPr>
        </p:nvSpPr>
        <p:spPr/>
        <p:txBody>
          <a:bodyPr/>
          <a:lstStyle/>
          <a:p>
            <a:fld id="{97033E4B-E3EB-3D46-B2D8-3159663620FA}" type="slidenum">
              <a:rPr lang="en-US" smtClean="0"/>
              <a:pPr/>
              <a:t>11</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44693" y="1357495"/>
            <a:ext cx="2369812" cy="4862334"/>
          </a:xfrm>
          <a:prstGeom prst="rect">
            <a:avLst/>
          </a:prstGeom>
        </p:spPr>
      </p:pic>
      <p:pic>
        <p:nvPicPr>
          <p:cNvPr id="8" name="Content Placeholder 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61006" y="2032001"/>
            <a:ext cx="6139187" cy="4080237"/>
          </a:xfrm>
          <a:prstGeom prst="rect">
            <a:avLst/>
          </a:prstGeom>
        </p:spPr>
      </p:pic>
      <p:sp>
        <p:nvSpPr>
          <p:cNvPr id="9" name="TextBox 8"/>
          <p:cNvSpPr txBox="1"/>
          <p:nvPr/>
        </p:nvSpPr>
        <p:spPr>
          <a:xfrm>
            <a:off x="608012" y="5627687"/>
            <a:ext cx="5829299" cy="338554"/>
          </a:xfrm>
          <a:prstGeom prst="rect">
            <a:avLst/>
          </a:prstGeom>
          <a:noFill/>
        </p:spPr>
        <p:txBody>
          <a:bodyPr wrap="square" lIns="91440" tIns="45720" rIns="91440" bIns="45720" rtlCol="0" anchor="t">
            <a:spAutoFit/>
          </a:bodyPr>
          <a:lstStyle/>
          <a:p>
            <a:pPr algn="ctr"/>
            <a:r>
              <a:rPr lang="en-US" sz="1600">
                <a:solidFill>
                  <a:schemeClr val="bg1"/>
                </a:solidFill>
                <a:ea typeface="+mn-lt"/>
                <a:cs typeface="+mn-lt"/>
              </a:rPr>
              <a:t>Hospital Teams, Community Stakeholders</a:t>
            </a:r>
            <a:r>
              <a:rPr lang="en-US" sz="1400">
                <a:solidFill>
                  <a:schemeClr val="bg1"/>
                </a:solidFill>
                <a:ea typeface="+mn-lt"/>
                <a:cs typeface="+mn-lt"/>
              </a:rPr>
              <a:t>,</a:t>
            </a:r>
            <a:r>
              <a:rPr lang="en-US" sz="1600">
                <a:solidFill>
                  <a:schemeClr val="bg1"/>
                </a:solidFill>
                <a:ea typeface="+mn-lt"/>
                <a:cs typeface="+mn-lt"/>
              </a:rPr>
              <a:t> Patients/Families</a:t>
            </a:r>
          </a:p>
        </p:txBody>
      </p:sp>
      <p:sp>
        <p:nvSpPr>
          <p:cNvPr id="10" name="Rectangle 9"/>
          <p:cNvSpPr/>
          <p:nvPr/>
        </p:nvSpPr>
        <p:spPr>
          <a:xfrm>
            <a:off x="7585705" y="6396335"/>
            <a:ext cx="2593329" cy="461665"/>
          </a:xfrm>
          <a:prstGeom prst="rect">
            <a:avLst/>
          </a:prstGeom>
        </p:spPr>
        <p:txBody>
          <a:bodyPr wrap="square">
            <a:spAutoFit/>
          </a:bodyPr>
          <a:lstStyle/>
          <a:p>
            <a:r>
              <a:rPr lang="en-US" sz="1200">
                <a:latin typeface="Arial" panose="020B0604020202020204" pitchFamily="34" charset="0"/>
              </a:rPr>
              <a:t>Langley GL MR, Nolan TW, Norman CL, Provost LP,. 2009</a:t>
            </a:r>
            <a:endParaRPr lang="en-US" sz="1200" b="0" i="0">
              <a:effectLst/>
              <a:latin typeface="Arial" panose="020B0604020202020204" pitchFamily="34" charset="0"/>
            </a:endParaRPr>
          </a:p>
        </p:txBody>
      </p:sp>
      <p:sp>
        <p:nvSpPr>
          <p:cNvPr id="11" name="Rounded Rectangle 10"/>
          <p:cNvSpPr/>
          <p:nvPr/>
        </p:nvSpPr>
        <p:spPr>
          <a:xfrm>
            <a:off x="9765792" y="1536013"/>
            <a:ext cx="1816608" cy="66236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MART</a:t>
            </a:r>
          </a:p>
        </p:txBody>
      </p:sp>
      <p:sp>
        <p:nvSpPr>
          <p:cNvPr id="12" name="Rounded Rectangle 11"/>
          <p:cNvSpPr/>
          <p:nvPr/>
        </p:nvSpPr>
        <p:spPr>
          <a:xfrm>
            <a:off x="9765792" y="2238361"/>
            <a:ext cx="1816608" cy="113090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tructure, Process, Outcome, Balancing</a:t>
            </a:r>
          </a:p>
        </p:txBody>
      </p:sp>
      <p:sp>
        <p:nvSpPr>
          <p:cNvPr id="13" name="Rounded Rectangle 12"/>
          <p:cNvSpPr/>
          <p:nvPr/>
        </p:nvSpPr>
        <p:spPr>
          <a:xfrm>
            <a:off x="9765792" y="3417947"/>
            <a:ext cx="1816608" cy="66236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QI Resources</a:t>
            </a:r>
          </a:p>
        </p:txBody>
      </p:sp>
    </p:spTree>
    <p:extLst>
      <p:ext uri="{BB962C8B-B14F-4D97-AF65-F5344CB8AC3E}">
        <p14:creationId xmlns:p14="http://schemas.microsoft.com/office/powerpoint/2010/main" val="41793697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444C55">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srgbClr val="444C55">
                  <a:tint val="75000"/>
                </a:srgbClr>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Arial" panose="020B0604020202020204"/>
                <a:ea typeface="+mn-ea"/>
                <a:cs typeface="+mn-cs"/>
              </a:rPr>
              <a:t>Illinois Perinatal Quality Collaborative</a:t>
            </a:r>
          </a:p>
        </p:txBody>
      </p:sp>
      <p:sp>
        <p:nvSpPr>
          <p:cNvPr id="2" name="Title 1"/>
          <p:cNvSpPr>
            <a:spLocks noGrp="1"/>
          </p:cNvSpPr>
          <p:nvPr>
            <p:ph type="title" idx="4294967295"/>
          </p:nvPr>
        </p:nvSpPr>
        <p:spPr>
          <a:xfrm>
            <a:off x="609600" y="149386"/>
            <a:ext cx="8087708" cy="1325563"/>
          </a:xfrm>
          <a:noFill/>
        </p:spPr>
        <p:txBody>
          <a:bodyPr>
            <a:normAutofit/>
          </a:bodyPr>
          <a:lstStyle/>
          <a:p>
            <a:r>
              <a:rPr lang="en-US">
                <a:ea typeface="Lato Medium"/>
                <a:cs typeface="Lato Medium"/>
              </a:rPr>
              <a:t>ILPQC Initiatives &amp;</a:t>
            </a:r>
            <a:br>
              <a:rPr lang="en-US">
                <a:ea typeface="Lato Medium"/>
                <a:cs typeface="Lato Medium"/>
              </a:rPr>
            </a:br>
            <a:r>
              <a:rPr lang="en-US">
                <a:ea typeface="Lato Medium"/>
                <a:cs typeface="Lato Medium"/>
              </a:rPr>
              <a:t>Hospital Engagement</a:t>
            </a:r>
          </a:p>
        </p:txBody>
      </p:sp>
      <p:sp>
        <p:nvSpPr>
          <p:cNvPr id="9" name="Rounded Rectangle 8"/>
          <p:cNvSpPr/>
          <p:nvPr/>
        </p:nvSpPr>
        <p:spPr>
          <a:xfrm>
            <a:off x="1944477" y="5314848"/>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15</a:t>
            </a:r>
          </a:p>
        </p:txBody>
      </p:sp>
      <p:sp>
        <p:nvSpPr>
          <p:cNvPr id="12" name="Rounded Rectangle 11"/>
          <p:cNvSpPr/>
          <p:nvPr/>
        </p:nvSpPr>
        <p:spPr>
          <a:xfrm>
            <a:off x="2985870" y="5330637"/>
            <a:ext cx="1023820" cy="796338"/>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16</a:t>
            </a:r>
          </a:p>
        </p:txBody>
      </p:sp>
      <p:sp>
        <p:nvSpPr>
          <p:cNvPr id="15" name="Rounded Rectangle 14"/>
          <p:cNvSpPr/>
          <p:nvPr/>
        </p:nvSpPr>
        <p:spPr>
          <a:xfrm>
            <a:off x="4040642" y="5333429"/>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17</a:t>
            </a:r>
          </a:p>
        </p:txBody>
      </p:sp>
      <p:sp>
        <p:nvSpPr>
          <p:cNvPr id="21" name="Rounded Rectangle 20"/>
          <p:cNvSpPr/>
          <p:nvPr/>
        </p:nvSpPr>
        <p:spPr>
          <a:xfrm>
            <a:off x="6159038" y="5330636"/>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19</a:t>
            </a:r>
          </a:p>
        </p:txBody>
      </p:sp>
      <p:sp>
        <p:nvSpPr>
          <p:cNvPr id="24" name="Rounded Rectangle 23"/>
          <p:cNvSpPr/>
          <p:nvPr/>
        </p:nvSpPr>
        <p:spPr>
          <a:xfrm>
            <a:off x="836227" y="5330636"/>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14</a:t>
            </a:r>
          </a:p>
        </p:txBody>
      </p:sp>
      <p:sp>
        <p:nvSpPr>
          <p:cNvPr id="26" name="Rounded Rectangle 25"/>
          <p:cNvSpPr/>
          <p:nvPr/>
        </p:nvSpPr>
        <p:spPr>
          <a:xfrm>
            <a:off x="793462" y="4261574"/>
            <a:ext cx="1072085" cy="918360"/>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Early Elective Delive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49 teams</a:t>
            </a:r>
          </a:p>
        </p:txBody>
      </p:sp>
      <p:sp>
        <p:nvSpPr>
          <p:cNvPr id="27" name="Rounded Rectangle 26"/>
          <p:cNvSpPr/>
          <p:nvPr/>
        </p:nvSpPr>
        <p:spPr>
          <a:xfrm>
            <a:off x="798264" y="3240837"/>
            <a:ext cx="1072085" cy="918360"/>
          </a:xfrm>
          <a:prstGeom prst="roundRect">
            <a:avLst/>
          </a:prstGeom>
          <a:solidFill>
            <a:srgbClr val="F58466"/>
          </a:solidFill>
          <a:ln>
            <a:solidFill>
              <a:srgbClr val="F584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Neonatal Nutri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18 teams</a:t>
            </a:r>
          </a:p>
        </p:txBody>
      </p:sp>
      <p:sp>
        <p:nvSpPr>
          <p:cNvPr id="28" name="Rounded Rectangle 27"/>
          <p:cNvSpPr/>
          <p:nvPr/>
        </p:nvSpPr>
        <p:spPr>
          <a:xfrm>
            <a:off x="1950667" y="3240837"/>
            <a:ext cx="3120082" cy="918360"/>
          </a:xfrm>
          <a:prstGeom prst="roundRect">
            <a:avLst/>
          </a:prstGeom>
          <a:solidFill>
            <a:srgbClr val="F58466"/>
          </a:solidFill>
          <a:ln>
            <a:solidFill>
              <a:srgbClr val="F584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Golden Hou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26 Teams</a:t>
            </a:r>
          </a:p>
        </p:txBody>
      </p:sp>
      <p:sp>
        <p:nvSpPr>
          <p:cNvPr id="29" name="Rounded Rectangle 28"/>
          <p:cNvSpPr/>
          <p:nvPr/>
        </p:nvSpPr>
        <p:spPr>
          <a:xfrm>
            <a:off x="1950667" y="4261574"/>
            <a:ext cx="1057147" cy="918360"/>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Birth Cert Accurac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107 teams</a:t>
            </a:r>
          </a:p>
        </p:txBody>
      </p:sp>
      <p:sp>
        <p:nvSpPr>
          <p:cNvPr id="30" name="Rounded Rectangle 29"/>
          <p:cNvSpPr/>
          <p:nvPr/>
        </p:nvSpPr>
        <p:spPr>
          <a:xfrm>
            <a:off x="3065171" y="4261574"/>
            <a:ext cx="1979579" cy="918360"/>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Maternal Hyperten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112 Teams</a:t>
            </a:r>
          </a:p>
        </p:txBody>
      </p:sp>
      <p:sp>
        <p:nvSpPr>
          <p:cNvPr id="31" name="Rounded Rectangle 30"/>
          <p:cNvSpPr/>
          <p:nvPr/>
        </p:nvSpPr>
        <p:spPr>
          <a:xfrm>
            <a:off x="5118243" y="4261574"/>
            <a:ext cx="3105411" cy="918360"/>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Mothers and Newborns affected by Opioids (MNO) – Obstetr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101 Teams</a:t>
            </a:r>
          </a:p>
        </p:txBody>
      </p:sp>
      <p:sp>
        <p:nvSpPr>
          <p:cNvPr id="32" name="Rounded Rectangle 31"/>
          <p:cNvSpPr/>
          <p:nvPr/>
        </p:nvSpPr>
        <p:spPr>
          <a:xfrm>
            <a:off x="5138277" y="3240837"/>
            <a:ext cx="3085377" cy="918360"/>
          </a:xfrm>
          <a:prstGeom prst="roundRect">
            <a:avLst/>
          </a:prstGeom>
          <a:solidFill>
            <a:srgbClr val="F58466"/>
          </a:solidFill>
          <a:ln>
            <a:solidFill>
              <a:srgbClr val="F584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Mothers and Newborns affected by Opioids (MNO) – Neonat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88 Teams</a:t>
            </a:r>
          </a:p>
        </p:txBody>
      </p:sp>
      <p:sp>
        <p:nvSpPr>
          <p:cNvPr id="33" name="Rounded Rectangle 32"/>
          <p:cNvSpPr/>
          <p:nvPr/>
        </p:nvSpPr>
        <p:spPr>
          <a:xfrm>
            <a:off x="5132662" y="2220100"/>
            <a:ext cx="3090992" cy="918360"/>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Immediate Postpartum Long Acting Reversible Contraception (LARC)</a:t>
            </a:r>
          </a:p>
        </p:txBody>
      </p:sp>
      <p:sp>
        <p:nvSpPr>
          <p:cNvPr id="34" name="Rounded Rectangle 33"/>
          <p:cNvSpPr/>
          <p:nvPr/>
        </p:nvSpPr>
        <p:spPr>
          <a:xfrm>
            <a:off x="6088422" y="1199363"/>
            <a:ext cx="2135232" cy="918360"/>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Improving Postpartum Access to Care</a:t>
            </a:r>
          </a:p>
        </p:txBody>
      </p:sp>
      <p:sp>
        <p:nvSpPr>
          <p:cNvPr id="36" name="Rounded Rectangle 35"/>
          <p:cNvSpPr/>
          <p:nvPr/>
        </p:nvSpPr>
        <p:spPr>
          <a:xfrm>
            <a:off x="8311524" y="4261696"/>
            <a:ext cx="3498259" cy="918360"/>
          </a:xfrm>
          <a:prstGeom prst="roundRect">
            <a:avLst/>
          </a:prstGeom>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Promoting</a:t>
            </a:r>
            <a:r>
              <a:rPr kumimoji="0" lang="en-US" sz="1400" b="0" i="0" u="none" strike="noStrike" kern="1200" cap="none" spc="0" normalizeH="0" noProof="0">
                <a:ln>
                  <a:noFill/>
                </a:ln>
                <a:solidFill>
                  <a:srgbClr val="FFFFFF"/>
                </a:solidFill>
                <a:effectLst/>
                <a:uLnTx/>
                <a:uFillTx/>
                <a:latin typeface="Arial" panose="020B0604020202020204"/>
                <a:ea typeface="+mn-ea"/>
                <a:cs typeface="+mn-cs"/>
              </a:rPr>
              <a:t> Vaginal Birth (PVB)</a:t>
            </a: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94 teams</a:t>
            </a:r>
          </a:p>
        </p:txBody>
      </p:sp>
      <p:sp>
        <p:nvSpPr>
          <p:cNvPr id="38" name="Rounded Rectangle 37"/>
          <p:cNvSpPr/>
          <p:nvPr/>
        </p:nvSpPr>
        <p:spPr>
          <a:xfrm>
            <a:off x="7240181" y="5330635"/>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cs typeface="Calibri"/>
              </a:rPr>
              <a:t>2020</a:t>
            </a:r>
            <a:endParaRPr lang="en-US" sz="2250"/>
          </a:p>
        </p:txBody>
      </p:sp>
      <p:sp>
        <p:nvSpPr>
          <p:cNvPr id="40" name="Rounded Rectangle 39"/>
          <p:cNvSpPr/>
          <p:nvPr/>
        </p:nvSpPr>
        <p:spPr>
          <a:xfrm>
            <a:off x="8308295" y="3238984"/>
            <a:ext cx="2565658" cy="918360"/>
          </a:xfrm>
          <a:prstGeom prst="roundRect">
            <a:avLst/>
          </a:prstGeom>
          <a:solidFill>
            <a:srgbClr val="F58466"/>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srgbClr val="FFFFFF"/>
                </a:solidFill>
                <a:latin typeface="Arial" panose="020B0604020202020204"/>
              </a:rPr>
              <a:t>Babies Antibiotic Stewardship </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BAS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82 teams</a:t>
            </a:r>
          </a:p>
        </p:txBody>
      </p:sp>
      <p:sp>
        <p:nvSpPr>
          <p:cNvPr id="42" name="Rounded Rectangle 41"/>
          <p:cNvSpPr/>
          <p:nvPr/>
        </p:nvSpPr>
        <p:spPr>
          <a:xfrm>
            <a:off x="8304385" y="5330634"/>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21</a:t>
            </a:r>
          </a:p>
        </p:txBody>
      </p:sp>
      <p:sp>
        <p:nvSpPr>
          <p:cNvPr id="44" name="Rounded Rectangle 43"/>
          <p:cNvSpPr/>
          <p:nvPr/>
        </p:nvSpPr>
        <p:spPr>
          <a:xfrm>
            <a:off x="8322302" y="2213025"/>
            <a:ext cx="3748928" cy="918360"/>
          </a:xfrm>
          <a:prstGeom prst="roundRect">
            <a:avLst/>
          </a:prstGeom>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Birth Equ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86 teams</a:t>
            </a:r>
          </a:p>
        </p:txBody>
      </p:sp>
      <p:sp>
        <p:nvSpPr>
          <p:cNvPr id="47" name="Rounded Rectangle 46"/>
          <p:cNvSpPr/>
          <p:nvPr/>
        </p:nvSpPr>
        <p:spPr>
          <a:xfrm>
            <a:off x="9330274" y="5330633"/>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22</a:t>
            </a:r>
          </a:p>
        </p:txBody>
      </p:sp>
      <p:sp>
        <p:nvSpPr>
          <p:cNvPr id="50" name="Rounded Rectangle 49"/>
          <p:cNvSpPr/>
          <p:nvPr/>
        </p:nvSpPr>
        <p:spPr>
          <a:xfrm>
            <a:off x="10392787" y="5321723"/>
            <a:ext cx="951933" cy="797750"/>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23</a:t>
            </a:r>
          </a:p>
        </p:txBody>
      </p:sp>
      <p:sp>
        <p:nvSpPr>
          <p:cNvPr id="52" name="Rounded Rectangle 51"/>
          <p:cNvSpPr/>
          <p:nvPr/>
        </p:nvSpPr>
        <p:spPr>
          <a:xfrm>
            <a:off x="10924749" y="3253361"/>
            <a:ext cx="1154810" cy="918360"/>
          </a:xfrm>
          <a:prstGeom prst="roundRect">
            <a:avLst/>
          </a:prstGeom>
          <a:solidFill>
            <a:srgbClr val="F58466"/>
          </a:solid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400">
                <a:solidFill>
                  <a:srgbClr val="FFFFFF"/>
                </a:solidFill>
                <a:latin typeface="Arial" panose="020B0604020202020204"/>
              </a:rPr>
              <a:t>Equity and Safe Sleep for Infants</a:t>
            </a:r>
          </a:p>
          <a:p>
            <a:pPr algn="ctr">
              <a:defRPr/>
            </a:pPr>
            <a:r>
              <a:rPr lang="en-US" sz="1400">
                <a:solidFill>
                  <a:srgbClr val="FFFFFF"/>
                </a:solidFill>
                <a:latin typeface="Arial" panose="020B0604020202020204"/>
                <a:cs typeface="Arial"/>
              </a:rPr>
              <a:t>2024</a:t>
            </a:r>
          </a:p>
        </p:txBody>
      </p:sp>
      <p:sp>
        <p:nvSpPr>
          <p:cNvPr id="54" name="Rounded Rectangle 53"/>
          <p:cNvSpPr/>
          <p:nvPr/>
        </p:nvSpPr>
        <p:spPr>
          <a:xfrm>
            <a:off x="5106956" y="5330632"/>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18</a:t>
            </a:r>
          </a:p>
        </p:txBody>
      </p:sp>
      <p:sp>
        <p:nvSpPr>
          <p:cNvPr id="56" name="Rounded Rectangle 55"/>
          <p:cNvSpPr/>
          <p:nvPr/>
        </p:nvSpPr>
        <p:spPr>
          <a:xfrm>
            <a:off x="836227" y="1639592"/>
            <a:ext cx="1072085" cy="812493"/>
          </a:xfrm>
          <a:prstGeom prst="roundRect">
            <a:avLst/>
          </a:prstGeom>
          <a:solidFill>
            <a:srgbClr val="F58466"/>
          </a:solidFill>
          <a:ln>
            <a:solidFill>
              <a:srgbClr val="F584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Neonatal</a:t>
            </a:r>
          </a:p>
        </p:txBody>
      </p:sp>
      <p:sp>
        <p:nvSpPr>
          <p:cNvPr id="57" name="Rounded Rectangle 56"/>
          <p:cNvSpPr/>
          <p:nvPr/>
        </p:nvSpPr>
        <p:spPr>
          <a:xfrm>
            <a:off x="1967346" y="1639592"/>
            <a:ext cx="1128813" cy="812493"/>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Obstetric</a:t>
            </a:r>
          </a:p>
        </p:txBody>
      </p:sp>
      <p:sp>
        <p:nvSpPr>
          <p:cNvPr id="6" name="Rounded Rectangle 49">
            <a:extLst>
              <a:ext uri="{FF2B5EF4-FFF2-40B4-BE49-F238E27FC236}">
                <a16:creationId xmlns:a16="http://schemas.microsoft.com/office/drawing/2014/main" id="{F3ED7E25-23C5-287B-B515-4829C0FF9664}"/>
              </a:ext>
            </a:extLst>
          </p:cNvPr>
          <p:cNvSpPr/>
          <p:nvPr/>
        </p:nvSpPr>
        <p:spPr>
          <a:xfrm>
            <a:off x="11341693" y="5321723"/>
            <a:ext cx="851292" cy="797750"/>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24</a:t>
            </a:r>
          </a:p>
        </p:txBody>
      </p:sp>
      <p:cxnSp>
        <p:nvCxnSpPr>
          <p:cNvPr id="7" name="Straight Arrow Connector 6"/>
          <p:cNvCxnSpPr/>
          <p:nvPr/>
        </p:nvCxnSpPr>
        <p:spPr>
          <a:xfrm>
            <a:off x="794203" y="5253574"/>
            <a:ext cx="11400520" cy="1390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35395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a:extLst>
              <a:ext uri="{FF2B5EF4-FFF2-40B4-BE49-F238E27FC236}">
                <a16:creationId xmlns:a16="http://schemas.microsoft.com/office/drawing/2014/main" id="{F75BEC83-D159-8B0F-F620-96A35FA5C767}"/>
              </a:ext>
            </a:extLst>
          </p:cNvPr>
          <p:cNvSpPr>
            <a:spLocks noGrp="1"/>
          </p:cNvSpPr>
          <p:nvPr>
            <p:ph type="title"/>
          </p:nvPr>
        </p:nvSpPr>
        <p:spPr>
          <a:xfrm>
            <a:off x="1371597" y="348865"/>
            <a:ext cx="10044023" cy="877729"/>
          </a:xfrm>
        </p:spPr>
        <p:txBody>
          <a:bodyPr anchor="ctr">
            <a:normAutofit/>
          </a:bodyPr>
          <a:lstStyle/>
          <a:p>
            <a:r>
              <a:rPr lang="en-US" sz="4000">
                <a:solidFill>
                  <a:srgbClr val="FFFFFF"/>
                </a:solidFill>
                <a:ea typeface="Lato Medium"/>
                <a:cs typeface="Lato Medium"/>
              </a:rPr>
              <a:t>ILPQC initiative support</a:t>
            </a:r>
            <a:endParaRPr lang="en-US" sz="4000">
              <a:solidFill>
                <a:srgbClr val="FFFFFF"/>
              </a:solidFill>
            </a:endParaRPr>
          </a:p>
        </p:txBody>
      </p:sp>
      <p:sp>
        <p:nvSpPr>
          <p:cNvPr id="3" name="Footer Placeholder 2">
            <a:extLst>
              <a:ext uri="{FF2B5EF4-FFF2-40B4-BE49-F238E27FC236}">
                <a16:creationId xmlns:a16="http://schemas.microsoft.com/office/drawing/2014/main" id="{CEE04D07-E754-407A-AF01-3E961E5F8299}"/>
              </a:ext>
            </a:extLst>
          </p:cNvPr>
          <p:cNvSpPr>
            <a:spLocks noGrp="1"/>
          </p:cNvSpPr>
          <p:nvPr>
            <p:ph type="ftr" sz="quarter" idx="11"/>
          </p:nvPr>
        </p:nvSpPr>
        <p:spPr>
          <a:xfrm rot="5400000">
            <a:off x="-1828800" y="1984248"/>
            <a:ext cx="4114800" cy="365125"/>
          </a:xfrm>
        </p:spPr>
        <p:txBody>
          <a:bodyPr>
            <a:normAutofit/>
          </a:bodyPr>
          <a:lstStyle/>
          <a:p>
            <a:pPr algn="l">
              <a:spcAft>
                <a:spcPts val="600"/>
              </a:spcAft>
            </a:pPr>
            <a:r>
              <a:rPr lang="en-US" sz="1100">
                <a:solidFill>
                  <a:srgbClr val="FFFFFF"/>
                </a:solidFill>
              </a:rPr>
              <a:t>Illinois Perinatal Quality Collaborative</a:t>
            </a:r>
          </a:p>
        </p:txBody>
      </p:sp>
      <p:sp>
        <p:nvSpPr>
          <p:cNvPr id="2" name="Slide Number Placeholder 1">
            <a:extLst>
              <a:ext uri="{FF2B5EF4-FFF2-40B4-BE49-F238E27FC236}">
                <a16:creationId xmlns:a16="http://schemas.microsoft.com/office/drawing/2014/main" id="{9CE5A4B0-542F-2C9E-8991-42C03138835F}"/>
              </a:ext>
            </a:extLst>
          </p:cNvPr>
          <p:cNvSpPr>
            <a:spLocks noGrp="1"/>
          </p:cNvSpPr>
          <p:nvPr>
            <p:ph type="sldNum" sz="quarter" idx="10"/>
          </p:nvPr>
        </p:nvSpPr>
        <p:spPr>
          <a:xfrm>
            <a:off x="11704320" y="6455664"/>
            <a:ext cx="448056" cy="365125"/>
          </a:xfrm>
        </p:spPr>
        <p:txBody>
          <a:bodyPr>
            <a:normAutofit/>
          </a:bodyPr>
          <a:lstStyle/>
          <a:p>
            <a:pPr>
              <a:spcAft>
                <a:spcPts val="600"/>
              </a:spcAft>
            </a:pPr>
            <a:fld id="{97033E4B-E3EB-3D46-B2D8-3159663620FA}" type="slidenum">
              <a:rPr lang="en-US" sz="1100">
                <a:solidFill>
                  <a:schemeClr val="tx1">
                    <a:lumMod val="50000"/>
                    <a:lumOff val="50000"/>
                  </a:schemeClr>
                </a:solidFill>
              </a:rPr>
              <a:pPr>
                <a:spcAft>
                  <a:spcPts val="600"/>
                </a:spcAft>
              </a:pPr>
              <a:t>13</a:t>
            </a:fld>
            <a:endParaRPr lang="en-US" sz="1100">
              <a:solidFill>
                <a:schemeClr val="tx1">
                  <a:lumMod val="50000"/>
                  <a:lumOff val="50000"/>
                </a:schemeClr>
              </a:solidFill>
            </a:endParaRPr>
          </a:p>
        </p:txBody>
      </p:sp>
      <p:graphicFrame>
        <p:nvGraphicFramePr>
          <p:cNvPr id="7" name="Content Placeholder 4">
            <a:extLst>
              <a:ext uri="{FF2B5EF4-FFF2-40B4-BE49-F238E27FC236}">
                <a16:creationId xmlns:a16="http://schemas.microsoft.com/office/drawing/2014/main" id="{12C8E58B-812A-DA46-B1A6-90A0997A352B}"/>
              </a:ext>
            </a:extLst>
          </p:cNvPr>
          <p:cNvGraphicFramePr>
            <a:graphicFrameLocks noGrp="1"/>
          </p:cNvGraphicFramePr>
          <p:nvPr>
            <p:ph idx="1"/>
            <p:extLst>
              <p:ext uri="{D42A27DB-BD31-4B8C-83A1-F6EECF244321}">
                <p14:modId xmlns:p14="http://schemas.microsoft.com/office/powerpoint/2010/main" val="2198331468"/>
              </p:ext>
            </p:extLst>
          </p:nvPr>
        </p:nvGraphicFramePr>
        <p:xfrm>
          <a:off x="644056" y="2112579"/>
          <a:ext cx="10927829" cy="41928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192611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E9407A-4283-B111-345C-31D89DFF03A2}"/>
              </a:ext>
            </a:extLst>
          </p:cNvPr>
          <p:cNvSpPr>
            <a:spLocks noGrp="1"/>
          </p:cNvSpPr>
          <p:nvPr>
            <p:ph type="title"/>
          </p:nvPr>
        </p:nvSpPr>
        <p:spPr/>
        <p:txBody>
          <a:bodyPr/>
          <a:lstStyle/>
          <a:p>
            <a:r>
              <a:rPr lang="en-US" sz="4800" dirty="0">
                <a:ea typeface="Lato Medium"/>
                <a:cs typeface="Lato Medium"/>
              </a:rPr>
              <a:t>ESSI - Defining the Problem</a:t>
            </a:r>
            <a:endParaRPr lang="en-US" sz="4800" dirty="0"/>
          </a:p>
        </p:txBody>
      </p:sp>
      <p:sp>
        <p:nvSpPr>
          <p:cNvPr id="3" name="Subtitle 2">
            <a:extLst>
              <a:ext uri="{FF2B5EF4-FFF2-40B4-BE49-F238E27FC236}">
                <a16:creationId xmlns:a16="http://schemas.microsoft.com/office/drawing/2014/main" id="{7D25E3C3-3F87-0EF1-E88A-5A092D255913}"/>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9496139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54DF95E-4E67-BAF0-2898-584D247DD41D}"/>
              </a:ext>
            </a:extLst>
          </p:cNvPr>
          <p:cNvSpPr>
            <a:spLocks noGrp="1"/>
          </p:cNvSpPr>
          <p:nvPr>
            <p:ph type="title"/>
          </p:nvPr>
        </p:nvSpPr>
        <p:spPr>
          <a:xfrm>
            <a:off x="410043" y="195973"/>
            <a:ext cx="5978865" cy="1956841"/>
          </a:xfrm>
        </p:spPr>
        <p:txBody>
          <a:bodyPr anchor="b">
            <a:normAutofit/>
          </a:bodyPr>
          <a:lstStyle/>
          <a:p>
            <a:r>
              <a:rPr lang="en-US" sz="4800" dirty="0">
                <a:ea typeface="+mj-lt"/>
                <a:cs typeface="+mj-lt"/>
              </a:rPr>
              <a:t>Defining the Problem</a:t>
            </a:r>
            <a:endParaRPr lang="en-US" sz="4800" b="0" dirty="0">
              <a:cs typeface="Calibri"/>
            </a:endParaRPr>
          </a:p>
        </p:txBody>
      </p:sp>
      <p:sp>
        <p:nvSpPr>
          <p:cNvPr id="15"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Content Placeholder 9">
            <a:extLst>
              <a:ext uri="{FF2B5EF4-FFF2-40B4-BE49-F238E27FC236}">
                <a16:creationId xmlns:a16="http://schemas.microsoft.com/office/drawing/2014/main" id="{82689E54-BD73-FA60-6CE4-3B6868253FDB}"/>
              </a:ext>
            </a:extLst>
          </p:cNvPr>
          <p:cNvSpPr>
            <a:spLocks noGrp="1"/>
          </p:cNvSpPr>
          <p:nvPr>
            <p:ph idx="1"/>
          </p:nvPr>
        </p:nvSpPr>
        <p:spPr>
          <a:xfrm>
            <a:off x="640080" y="2872899"/>
            <a:ext cx="4243589" cy="3320668"/>
          </a:xfrm>
        </p:spPr>
        <p:txBody>
          <a:bodyPr vert="horz" lIns="91440" tIns="45720" rIns="91440" bIns="45720" rtlCol="0" anchor="t">
            <a:normAutofit lnSpcReduction="10000"/>
          </a:bodyPr>
          <a:lstStyle/>
          <a:p>
            <a:r>
              <a:rPr lang="en-US" sz="2200">
                <a:ea typeface="+mn-lt"/>
                <a:cs typeface="+mn-lt"/>
              </a:rPr>
              <a:t>Each year in the U.S., approximately 3,500 infants die of sleep-related causes</a:t>
            </a:r>
          </a:p>
          <a:p>
            <a:r>
              <a:rPr lang="en-US" sz="2200">
                <a:ea typeface="+mn-lt"/>
                <a:cs typeface="+mn-lt"/>
              </a:rPr>
              <a:t>Every 3 days, a baby in Illinois dies in their sleep</a:t>
            </a:r>
          </a:p>
          <a:p>
            <a:r>
              <a:rPr lang="en-US" sz="2200">
                <a:ea typeface="+mn-lt"/>
                <a:cs typeface="+mn-lt"/>
              </a:rPr>
              <a:t>Infants born to Black birthing persons die at 2 times the rate of infants born to White, Hispanic, and Asian persons</a:t>
            </a:r>
            <a:endParaRPr lang="en-US" sz="2200">
              <a:cs typeface="Calibri"/>
            </a:endParaRPr>
          </a:p>
        </p:txBody>
      </p:sp>
      <p:pic>
        <p:nvPicPr>
          <p:cNvPr id="6" name="Content Placeholder 5" descr="A map of the united states with a red and blue outline&#10;&#10;Description automatically generated">
            <a:extLst>
              <a:ext uri="{FF2B5EF4-FFF2-40B4-BE49-F238E27FC236}">
                <a16:creationId xmlns:a16="http://schemas.microsoft.com/office/drawing/2014/main" id="{B6128E00-8074-B03E-C8F6-B2F861BDB84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247"/>
          <a:stretch/>
        </p:blipFill>
        <p:spPr>
          <a:xfrm>
            <a:off x="6049121" y="589945"/>
            <a:ext cx="5844326" cy="5837842"/>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5" name="Footer Placeholder 4">
            <a:extLst>
              <a:ext uri="{FF2B5EF4-FFF2-40B4-BE49-F238E27FC236}">
                <a16:creationId xmlns:a16="http://schemas.microsoft.com/office/drawing/2014/main" id="{46998BF8-9865-F057-0553-B54C685BD77C}"/>
              </a:ext>
            </a:extLst>
          </p:cNvPr>
          <p:cNvSpPr>
            <a:spLocks noGrp="1"/>
          </p:cNvSpPr>
          <p:nvPr>
            <p:ph type="ftr" sz="quarter" idx="11"/>
          </p:nvPr>
        </p:nvSpPr>
        <p:spPr>
          <a:xfrm>
            <a:off x="6248400" y="6356350"/>
            <a:ext cx="4114800" cy="365125"/>
          </a:xfrm>
        </p:spPr>
        <p:txBody>
          <a:bodyP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6844FCDD-F72E-0719-A9A2-4E15D0FA8683}"/>
              </a:ext>
            </a:extLst>
          </p:cNvPr>
          <p:cNvSpPr>
            <a:spLocks noGrp="1"/>
          </p:cNvSpPr>
          <p:nvPr>
            <p:ph type="sldNum" sz="quarter" idx="10"/>
          </p:nvPr>
        </p:nvSpPr>
        <p:spPr>
          <a:xfrm>
            <a:off x="10439400" y="6356350"/>
            <a:ext cx="914400"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033E4B-E3EB-3D46-B2D8-3159663620FA}" type="slidenum">
              <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5</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25654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743AA782-23D1-4521-8CAD-47662984AA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D358DD0-2AA0-AB8F-45B1-8C96C2105FD9}"/>
              </a:ext>
            </a:extLst>
          </p:cNvPr>
          <p:cNvSpPr>
            <a:spLocks noGrp="1"/>
          </p:cNvSpPr>
          <p:nvPr>
            <p:ph type="title"/>
          </p:nvPr>
        </p:nvSpPr>
        <p:spPr>
          <a:xfrm>
            <a:off x="242747" y="539438"/>
            <a:ext cx="6400397" cy="1481328"/>
          </a:xfrm>
        </p:spPr>
        <p:txBody>
          <a:bodyPr anchor="b">
            <a:noAutofit/>
          </a:bodyPr>
          <a:lstStyle/>
          <a:p>
            <a:pPr>
              <a:lnSpc>
                <a:spcPct val="90000"/>
              </a:lnSpc>
            </a:pPr>
            <a:r>
              <a:rPr lang="en-US" sz="4800" dirty="0">
                <a:ea typeface="Lato Medium"/>
                <a:cs typeface="Calibri"/>
              </a:rPr>
              <a:t>Defining the Problem</a:t>
            </a:r>
            <a:endParaRPr lang="en-US" sz="4800" dirty="0">
              <a:ea typeface="Lato Medium"/>
            </a:endParaRPr>
          </a:p>
        </p:txBody>
      </p:sp>
      <p:sp>
        <p:nvSpPr>
          <p:cNvPr id="21" name="sketch line">
            <a:extLst>
              <a:ext uri="{FF2B5EF4-FFF2-40B4-BE49-F238E27FC236}">
                <a16:creationId xmlns:a16="http://schemas.microsoft.com/office/drawing/2014/main" id="{650D18FE-0824-4A46-B22C-A86B52E578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372868"/>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Content Placeholder 13">
            <a:extLst>
              <a:ext uri="{FF2B5EF4-FFF2-40B4-BE49-F238E27FC236}">
                <a16:creationId xmlns:a16="http://schemas.microsoft.com/office/drawing/2014/main" id="{700DFE8C-04E0-11F7-1D35-A335A4579AA0}"/>
              </a:ext>
            </a:extLst>
          </p:cNvPr>
          <p:cNvSpPr>
            <a:spLocks noGrp="1"/>
          </p:cNvSpPr>
          <p:nvPr>
            <p:ph idx="1"/>
          </p:nvPr>
        </p:nvSpPr>
        <p:spPr>
          <a:xfrm>
            <a:off x="645313" y="3094391"/>
            <a:ext cx="4804511" cy="1262858"/>
          </a:xfrm>
        </p:spPr>
        <p:txBody>
          <a:bodyPr vert="horz" lIns="91440" tIns="45720" rIns="91440" bIns="45720" rtlCol="0" anchor="t">
            <a:normAutofit/>
          </a:bodyPr>
          <a:lstStyle/>
          <a:p>
            <a:r>
              <a:rPr lang="en-US" sz="2200" dirty="0">
                <a:ea typeface="+mn-lt"/>
                <a:cs typeface="+mn-lt"/>
              </a:rPr>
              <a:t>55% of injury deaths among infants less than one year in Illinois are due to suffocation in bed </a:t>
            </a:r>
          </a:p>
        </p:txBody>
      </p:sp>
      <p:pic>
        <p:nvPicPr>
          <p:cNvPr id="8" name="Picture 7" descr="A white arrow with blue text and a blue arrow&#10;&#10;Description automatically generated">
            <a:extLst>
              <a:ext uri="{FF2B5EF4-FFF2-40B4-BE49-F238E27FC236}">
                <a16:creationId xmlns:a16="http://schemas.microsoft.com/office/drawing/2014/main" id="{5B6067A6-4261-E8D7-8714-D2A90EF2CC5E}"/>
              </a:ext>
            </a:extLst>
          </p:cNvPr>
          <p:cNvPicPr>
            <a:picLocks noChangeAspect="1"/>
          </p:cNvPicPr>
          <p:nvPr/>
        </p:nvPicPr>
        <p:blipFill>
          <a:blip r:embed="rId2"/>
          <a:stretch>
            <a:fillRect/>
          </a:stretch>
        </p:blipFill>
        <p:spPr>
          <a:xfrm>
            <a:off x="6884333" y="640080"/>
            <a:ext cx="3888398" cy="5577840"/>
          </a:xfrm>
          <a:prstGeom prst="rect">
            <a:avLst/>
          </a:prstGeom>
        </p:spPr>
      </p:pic>
      <p:sp>
        <p:nvSpPr>
          <p:cNvPr id="5" name="Footer Placeholder 4">
            <a:extLst>
              <a:ext uri="{FF2B5EF4-FFF2-40B4-BE49-F238E27FC236}">
                <a16:creationId xmlns:a16="http://schemas.microsoft.com/office/drawing/2014/main" id="{38D3D7B5-2209-DCD1-7D65-DCCCB8747795}"/>
              </a:ext>
            </a:extLst>
          </p:cNvPr>
          <p:cNvSpPr>
            <a:spLocks noGrp="1"/>
          </p:cNvSpPr>
          <p:nvPr>
            <p:ph type="ftr" sz="quarter" idx="11"/>
          </p:nvPr>
        </p:nvSpPr>
        <p:spPr>
          <a:xfrm>
            <a:off x="4038600" y="6356350"/>
            <a:ext cx="4114800" cy="365125"/>
          </a:xfrm>
        </p:spPr>
        <p:txBody>
          <a:bodyP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1B3C747C-E353-0DDD-F6BF-01BAF8C69224}"/>
              </a:ext>
            </a:extLst>
          </p:cNvPr>
          <p:cNvSpPr>
            <a:spLocks noGrp="1"/>
          </p:cNvSpPr>
          <p:nvPr>
            <p:ph type="sldNum" sz="quarter" idx="10"/>
          </p:nvPr>
        </p:nvSpPr>
        <p:spPr>
          <a:xfrm>
            <a:off x="8610600" y="6356350"/>
            <a:ext cx="2743200"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6</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37705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2B97F24A-32CE-4C1C-A50D-3016B394DC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3"/>
          <p:cNvSpPr txBox="1">
            <a:spLocks/>
          </p:cNvSpPr>
          <p:nvPr/>
        </p:nvSpPr>
        <p:spPr>
          <a:xfrm>
            <a:off x="630936" y="639520"/>
            <a:ext cx="3429000" cy="1719072"/>
          </a:xfrm>
          <a:prstGeom prst="rect">
            <a:avLst/>
          </a:prstGeom>
        </p:spPr>
        <p:txBody>
          <a:bodyPr vert="horz" lIns="91440" tIns="45720" rIns="91440" bIns="45720" rtlCol="0" anchor="b">
            <a:norm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nSpc>
                <a:spcPct val="90000"/>
              </a:lnSpc>
              <a:spcAft>
                <a:spcPts val="600"/>
              </a:spcAft>
            </a:pPr>
            <a:r>
              <a:rPr lang="en-US" sz="3800" kern="1200">
                <a:solidFill>
                  <a:schemeClr val="tx1"/>
                </a:solidFill>
                <a:latin typeface="+mj-lt"/>
                <a:ea typeface="+mj-ea"/>
                <a:cs typeface="+mj-cs"/>
              </a:rPr>
              <a:t>Infant Mortality in Illinois</a:t>
            </a:r>
          </a:p>
        </p:txBody>
      </p:sp>
      <p:sp>
        <p:nvSpPr>
          <p:cNvPr id="15" name="sketch line">
            <a:extLst>
              <a:ext uri="{FF2B5EF4-FFF2-40B4-BE49-F238E27FC236}">
                <a16:creationId xmlns:a16="http://schemas.microsoft.com/office/drawing/2014/main" id="{CD8B4F24-440B-49E9-B85D-733523DC064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573756"/>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630936" y="2807208"/>
            <a:ext cx="3429000" cy="3410712"/>
          </a:xfrm>
        </p:spPr>
        <p:txBody>
          <a:bodyPr vert="horz" lIns="91440" tIns="45720" rIns="91440" bIns="45720" rtlCol="0" anchor="t">
            <a:normAutofit/>
          </a:bodyPr>
          <a:lstStyle/>
          <a:p>
            <a:pPr>
              <a:lnSpc>
                <a:spcPct val="90000"/>
              </a:lnSpc>
            </a:pPr>
            <a:r>
              <a:rPr lang="en-US" sz="2200">
                <a:ea typeface="+mn-ea"/>
                <a:cs typeface="+mn-cs"/>
              </a:rPr>
              <a:t>Racial and ethnic disparities exist for </a:t>
            </a:r>
            <a:r>
              <a:rPr lang="en-US" sz="2200" b="1">
                <a:ea typeface="+mn-ea"/>
                <a:cs typeface="+mn-cs"/>
              </a:rPr>
              <a:t>ALL</a:t>
            </a:r>
            <a:r>
              <a:rPr lang="en-US" sz="2200">
                <a:ea typeface="+mn-ea"/>
                <a:cs typeface="+mn-cs"/>
              </a:rPr>
              <a:t> causes of infant mortality.</a:t>
            </a:r>
          </a:p>
          <a:p>
            <a:pPr>
              <a:lnSpc>
                <a:spcPct val="90000"/>
              </a:lnSpc>
            </a:pPr>
            <a:r>
              <a:rPr lang="en-US" sz="2200">
                <a:ea typeface="+mn-ea"/>
                <a:cs typeface="+mn-cs"/>
              </a:rPr>
              <a:t>Black infants are 6 times more likely to die from </a:t>
            </a:r>
            <a:r>
              <a:rPr lang="en-US" sz="2200" b="1">
                <a:ea typeface="+mn-ea"/>
                <a:cs typeface="+mn-cs"/>
              </a:rPr>
              <a:t>SUID</a:t>
            </a:r>
            <a:r>
              <a:rPr lang="en-US" sz="2200">
                <a:ea typeface="+mn-ea"/>
                <a:cs typeface="+mn-cs"/>
              </a:rPr>
              <a:t> than white infants.</a:t>
            </a:r>
          </a:p>
          <a:p>
            <a:pPr marL="0">
              <a:lnSpc>
                <a:spcPct val="90000"/>
              </a:lnSpc>
            </a:pPr>
            <a:endParaRPr lang="en-US" sz="2200">
              <a:ea typeface="+mn-ea"/>
              <a:cs typeface="+mn-cs"/>
            </a:endParaRPr>
          </a:p>
          <a:p>
            <a:pPr marL="0">
              <a:lnSpc>
                <a:spcPct val="90000"/>
              </a:lnSpc>
            </a:pPr>
            <a:endParaRPr lang="en-US" sz="2200">
              <a:ea typeface="+mn-ea"/>
              <a:cs typeface="+mn-cs"/>
            </a:endParaRPr>
          </a:p>
        </p:txBody>
      </p:sp>
      <p:pic>
        <p:nvPicPr>
          <p:cNvPr id="8" name="Picture 7"/>
          <p:cNvPicPr>
            <a:picLocks noChangeAspect="1"/>
          </p:cNvPicPr>
          <p:nvPr/>
        </p:nvPicPr>
        <p:blipFill>
          <a:blip r:embed="rId3"/>
          <a:stretch>
            <a:fillRect/>
          </a:stretch>
        </p:blipFill>
        <p:spPr>
          <a:xfrm>
            <a:off x="4107955" y="1507518"/>
            <a:ext cx="8082665" cy="4202396"/>
          </a:xfrm>
          <a:prstGeom prst="rect">
            <a:avLst/>
          </a:prstGeom>
        </p:spPr>
      </p:pic>
      <p:sp>
        <p:nvSpPr>
          <p:cNvPr id="5" name="Footer Placeholder 4"/>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pPr>
            <a:r>
              <a:rPr lang="en-US" kern="1200">
                <a:solidFill>
                  <a:schemeClr val="tx1">
                    <a:tint val="75000"/>
                  </a:schemeClr>
                </a:solidFill>
                <a:latin typeface="+mn-lt"/>
                <a:ea typeface="+mn-ea"/>
                <a:cs typeface="+mn-cs"/>
              </a:rPr>
              <a:t>Illinois Perinatal Quality Collaborative</a:t>
            </a:r>
          </a:p>
        </p:txBody>
      </p:sp>
      <p:sp>
        <p:nvSpPr>
          <p:cNvPr id="4" name="Slide Number Placeholder 3"/>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smtClean="0"/>
              <a:pPr>
                <a:spcAft>
                  <a:spcPts val="600"/>
                </a:spcAft>
              </a:pPr>
              <a:t>17</a:t>
            </a:fld>
            <a:endParaRPr lang="en-US"/>
          </a:p>
        </p:txBody>
      </p:sp>
    </p:spTree>
    <p:extLst>
      <p:ext uri="{BB962C8B-B14F-4D97-AF65-F5344CB8AC3E}">
        <p14:creationId xmlns:p14="http://schemas.microsoft.com/office/powerpoint/2010/main" val="17581588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6521" y="-359721"/>
            <a:ext cx="6022157" cy="1908738"/>
          </a:xfrm>
        </p:spPr>
        <p:txBody>
          <a:bodyPr anchor="ctr">
            <a:normAutofit/>
          </a:bodyPr>
          <a:lstStyle/>
          <a:p>
            <a:pPr>
              <a:lnSpc>
                <a:spcPct val="90000"/>
              </a:lnSpc>
            </a:pPr>
            <a:r>
              <a:rPr lang="en-US" sz="3700" dirty="0">
                <a:ea typeface="Lato Medium"/>
                <a:cs typeface="Lato Medium"/>
              </a:rPr>
              <a:t>IDPH Infant Mortality Report</a:t>
            </a:r>
            <a:endParaRPr lang="en-US" sz="3700" dirty="0"/>
          </a:p>
        </p:txBody>
      </p:sp>
      <p:sp>
        <p:nvSpPr>
          <p:cNvPr id="3" name="Content Placeholder 2"/>
          <p:cNvSpPr>
            <a:spLocks noGrp="1"/>
          </p:cNvSpPr>
          <p:nvPr>
            <p:ph idx="1"/>
          </p:nvPr>
        </p:nvSpPr>
        <p:spPr>
          <a:xfrm>
            <a:off x="1649426" y="891109"/>
            <a:ext cx="7325896" cy="1693077"/>
          </a:xfrm>
        </p:spPr>
        <p:txBody>
          <a:bodyPr anchor="ctr">
            <a:normAutofit/>
          </a:bodyPr>
          <a:lstStyle/>
          <a:p>
            <a:pPr marL="0" indent="0">
              <a:buNone/>
            </a:pPr>
            <a:r>
              <a:rPr lang="en-US" sz="2200" dirty="0">
                <a:ea typeface="+mn-lt"/>
                <a:cs typeface="+mn-lt"/>
              </a:rPr>
              <a:t>The Illinois Perinatal Quality Collaborative (ILPQC) implements improvement projects in birthing and children's hospitals to ensure high-quality care for pregnant women and infants. </a:t>
            </a:r>
          </a:p>
          <a:p>
            <a:pPr marL="0" indent="0" algn="r">
              <a:buNone/>
            </a:pPr>
            <a:r>
              <a:rPr lang="en-US" sz="2200" dirty="0">
                <a:ea typeface="Lato"/>
                <a:cs typeface="Calibri"/>
              </a:rPr>
              <a:t>2020 IDPH </a:t>
            </a:r>
            <a:r>
              <a:rPr lang="en-US" sz="2200" dirty="0">
                <a:ea typeface="+mn-lt"/>
                <a:cs typeface="+mn-lt"/>
              </a:rPr>
              <a:t>Illinois Infant Mortality Report</a:t>
            </a:r>
            <a:endParaRPr lang="en-US" sz="2200" dirty="0">
              <a:cs typeface="Calibri"/>
            </a:endParaRPr>
          </a:p>
        </p:txBody>
      </p:sp>
      <p:pic>
        <p:nvPicPr>
          <p:cNvPr id="6" name="Picture 5"/>
          <p:cNvPicPr>
            <a:picLocks noChangeAspect="1"/>
          </p:cNvPicPr>
          <p:nvPr/>
        </p:nvPicPr>
        <p:blipFill>
          <a:blip r:embed="rId3"/>
          <a:stretch>
            <a:fillRect/>
          </a:stretch>
        </p:blipFill>
        <p:spPr>
          <a:xfrm>
            <a:off x="630936" y="2591979"/>
            <a:ext cx="10917936" cy="3357266"/>
          </a:xfrm>
          <a:prstGeom prst="rect">
            <a:avLst/>
          </a:prstGeom>
        </p:spPr>
      </p:pic>
      <p:sp>
        <p:nvSpPr>
          <p:cNvPr id="5" name="Footer Placeholder 4"/>
          <p:cNvSpPr>
            <a:spLocks noGrp="1"/>
          </p:cNvSpPr>
          <p:nvPr>
            <p:ph type="ftr" sz="quarter" idx="11"/>
          </p:nvPr>
        </p:nvSpPr>
        <p:spPr>
          <a:xfrm>
            <a:off x="4038600" y="6356350"/>
            <a:ext cx="4114800" cy="365125"/>
          </a:xfrm>
        </p:spPr>
        <p:txBody>
          <a:bodyPr>
            <a:normAutofit/>
          </a:bodyPr>
          <a:lstStyle/>
          <a:p>
            <a:pPr>
              <a:spcAft>
                <a:spcPts val="600"/>
              </a:spcAft>
            </a:pPr>
            <a:r>
              <a:rPr lang="en-US"/>
              <a:t>Illinois Perinatal Quality Collaborative</a:t>
            </a:r>
          </a:p>
        </p:txBody>
      </p:sp>
      <p:sp>
        <p:nvSpPr>
          <p:cNvPr id="4" name="Slide Number Placeholder 3"/>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smtClean="0"/>
              <a:pPr>
                <a:spcAft>
                  <a:spcPts val="600"/>
                </a:spcAft>
              </a:pPr>
              <a:t>18</a:t>
            </a:fld>
            <a:endParaRPr lang="en-US"/>
          </a:p>
        </p:txBody>
      </p:sp>
    </p:spTree>
    <p:extLst>
      <p:ext uri="{BB962C8B-B14F-4D97-AF65-F5344CB8AC3E}">
        <p14:creationId xmlns:p14="http://schemas.microsoft.com/office/powerpoint/2010/main" val="7906354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E71487-37C0-4C0E-623A-93B83F76D043}"/>
              </a:ext>
            </a:extLst>
          </p:cNvPr>
          <p:cNvSpPr>
            <a:spLocks noGrp="1"/>
          </p:cNvSpPr>
          <p:nvPr>
            <p:ph type="title"/>
          </p:nvPr>
        </p:nvSpPr>
        <p:spPr>
          <a:xfrm>
            <a:off x="609600" y="365125"/>
            <a:ext cx="6327059" cy="1337853"/>
          </a:xfrm>
        </p:spPr>
        <p:txBody>
          <a:bodyPr/>
          <a:lstStyle/>
          <a:p>
            <a:r>
              <a:rPr lang="en-US" sz="4800">
                <a:ea typeface="Lato Medium"/>
                <a:cs typeface="Lato Medium"/>
              </a:rPr>
              <a:t>Putting it Together</a:t>
            </a:r>
            <a:endParaRPr lang="en-US" sz="4800"/>
          </a:p>
        </p:txBody>
      </p:sp>
      <p:sp>
        <p:nvSpPr>
          <p:cNvPr id="4" name="Slide Number Placeholder 3">
            <a:extLst>
              <a:ext uri="{FF2B5EF4-FFF2-40B4-BE49-F238E27FC236}">
                <a16:creationId xmlns:a16="http://schemas.microsoft.com/office/drawing/2014/main" id="{CBDFE288-4664-66CE-222B-30B7E9F7C77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447496C-4A07-ABDD-3E52-7818D114D16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7" name="Freeform 2">
            <a:extLst>
              <a:ext uri="{FF2B5EF4-FFF2-40B4-BE49-F238E27FC236}">
                <a16:creationId xmlns:a16="http://schemas.microsoft.com/office/drawing/2014/main" id="{0F2915B1-343A-A7D1-A8F0-0C5B7AB01CE3}"/>
              </a:ext>
            </a:extLst>
          </p:cNvPr>
          <p:cNvSpPr/>
          <p:nvPr/>
        </p:nvSpPr>
        <p:spPr>
          <a:xfrm>
            <a:off x="3306701" y="2971393"/>
            <a:ext cx="1334186" cy="1280818"/>
          </a:xfrm>
          <a:custGeom>
            <a:avLst/>
            <a:gdLst/>
            <a:ahLst/>
            <a:cxnLst/>
            <a:rect l="l" t="t" r="r" b="b"/>
            <a:pathLst>
              <a:path w="2001279" h="1921227">
                <a:moveTo>
                  <a:pt x="0" y="0"/>
                </a:moveTo>
                <a:lnTo>
                  <a:pt x="2001278" y="0"/>
                </a:lnTo>
                <a:lnTo>
                  <a:pt x="2001278" y="1921227"/>
                </a:lnTo>
                <a:lnTo>
                  <a:pt x="0" y="1921227"/>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sp>
      <p:sp>
        <p:nvSpPr>
          <p:cNvPr id="9" name="Freeform 3">
            <a:extLst>
              <a:ext uri="{FF2B5EF4-FFF2-40B4-BE49-F238E27FC236}">
                <a16:creationId xmlns:a16="http://schemas.microsoft.com/office/drawing/2014/main" id="{5B6B85F4-3C0B-C459-93D1-08C96EE11C3C}"/>
              </a:ext>
            </a:extLst>
          </p:cNvPr>
          <p:cNvSpPr/>
          <p:nvPr/>
        </p:nvSpPr>
        <p:spPr>
          <a:xfrm>
            <a:off x="235002" y="2315759"/>
            <a:ext cx="2709749" cy="2709749"/>
          </a:xfrm>
          <a:custGeom>
            <a:avLst/>
            <a:gdLst/>
            <a:ahLst/>
            <a:cxnLst/>
            <a:rect l="l" t="t" r="r" b="b"/>
            <a:pathLst>
              <a:path w="4064623" h="4064623">
                <a:moveTo>
                  <a:pt x="0" y="0"/>
                </a:moveTo>
                <a:lnTo>
                  <a:pt x="4064623" y="0"/>
                </a:lnTo>
                <a:lnTo>
                  <a:pt x="4064623" y="4064624"/>
                </a:lnTo>
                <a:lnTo>
                  <a:pt x="0" y="4064624"/>
                </a:lnTo>
                <a:lnTo>
                  <a:pt x="0" y="0"/>
                </a:lnTo>
                <a:close/>
              </a:path>
            </a:pathLst>
          </a:custGeo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sp>
      <p:sp>
        <p:nvSpPr>
          <p:cNvPr id="11" name="Freeform 4">
            <a:extLst>
              <a:ext uri="{FF2B5EF4-FFF2-40B4-BE49-F238E27FC236}">
                <a16:creationId xmlns:a16="http://schemas.microsoft.com/office/drawing/2014/main" id="{4354EF3D-18AD-5FC4-80E6-E6E182BD4CB4}"/>
              </a:ext>
            </a:extLst>
          </p:cNvPr>
          <p:cNvSpPr/>
          <p:nvPr/>
        </p:nvSpPr>
        <p:spPr>
          <a:xfrm>
            <a:off x="4886504" y="2307395"/>
            <a:ext cx="2718112" cy="2718112"/>
          </a:xfrm>
          <a:custGeom>
            <a:avLst/>
            <a:gdLst/>
            <a:ahLst/>
            <a:cxnLst/>
            <a:rect l="l" t="t" r="r" b="b"/>
            <a:pathLst>
              <a:path w="4077168" h="4077168">
                <a:moveTo>
                  <a:pt x="0" y="0"/>
                </a:moveTo>
                <a:lnTo>
                  <a:pt x="4077169" y="0"/>
                </a:lnTo>
                <a:lnTo>
                  <a:pt x="4077169" y="4077169"/>
                </a:lnTo>
                <a:lnTo>
                  <a:pt x="0" y="4077169"/>
                </a:lnTo>
                <a:lnTo>
                  <a:pt x="0" y="0"/>
                </a:lnTo>
                <a:close/>
              </a:path>
            </a:pathLst>
          </a:custGeom>
          <a: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sp>
      <p:sp>
        <p:nvSpPr>
          <p:cNvPr id="13" name="Freeform 5">
            <a:extLst>
              <a:ext uri="{FF2B5EF4-FFF2-40B4-BE49-F238E27FC236}">
                <a16:creationId xmlns:a16="http://schemas.microsoft.com/office/drawing/2014/main" id="{619438E2-EF62-8DE5-917B-63D2EB66C782}"/>
              </a:ext>
            </a:extLst>
          </p:cNvPr>
          <p:cNvSpPr/>
          <p:nvPr/>
        </p:nvSpPr>
        <p:spPr>
          <a:xfrm>
            <a:off x="7835935" y="3276340"/>
            <a:ext cx="1078199" cy="780225"/>
          </a:xfrm>
          <a:custGeom>
            <a:avLst/>
            <a:gdLst/>
            <a:ahLst/>
            <a:cxnLst/>
            <a:rect l="l" t="t" r="r" b="b"/>
            <a:pathLst>
              <a:path w="1617299" h="1170337">
                <a:moveTo>
                  <a:pt x="0" y="0"/>
                </a:moveTo>
                <a:lnTo>
                  <a:pt x="1617300" y="0"/>
                </a:lnTo>
                <a:lnTo>
                  <a:pt x="1617300" y="1170337"/>
                </a:lnTo>
                <a:lnTo>
                  <a:pt x="0" y="1170337"/>
                </a:lnTo>
                <a:lnTo>
                  <a:pt x="0" y="0"/>
                </a:lnTo>
                <a:close/>
              </a:path>
            </a:pathLst>
          </a:custGeom>
          <a: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a:blipFill>
        </p:spPr>
      </p:sp>
      <p:sp>
        <p:nvSpPr>
          <p:cNvPr id="15" name="Freeform 6">
            <a:extLst>
              <a:ext uri="{FF2B5EF4-FFF2-40B4-BE49-F238E27FC236}">
                <a16:creationId xmlns:a16="http://schemas.microsoft.com/office/drawing/2014/main" id="{DEDB5EE0-2BE1-D237-F635-065D8EDF0FD1}"/>
              </a:ext>
            </a:extLst>
          </p:cNvPr>
          <p:cNvSpPr/>
          <p:nvPr/>
        </p:nvSpPr>
        <p:spPr>
          <a:xfrm>
            <a:off x="9257034" y="2269474"/>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a:blipFill>
        </p:spPr>
      </p:sp>
      <p:sp>
        <p:nvSpPr>
          <p:cNvPr id="17" name="TextBox 7">
            <a:extLst>
              <a:ext uri="{FF2B5EF4-FFF2-40B4-BE49-F238E27FC236}">
                <a16:creationId xmlns:a16="http://schemas.microsoft.com/office/drawing/2014/main" id="{E44795EA-358A-F7D2-CE8C-50736D9317D9}"/>
              </a:ext>
            </a:extLst>
          </p:cNvPr>
          <p:cNvSpPr txBox="1"/>
          <p:nvPr/>
        </p:nvSpPr>
        <p:spPr>
          <a:xfrm>
            <a:off x="375376" y="2825579"/>
            <a:ext cx="2256848" cy="1577355"/>
          </a:xfrm>
          <a:prstGeom prst="rect">
            <a:avLst/>
          </a:prstGeom>
        </p:spPr>
        <p:txBody>
          <a:bodyPr lIns="0" tIns="0" rIns="0" bIns="0" rtlCol="0" anchor="t">
            <a:spAutoFit/>
          </a:bodyPr>
          <a:lstStyle/>
          <a:p>
            <a:pPr marL="0" marR="0" lvl="0" indent="0" algn="ctr" defTabSz="914400" rtl="0" eaLnBrk="1" fontAlgn="auto" latinLnBrk="0" hangingPunct="1">
              <a:lnSpc>
                <a:spcPts val="4057"/>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Canva Sans Bold"/>
                <a:ea typeface="+mn-ea"/>
                <a:cs typeface="+mn-cs"/>
              </a:rPr>
              <a:t>Equitable Care Delivery</a:t>
            </a:r>
          </a:p>
        </p:txBody>
      </p:sp>
      <p:sp>
        <p:nvSpPr>
          <p:cNvPr id="19" name="TextBox 8">
            <a:extLst>
              <a:ext uri="{FF2B5EF4-FFF2-40B4-BE49-F238E27FC236}">
                <a16:creationId xmlns:a16="http://schemas.microsoft.com/office/drawing/2014/main" id="{8EE4F3A6-19F8-9372-0E8F-556564648CEC}"/>
              </a:ext>
            </a:extLst>
          </p:cNvPr>
          <p:cNvSpPr txBox="1"/>
          <p:nvPr/>
        </p:nvSpPr>
        <p:spPr>
          <a:xfrm>
            <a:off x="4840834" y="3087245"/>
            <a:ext cx="2734325" cy="1051570"/>
          </a:xfrm>
          <a:prstGeom prst="rect">
            <a:avLst/>
          </a:prstGeom>
        </p:spPr>
        <p:txBody>
          <a:bodyPr wrap="square" lIns="0" tIns="0" rIns="0" bIns="0" rtlCol="0" anchor="t">
            <a:spAutoFit/>
          </a:bodyPr>
          <a:lstStyle/>
          <a:p>
            <a:pPr marL="0" marR="0" lvl="0" indent="0" algn="ctr" defTabSz="914400" rtl="0" eaLnBrk="1" fontAlgn="auto" latinLnBrk="0" hangingPunct="1">
              <a:lnSpc>
                <a:spcPts val="4057"/>
              </a:lnSpc>
              <a:spcBef>
                <a:spcPts val="0"/>
              </a:spcBef>
              <a:spcAft>
                <a:spcPts val="0"/>
              </a:spcAft>
              <a:buClrTx/>
              <a:buSzTx/>
              <a:buFontTx/>
              <a:buNone/>
              <a:tabLst/>
              <a:defRPr/>
            </a:pPr>
            <a:r>
              <a:rPr kumimoji="0" lang="en-US" sz="3400" b="0" i="0" u="none" strike="noStrike" kern="1200" cap="none" spc="0" normalizeH="0" baseline="0" noProof="0">
                <a:ln>
                  <a:noFill/>
                </a:ln>
                <a:solidFill>
                  <a:srgbClr val="FFFFFF"/>
                </a:solidFill>
                <a:effectLst/>
                <a:uLnTx/>
                <a:uFillTx/>
                <a:latin typeface="Canva Sans Bold"/>
                <a:ea typeface="+mn-ea"/>
                <a:cs typeface="+mn-cs"/>
              </a:rPr>
              <a:t>Safe Sleep Environment</a:t>
            </a:r>
          </a:p>
        </p:txBody>
      </p:sp>
      <p:sp>
        <p:nvSpPr>
          <p:cNvPr id="21" name="TextBox 9">
            <a:extLst>
              <a:ext uri="{FF2B5EF4-FFF2-40B4-BE49-F238E27FC236}">
                <a16:creationId xmlns:a16="http://schemas.microsoft.com/office/drawing/2014/main" id="{3141B83C-6D91-76C8-D51C-2A418EBA8137}"/>
              </a:ext>
            </a:extLst>
          </p:cNvPr>
          <p:cNvSpPr txBox="1"/>
          <p:nvPr/>
        </p:nvSpPr>
        <p:spPr>
          <a:xfrm>
            <a:off x="9257034" y="2857093"/>
            <a:ext cx="2256848" cy="997966"/>
          </a:xfrm>
          <a:prstGeom prst="rect">
            <a:avLst/>
          </a:prstGeom>
        </p:spPr>
        <p:txBody>
          <a:bodyPr lIns="0" tIns="0" rIns="0" bIns="0" rtlCol="0" anchor="t">
            <a:spAutoFit/>
          </a:bodyPr>
          <a:lstStyle/>
          <a:p>
            <a:pPr marL="0" marR="0" lvl="0" indent="0" algn="ctr" defTabSz="914400" rtl="0" eaLnBrk="1" fontAlgn="auto" latinLnBrk="0" hangingPunct="1">
              <a:lnSpc>
                <a:spcPts val="8256"/>
              </a:lnSpc>
              <a:spcBef>
                <a:spcPts val="0"/>
              </a:spcBef>
              <a:spcAft>
                <a:spcPts val="0"/>
              </a:spcAft>
              <a:buClrTx/>
              <a:buSzTx/>
              <a:buFontTx/>
              <a:buNone/>
              <a:tabLst/>
              <a:defRPr/>
            </a:pPr>
            <a:r>
              <a:rPr kumimoji="0" lang="en-US" sz="5898" b="0" i="0" u="none" strike="noStrike" kern="1200" cap="none" spc="0" normalizeH="0" baseline="0" noProof="0">
                <a:ln>
                  <a:noFill/>
                </a:ln>
                <a:solidFill>
                  <a:srgbClr val="FFFFFF"/>
                </a:solidFill>
                <a:effectLst/>
                <a:uLnTx/>
                <a:uFillTx/>
                <a:latin typeface="Canva Sans Bold"/>
                <a:ea typeface="+mn-ea"/>
                <a:cs typeface="+mn-cs"/>
              </a:rPr>
              <a:t>ESSI</a:t>
            </a:r>
          </a:p>
        </p:txBody>
      </p:sp>
    </p:spTree>
    <p:extLst>
      <p:ext uri="{BB962C8B-B14F-4D97-AF65-F5344CB8AC3E}">
        <p14:creationId xmlns:p14="http://schemas.microsoft.com/office/powerpoint/2010/main" val="35505434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320039" y="337457"/>
            <a:ext cx="8229600" cy="1143000"/>
          </a:xfrm>
          <a:noFill/>
        </p:spPr>
        <p:txBody>
          <a:bodyPr>
            <a:normAutofit/>
          </a:bodyPr>
          <a:lstStyle/>
          <a:p>
            <a:r>
              <a:rPr lang="en-US" altLang="en-US" sz="4800">
                <a:ea typeface="Lato Medium"/>
                <a:cs typeface="Lato Medium"/>
              </a:rPr>
              <a:t>Neonatal Breakout Overview</a:t>
            </a:r>
          </a:p>
        </p:txBody>
      </p:sp>
      <p:sp>
        <p:nvSpPr>
          <p:cNvPr id="16387" name="Content Placeholder 3"/>
          <p:cNvSpPr>
            <a:spLocks noGrp="1"/>
          </p:cNvSpPr>
          <p:nvPr>
            <p:ph idx="1"/>
          </p:nvPr>
        </p:nvSpPr>
        <p:spPr>
          <a:xfrm>
            <a:off x="504159" y="1744182"/>
            <a:ext cx="5275157" cy="4924534"/>
          </a:xfrm>
        </p:spPr>
        <p:txBody>
          <a:bodyPr vert="horz" lIns="91440" tIns="45720" rIns="91440" bIns="45720" rtlCol="0" anchor="t">
            <a:normAutofit/>
          </a:bodyPr>
          <a:lstStyle/>
          <a:p>
            <a:r>
              <a:rPr lang="en-US" altLang="en-US" sz="2800" dirty="0">
                <a:ea typeface="Lato"/>
                <a:cs typeface="Lato"/>
              </a:rPr>
              <a:t>What is ILPQC?</a:t>
            </a:r>
          </a:p>
          <a:p>
            <a:r>
              <a:rPr lang="en-US" altLang="en-US" sz="2800" dirty="0">
                <a:ea typeface="Lato"/>
                <a:cs typeface="Lato"/>
              </a:rPr>
              <a:t>ESSI Initiative Background</a:t>
            </a:r>
            <a:endParaRPr lang="en-US" altLang="en-US" sz="2800" dirty="0"/>
          </a:p>
          <a:p>
            <a:pPr>
              <a:buClr>
                <a:srgbClr val="F5668F"/>
              </a:buClr>
            </a:pPr>
            <a:r>
              <a:rPr lang="en-US" altLang="en-US" sz="2800" dirty="0">
                <a:ea typeface="Lato"/>
                <a:cs typeface="Lato"/>
              </a:rPr>
              <a:t>Key Driver Diagram</a:t>
            </a:r>
            <a:endParaRPr lang="en-US" altLang="en-US" sz="2800" dirty="0"/>
          </a:p>
          <a:p>
            <a:pPr>
              <a:buClr>
                <a:srgbClr val="F5668F"/>
              </a:buClr>
            </a:pPr>
            <a:r>
              <a:rPr lang="en-US" altLang="en-US" sz="2800" dirty="0">
                <a:ea typeface="Lato"/>
                <a:cs typeface="Lato"/>
              </a:rPr>
              <a:t>10 Steps for Getting Started </a:t>
            </a:r>
            <a:endParaRPr lang="en-US" altLang="en-US" sz="2800" dirty="0"/>
          </a:p>
          <a:p>
            <a:pPr>
              <a:buClr>
                <a:srgbClr val="F5668F"/>
              </a:buClr>
            </a:pPr>
            <a:r>
              <a:rPr lang="en-US" altLang="en-US" sz="2800" dirty="0">
                <a:ea typeface="Lato"/>
                <a:cs typeface="Lato"/>
              </a:rPr>
              <a:t>ESSI 2024 plan</a:t>
            </a:r>
            <a:endParaRPr lang="en-US" altLang="en-US" sz="2800" dirty="0"/>
          </a:p>
          <a:p>
            <a:pPr>
              <a:buClr>
                <a:srgbClr val="F5668F"/>
              </a:buClr>
            </a:pPr>
            <a:r>
              <a:rPr lang="en-US" altLang="en-US" sz="2800" dirty="0">
                <a:ea typeface="Lato"/>
                <a:cs typeface="Lato"/>
              </a:rPr>
              <a:t>Q&amp;A</a:t>
            </a:r>
            <a:endParaRPr lang="en-US" altLang="en-US" sz="2800" dirty="0"/>
          </a:p>
          <a:p>
            <a:pPr>
              <a:buClr>
                <a:srgbClr val="F5668F"/>
              </a:buClr>
            </a:pPr>
            <a:endParaRPr lang="en-US" altLang="en-US" sz="2800" dirty="0"/>
          </a:p>
          <a:p>
            <a:pPr>
              <a:buClr>
                <a:srgbClr val="F5668F"/>
              </a:buClr>
            </a:pPr>
            <a:endParaRPr lang="en-US" altLang="en-US" sz="2200" dirty="0"/>
          </a:p>
          <a:p>
            <a:pPr>
              <a:buClr>
                <a:srgbClr val="F5668F"/>
              </a:buClr>
            </a:pPr>
            <a:endParaRPr lang="en-US" altLang="en-US" sz="2200" dirty="0"/>
          </a:p>
          <a:p>
            <a:pPr marL="457200" lvl="1" indent="0">
              <a:buClr>
                <a:srgbClr val="004990"/>
              </a:buClr>
              <a:buNone/>
            </a:pPr>
            <a:endParaRPr lang="en-US" altLang="en-US" sz="2200" dirty="0"/>
          </a:p>
          <a:p>
            <a:pPr>
              <a:buClr>
                <a:srgbClr val="F5668F"/>
              </a:buClr>
            </a:pPr>
            <a:endParaRPr lang="en-US" altLang="en-US" dirty="0"/>
          </a:p>
        </p:txBody>
      </p:sp>
    </p:spTree>
    <p:extLst>
      <p:ext uri="{BB962C8B-B14F-4D97-AF65-F5344CB8AC3E}">
        <p14:creationId xmlns:p14="http://schemas.microsoft.com/office/powerpoint/2010/main" val="40446910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4FA4E651-C3D8-4DB8-A026-E8531C6AFAC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AAB3FF-760A-B654-5F1B-78AD5BEB6B57}"/>
              </a:ext>
            </a:extLst>
          </p:cNvPr>
          <p:cNvSpPr>
            <a:spLocks noGrp="1"/>
          </p:cNvSpPr>
          <p:nvPr>
            <p:ph type="title"/>
          </p:nvPr>
        </p:nvSpPr>
        <p:spPr>
          <a:xfrm>
            <a:off x="836363" y="4819220"/>
            <a:ext cx="10515600" cy="1286544"/>
          </a:xfrm>
          <a:noFill/>
        </p:spPr>
        <p:txBody>
          <a:bodyPr vert="horz" lIns="91440" tIns="45720" rIns="91440" bIns="45720" rtlCol="0" anchor="b">
            <a:normAutofit fontScale="90000"/>
          </a:bodyPr>
          <a:lstStyle/>
          <a:p>
            <a:pPr algn="ctr">
              <a:lnSpc>
                <a:spcPct val="90000"/>
              </a:lnSpc>
            </a:pPr>
            <a:r>
              <a:rPr lang="en-US" sz="4800">
                <a:solidFill>
                  <a:schemeClr val="tx1"/>
                </a:solidFill>
                <a:ea typeface="+mj-ea"/>
                <a:cs typeface="+mj-cs"/>
              </a:rPr>
              <a:t>ESSI - Equity and Safe Sleep for Infants</a:t>
            </a:r>
            <a:br>
              <a:rPr lang="en-US" sz="5200">
                <a:solidFill>
                  <a:schemeClr val="tx1"/>
                </a:solidFill>
                <a:ea typeface="+mj-ea"/>
                <a:cs typeface="+mj-cs"/>
              </a:rPr>
            </a:br>
            <a:r>
              <a:rPr lang="en-US" sz="5200">
                <a:solidFill>
                  <a:schemeClr val="tx1"/>
                </a:solidFill>
                <a:ea typeface="+mj-ea"/>
                <a:cs typeface="+mj-cs"/>
              </a:rPr>
              <a:t> </a:t>
            </a:r>
          </a:p>
        </p:txBody>
      </p:sp>
      <p:sp>
        <p:nvSpPr>
          <p:cNvPr id="3" name="Subtitle 2">
            <a:extLst>
              <a:ext uri="{FF2B5EF4-FFF2-40B4-BE49-F238E27FC236}">
                <a16:creationId xmlns:a16="http://schemas.microsoft.com/office/drawing/2014/main" id="{BFE56240-A306-0E11-425A-7323821A42F2}"/>
              </a:ext>
            </a:extLst>
          </p:cNvPr>
          <p:cNvSpPr>
            <a:spLocks noGrp="1"/>
          </p:cNvSpPr>
          <p:nvPr>
            <p:ph type="subTitle" idx="1"/>
          </p:nvPr>
        </p:nvSpPr>
        <p:spPr>
          <a:xfrm>
            <a:off x="839469" y="5572126"/>
            <a:ext cx="10509388" cy="556964"/>
          </a:xfrm>
          <a:noFill/>
        </p:spPr>
        <p:txBody>
          <a:bodyPr vert="horz" lIns="91440" tIns="45720" rIns="91440" bIns="45720" rtlCol="0" anchor="t">
            <a:noAutofit/>
          </a:bodyPr>
          <a:lstStyle/>
          <a:p>
            <a:pPr algn="ctr">
              <a:lnSpc>
                <a:spcPct val="90000"/>
              </a:lnSpc>
            </a:pPr>
            <a:endParaRPr lang="en-US" sz="3200" dirty="0">
              <a:ea typeface="+mn-ea"/>
              <a:cs typeface="Calibri"/>
            </a:endParaRPr>
          </a:p>
        </p:txBody>
      </p:sp>
      <p:pic>
        <p:nvPicPr>
          <p:cNvPr id="4" name="Picture 3" descr="Street-level view of car wheels">
            <a:extLst>
              <a:ext uri="{FF2B5EF4-FFF2-40B4-BE49-F238E27FC236}">
                <a16:creationId xmlns:a16="http://schemas.microsoft.com/office/drawing/2014/main" id="{6982FC6C-870A-2D17-4241-681C88EEE4A9}"/>
              </a:ext>
            </a:extLst>
          </p:cNvPr>
          <p:cNvPicPr>
            <a:picLocks noChangeAspect="1"/>
          </p:cNvPicPr>
          <p:nvPr/>
        </p:nvPicPr>
        <p:blipFill rotWithShape="1">
          <a:blip r:embed="rId2"/>
          <a:srcRect b="5915"/>
          <a:stretch/>
        </p:blipFill>
        <p:spPr>
          <a:xfrm>
            <a:off x="20" y="2"/>
            <a:ext cx="12191979" cy="3900104"/>
          </a:xfrm>
          <a:prstGeom prst="rect">
            <a:avLst/>
          </a:prstGeom>
        </p:spPr>
      </p:pic>
    </p:spTree>
    <p:extLst>
      <p:ext uri="{BB962C8B-B14F-4D97-AF65-F5344CB8AC3E}">
        <p14:creationId xmlns:p14="http://schemas.microsoft.com/office/powerpoint/2010/main" val="36355957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2174"/>
        <p:cNvGrpSpPr/>
        <p:nvPr/>
      </p:nvGrpSpPr>
      <p:grpSpPr>
        <a:xfrm>
          <a:off x="0" y="0"/>
          <a:ext cx="0" cy="0"/>
          <a:chOff x="0" y="0"/>
          <a:chExt cx="0" cy="0"/>
        </a:xfrm>
      </p:grpSpPr>
      <p:sp>
        <p:nvSpPr>
          <p:cNvPr id="2175" name="Google Shape;2175;p5"/>
          <p:cNvSpPr txBox="1">
            <a:spLocks noGrp="1"/>
          </p:cNvSpPr>
          <p:nvPr>
            <p:ph type="body" idx="1"/>
          </p:nvPr>
        </p:nvSpPr>
        <p:spPr>
          <a:xfrm>
            <a:off x="7302725" y="2293511"/>
            <a:ext cx="4629600" cy="3372564"/>
          </a:xfrm>
          <a:prstGeom prst="rect">
            <a:avLst/>
          </a:prstGeom>
          <a:noFill/>
          <a:ln>
            <a:noFill/>
          </a:ln>
        </p:spPr>
        <p:txBody>
          <a:bodyPr spcFirstLastPara="1" wrap="square" lIns="91425" tIns="45700" rIns="91425" bIns="45700" anchor="t" anchorCtr="0">
            <a:noAutofit/>
          </a:bodyPr>
          <a:lstStyle/>
          <a:p>
            <a:pPr marL="0" indent="0" algn="ctr">
              <a:spcBef>
                <a:spcPts val="0"/>
              </a:spcBef>
              <a:buSzPts val="2400"/>
              <a:buNone/>
            </a:pPr>
            <a:r>
              <a:rPr lang="en-US" sz="2900" dirty="0"/>
              <a:t>The goal of the ESSI initiative is to better equip hospitals to address the issues that contribute to these disparities in infant mortality.</a:t>
            </a:r>
          </a:p>
          <a:p>
            <a:pPr marL="0" lvl="0" indent="0" algn="ctr">
              <a:lnSpc>
                <a:spcPct val="100000"/>
              </a:lnSpc>
              <a:spcBef>
                <a:spcPts val="0"/>
              </a:spcBef>
              <a:spcAft>
                <a:spcPts val="0"/>
              </a:spcAft>
              <a:buSzPts val="2400"/>
              <a:buNone/>
            </a:pPr>
            <a:endParaRPr lang="en-US" sz="2900"/>
          </a:p>
          <a:p>
            <a:pPr marL="0" indent="0" algn="ctr">
              <a:spcBef>
                <a:spcPts val="0"/>
              </a:spcBef>
              <a:buSzPts val="2400"/>
              <a:buNone/>
            </a:pPr>
            <a:endParaRPr lang="en-US" sz="3600" b="1" dirty="0"/>
          </a:p>
          <a:p>
            <a:pPr marL="228600" indent="-76200">
              <a:spcBef>
                <a:spcPts val="2000"/>
              </a:spcBef>
              <a:buSzPts val="2400"/>
              <a:buNone/>
            </a:pPr>
            <a:endParaRPr lang="en-US"/>
          </a:p>
          <a:p>
            <a:pPr marL="228600" indent="-50800">
              <a:spcBef>
                <a:spcPts val="2000"/>
              </a:spcBef>
              <a:buSzPts val="2800"/>
              <a:buNone/>
            </a:pPr>
            <a:endParaRPr lang="en-US" sz="2800"/>
          </a:p>
        </p:txBody>
      </p:sp>
      <p:sp>
        <p:nvSpPr>
          <p:cNvPr id="2176" name="Google Shape;2176;p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lnSpc>
                <a:spcPct val="100000"/>
              </a:lnSpc>
              <a:spcBef>
                <a:spcPts val="0"/>
              </a:spcBef>
              <a:spcAft>
                <a:spcPts val="0"/>
              </a:spcAft>
              <a:buSzPts val="1200"/>
              <a:buNone/>
            </a:pPr>
            <a:fld id="{00000000-1234-1234-1234-123412341234}" type="slidenum">
              <a:rPr lang="en-US"/>
              <a:t>21</a:t>
            </a:fld>
            <a:endParaRPr/>
          </a:p>
        </p:txBody>
      </p:sp>
      <p:sp>
        <p:nvSpPr>
          <p:cNvPr id="2177" name="Google Shape;2177;p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400"/>
              <a:buNone/>
            </a:pPr>
            <a:r>
              <a:rPr lang="en-US"/>
              <a:t>Illinois Perinatal Quality Collaborative</a:t>
            </a:r>
            <a:endParaRPr/>
          </a:p>
        </p:txBody>
      </p:sp>
      <p:sp>
        <p:nvSpPr>
          <p:cNvPr id="2178" name="Google Shape;2178;p5" descr="https://usc-powerpoint.officeapps.live.com/pods/GetClipboardImage.ashx?Id=5ceb49b5-a84b-43cc-a243-53b54dce9c7e&amp;DC=PUS6&amp;pkey=72ad52c9-342b-4945-8f9f-de143e77756c&amp;wdwaccluster=PUS6"/>
          <p:cNvSpPr/>
          <p:nvPr/>
        </p:nvSpPr>
        <p:spPr>
          <a:xfrm>
            <a:off x="212725" y="-144463"/>
            <a:ext cx="304800" cy="304801"/>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2179" name="Google Shape;2179;p5" descr="Shape&#10;&#10;Description automatically generated"/>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2498" y="-3747"/>
            <a:ext cx="6865495" cy="6853003"/>
          </a:xfrm>
          <a:prstGeom prst="rect">
            <a:avLst/>
          </a:prstGeom>
          <a:noFill/>
          <a:ln>
            <a:noFill/>
          </a:ln>
        </p:spPr>
      </p:pic>
      <p:sp>
        <p:nvSpPr>
          <p:cNvPr id="2180" name="Google Shape;2180;p5"/>
          <p:cNvSpPr txBox="1"/>
          <p:nvPr/>
        </p:nvSpPr>
        <p:spPr>
          <a:xfrm>
            <a:off x="1526498" y="1722003"/>
            <a:ext cx="3817495" cy="341627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400"/>
              <a:buFont typeface="Arial"/>
              <a:buNone/>
            </a:pPr>
            <a:r>
              <a:rPr lang="en-US" sz="2400" b="0" i="0" u="none" strike="noStrike" cap="none">
                <a:solidFill>
                  <a:srgbClr val="444C55"/>
                </a:solidFill>
                <a:latin typeface="Calibri"/>
                <a:ea typeface="Calibri"/>
                <a:cs typeface="Calibri"/>
                <a:sym typeface="Calibri"/>
              </a:rPr>
              <a:t> ILPQC has an opportunity to prevent infant deaths and reduce racial disparities through a quality framework. </a:t>
            </a:r>
            <a:r>
              <a:rPr lang="en-US" sz="2400">
                <a:solidFill>
                  <a:srgbClr val="444C55"/>
                </a:solidFill>
                <a:latin typeface="Calibri"/>
                <a:ea typeface="Calibri"/>
                <a:cs typeface="Calibri"/>
                <a:sym typeface="Calibri"/>
              </a:rPr>
              <a:t>ESSI</a:t>
            </a:r>
            <a:r>
              <a:rPr lang="en-US" sz="2400" b="0" i="0" u="none" strike="noStrike" cap="none">
                <a:solidFill>
                  <a:srgbClr val="444C55"/>
                </a:solidFill>
                <a:latin typeface="Calibri"/>
                <a:ea typeface="Calibri"/>
                <a:cs typeface="Calibri"/>
                <a:sym typeface="Calibri"/>
              </a:rPr>
              <a:t> will address infant safe sleep environment, racial equity, social determinants of health, and other contributing factors. ​</a:t>
            </a:r>
            <a:endParaRPr sz="1600" b="0" i="0" u="none" strike="noStrike" cap="none">
              <a:solidFill>
                <a:srgbClr val="444C55"/>
              </a:solidFill>
              <a:latin typeface="Calibri"/>
              <a:ea typeface="Calibri"/>
              <a:cs typeface="Calibri"/>
              <a:sym typeface="Calibri"/>
            </a:endParaRPr>
          </a:p>
        </p:txBody>
      </p:sp>
      <p:sp>
        <p:nvSpPr>
          <p:cNvPr id="2181" name="Google Shape;2181;p5"/>
          <p:cNvSpPr txBox="1">
            <a:spLocks noGrp="1"/>
          </p:cNvSpPr>
          <p:nvPr>
            <p:ph type="title"/>
          </p:nvPr>
        </p:nvSpPr>
        <p:spPr>
          <a:xfrm>
            <a:off x="284813" y="2863"/>
            <a:ext cx="4342263" cy="1325563"/>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Clr>
                <a:schemeClr val="lt1"/>
              </a:buClr>
              <a:buSzPts val="3600"/>
              <a:buFont typeface="Calibri"/>
              <a:buNone/>
            </a:pPr>
            <a:r>
              <a:rPr lang="en-US">
                <a:solidFill>
                  <a:schemeClr val="lt1"/>
                </a:solidFill>
              </a:rPr>
              <a:t>ESSI Initiative Vision</a:t>
            </a:r>
            <a:endParaRPr/>
          </a:p>
        </p:txBody>
      </p:sp>
    </p:spTree>
    <p:extLst>
      <p:ext uri="{BB962C8B-B14F-4D97-AF65-F5344CB8AC3E}">
        <p14:creationId xmlns:p14="http://schemas.microsoft.com/office/powerpoint/2010/main" val="37266385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5861D58-2345-8140-2120-DC1F272BBFF2}"/>
              </a:ext>
            </a:extLst>
          </p:cNvPr>
          <p:cNvSpPr/>
          <p:nvPr/>
        </p:nvSpPr>
        <p:spPr>
          <a:xfrm>
            <a:off x="7048499" y="0"/>
            <a:ext cx="5143500" cy="1841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BD668FC7-57F5-1E3A-49A6-53E69C2CA85B}"/>
              </a:ext>
            </a:extLst>
          </p:cNvPr>
          <p:cNvSpPr>
            <a:spLocks noGrp="1"/>
          </p:cNvSpPr>
          <p:nvPr>
            <p:ph type="sldNum" sz="quarter" idx="10"/>
          </p:nvPr>
        </p:nvSpPr>
        <p:spPr>
          <a:xfrm>
            <a:off x="9025387" y="6377437"/>
            <a:ext cx="2743200" cy="365125"/>
          </a:xfrm>
        </p:spPr>
        <p:txBody>
          <a:bodyPr/>
          <a:lstStyle/>
          <a:p>
            <a:fld id="{97033E4B-E3EB-3D46-B2D8-3159663620FA}" type="slidenum">
              <a:rPr lang="en-US" smtClean="0"/>
              <a:pPr/>
              <a:t>22</a:t>
            </a:fld>
            <a:endParaRPr lang="en-US"/>
          </a:p>
        </p:txBody>
      </p:sp>
      <p:sp>
        <p:nvSpPr>
          <p:cNvPr id="5" name="Footer Placeholder 4">
            <a:extLst>
              <a:ext uri="{FF2B5EF4-FFF2-40B4-BE49-F238E27FC236}">
                <a16:creationId xmlns:a16="http://schemas.microsoft.com/office/drawing/2014/main" id="{C0D55EC6-512E-CD50-1A08-34BC71A40E9B}"/>
              </a:ext>
            </a:extLst>
          </p:cNvPr>
          <p:cNvSpPr>
            <a:spLocks noGrp="1"/>
          </p:cNvSpPr>
          <p:nvPr>
            <p:ph type="ftr" sz="quarter" idx="11"/>
          </p:nvPr>
        </p:nvSpPr>
        <p:spPr/>
        <p:txBody>
          <a:bodyPr/>
          <a:lstStyle/>
          <a:p>
            <a:pPr algn="l"/>
            <a:r>
              <a:rPr lang="en-US"/>
              <a:t>Illinois Perinatal Quality Collaborative</a:t>
            </a:r>
          </a:p>
        </p:txBody>
      </p:sp>
      <p:sp>
        <p:nvSpPr>
          <p:cNvPr id="2" name="Title 1">
            <a:extLst>
              <a:ext uri="{FF2B5EF4-FFF2-40B4-BE49-F238E27FC236}">
                <a16:creationId xmlns:a16="http://schemas.microsoft.com/office/drawing/2014/main" id="{8C7182B8-D745-6D49-E823-6B4C357520BB}"/>
              </a:ext>
            </a:extLst>
          </p:cNvPr>
          <p:cNvSpPr>
            <a:spLocks noGrp="1"/>
          </p:cNvSpPr>
          <p:nvPr>
            <p:ph type="title" idx="4294967295"/>
          </p:nvPr>
        </p:nvSpPr>
        <p:spPr>
          <a:xfrm>
            <a:off x="-1628790" y="-189057"/>
            <a:ext cx="9531829" cy="1334873"/>
          </a:xfrm>
        </p:spPr>
        <p:txBody>
          <a:bodyPr/>
          <a:lstStyle/>
          <a:p>
            <a:pPr algn="ctr"/>
            <a:r>
              <a:rPr lang="en-US" sz="4800">
                <a:ea typeface="Lato Medium"/>
                <a:cs typeface="Lato Medium"/>
              </a:rPr>
              <a:t>ESSI Initiative Aims</a:t>
            </a:r>
            <a:endParaRPr lang="en-US" sz="4800"/>
          </a:p>
        </p:txBody>
      </p:sp>
      <p:grpSp>
        <p:nvGrpSpPr>
          <p:cNvPr id="12" name="Group 3">
            <a:extLst>
              <a:ext uri="{FF2B5EF4-FFF2-40B4-BE49-F238E27FC236}">
                <a16:creationId xmlns:a16="http://schemas.microsoft.com/office/drawing/2014/main" id="{A28016B6-6D80-89E3-91AF-D930E421AD61}"/>
              </a:ext>
            </a:extLst>
          </p:cNvPr>
          <p:cNvGrpSpPr/>
          <p:nvPr/>
        </p:nvGrpSpPr>
        <p:grpSpPr>
          <a:xfrm>
            <a:off x="608847" y="787285"/>
            <a:ext cx="11250165" cy="1346928"/>
            <a:chOff x="0" y="-57150"/>
            <a:chExt cx="2879117" cy="697690"/>
          </a:xfrm>
        </p:grpSpPr>
        <p:sp>
          <p:nvSpPr>
            <p:cNvPr id="10" name="Freeform 4">
              <a:extLst>
                <a:ext uri="{FF2B5EF4-FFF2-40B4-BE49-F238E27FC236}">
                  <a16:creationId xmlns:a16="http://schemas.microsoft.com/office/drawing/2014/main" id="{966BE466-0331-E647-C2F5-1581C924B039}"/>
                </a:ext>
              </a:extLst>
            </p:cNvPr>
            <p:cNvSpPr/>
            <p:nvPr/>
          </p:nvSpPr>
          <p:spPr>
            <a:xfrm>
              <a:off x="0" y="0"/>
              <a:ext cx="2879117" cy="640540"/>
            </a:xfrm>
            <a:custGeom>
              <a:avLst/>
              <a:gdLst/>
              <a:ahLst/>
              <a:cxnLst/>
              <a:rect l="l" t="t" r="r" b="b"/>
              <a:pathLst>
                <a:path w="2879117" h="640540">
                  <a:moveTo>
                    <a:pt x="36119" y="0"/>
                  </a:moveTo>
                  <a:lnTo>
                    <a:pt x="2842998" y="0"/>
                  </a:lnTo>
                  <a:cubicBezTo>
                    <a:pt x="2852578" y="0"/>
                    <a:pt x="2861764" y="3805"/>
                    <a:pt x="2868538" y="10579"/>
                  </a:cubicBezTo>
                  <a:cubicBezTo>
                    <a:pt x="2875312" y="17353"/>
                    <a:pt x="2879117" y="26539"/>
                    <a:pt x="2879117" y="36119"/>
                  </a:cubicBezTo>
                  <a:lnTo>
                    <a:pt x="2879117" y="604421"/>
                  </a:lnTo>
                  <a:cubicBezTo>
                    <a:pt x="2879117" y="614001"/>
                    <a:pt x="2875312" y="623188"/>
                    <a:pt x="2868538" y="629961"/>
                  </a:cubicBezTo>
                  <a:cubicBezTo>
                    <a:pt x="2861764" y="636735"/>
                    <a:pt x="2852578" y="640540"/>
                    <a:pt x="2842998" y="640540"/>
                  </a:cubicBezTo>
                  <a:lnTo>
                    <a:pt x="36119" y="640540"/>
                  </a:lnTo>
                  <a:cubicBezTo>
                    <a:pt x="26539" y="640540"/>
                    <a:pt x="17353" y="636735"/>
                    <a:pt x="10579" y="629961"/>
                  </a:cubicBezTo>
                  <a:cubicBezTo>
                    <a:pt x="3805" y="623188"/>
                    <a:pt x="0" y="614001"/>
                    <a:pt x="0" y="604421"/>
                  </a:cubicBezTo>
                  <a:lnTo>
                    <a:pt x="0" y="36119"/>
                  </a:lnTo>
                  <a:cubicBezTo>
                    <a:pt x="0" y="26539"/>
                    <a:pt x="3805" y="17353"/>
                    <a:pt x="10579" y="10579"/>
                  </a:cubicBezTo>
                  <a:cubicBezTo>
                    <a:pt x="17353" y="3805"/>
                    <a:pt x="26539" y="0"/>
                    <a:pt x="36119" y="0"/>
                  </a:cubicBezTo>
                  <a:close/>
                </a:path>
              </a:pathLst>
            </a:custGeom>
            <a:solidFill>
              <a:srgbClr val="6B95FD"/>
            </a:solidFill>
          </p:spPr>
        </p:sp>
        <p:sp>
          <p:nvSpPr>
            <p:cNvPr id="11" name="TextBox 5">
              <a:extLst>
                <a:ext uri="{FF2B5EF4-FFF2-40B4-BE49-F238E27FC236}">
                  <a16:creationId xmlns:a16="http://schemas.microsoft.com/office/drawing/2014/main" id="{B604E516-649C-1FD9-2519-CEA85AA2096B}"/>
                </a:ext>
              </a:extLst>
            </p:cNvPr>
            <p:cNvSpPr txBox="1"/>
            <p:nvPr/>
          </p:nvSpPr>
          <p:spPr>
            <a:xfrm>
              <a:off x="0" y="-57150"/>
              <a:ext cx="2879117" cy="697690"/>
            </a:xfrm>
            <a:prstGeom prst="rect">
              <a:avLst/>
            </a:prstGeom>
          </p:spPr>
          <p:txBody>
            <a:bodyPr lIns="33867" tIns="33867" rIns="33867" bIns="33867" rtlCol="0" anchor="ctr"/>
            <a:lstStyle/>
            <a:p>
              <a:pPr algn="ctr">
                <a:lnSpc>
                  <a:spcPts val="1773"/>
                </a:lnSpc>
                <a:spcBef>
                  <a:spcPct val="0"/>
                </a:spcBef>
              </a:pPr>
              <a:endParaRPr sz="800"/>
            </a:p>
          </p:txBody>
        </p:sp>
      </p:grpSp>
      <p:grpSp>
        <p:nvGrpSpPr>
          <p:cNvPr id="16" name="Group 6">
            <a:extLst>
              <a:ext uri="{FF2B5EF4-FFF2-40B4-BE49-F238E27FC236}">
                <a16:creationId xmlns:a16="http://schemas.microsoft.com/office/drawing/2014/main" id="{80963B6F-3E16-814E-7593-2BE3F5176BAA}"/>
              </a:ext>
            </a:extLst>
          </p:cNvPr>
          <p:cNvGrpSpPr/>
          <p:nvPr/>
        </p:nvGrpSpPr>
        <p:grpSpPr>
          <a:xfrm>
            <a:off x="608847" y="2215964"/>
            <a:ext cx="11288265" cy="1272328"/>
            <a:chOff x="0" y="-57150"/>
            <a:chExt cx="2879117" cy="547803"/>
          </a:xfrm>
        </p:grpSpPr>
        <p:sp>
          <p:nvSpPr>
            <p:cNvPr id="14" name="Freeform 7">
              <a:extLst>
                <a:ext uri="{FF2B5EF4-FFF2-40B4-BE49-F238E27FC236}">
                  <a16:creationId xmlns:a16="http://schemas.microsoft.com/office/drawing/2014/main" id="{A080C1E4-8D81-DC7D-733F-543A19CACC97}"/>
                </a:ext>
              </a:extLst>
            </p:cNvPr>
            <p:cNvSpPr/>
            <p:nvPr/>
          </p:nvSpPr>
          <p:spPr>
            <a:xfrm>
              <a:off x="0" y="0"/>
              <a:ext cx="2879117" cy="490653"/>
            </a:xfrm>
            <a:custGeom>
              <a:avLst/>
              <a:gdLst/>
              <a:ahLst/>
              <a:cxnLst/>
              <a:rect l="l" t="t" r="r" b="b"/>
              <a:pathLst>
                <a:path w="2879117" h="490653">
                  <a:moveTo>
                    <a:pt x="36119" y="0"/>
                  </a:moveTo>
                  <a:lnTo>
                    <a:pt x="2842998" y="0"/>
                  </a:lnTo>
                  <a:cubicBezTo>
                    <a:pt x="2852578" y="0"/>
                    <a:pt x="2861764" y="3805"/>
                    <a:pt x="2868538" y="10579"/>
                  </a:cubicBezTo>
                  <a:cubicBezTo>
                    <a:pt x="2875312" y="17353"/>
                    <a:pt x="2879117" y="26539"/>
                    <a:pt x="2879117" y="36119"/>
                  </a:cubicBezTo>
                  <a:lnTo>
                    <a:pt x="2879117" y="454535"/>
                  </a:lnTo>
                  <a:cubicBezTo>
                    <a:pt x="2879117" y="464114"/>
                    <a:pt x="2875312" y="473301"/>
                    <a:pt x="2868538" y="480074"/>
                  </a:cubicBezTo>
                  <a:cubicBezTo>
                    <a:pt x="2861764" y="486848"/>
                    <a:pt x="2852578" y="490653"/>
                    <a:pt x="2842998" y="490653"/>
                  </a:cubicBezTo>
                  <a:lnTo>
                    <a:pt x="36119" y="490653"/>
                  </a:lnTo>
                  <a:cubicBezTo>
                    <a:pt x="26539" y="490653"/>
                    <a:pt x="17353" y="486848"/>
                    <a:pt x="10579" y="480074"/>
                  </a:cubicBezTo>
                  <a:cubicBezTo>
                    <a:pt x="3805" y="473301"/>
                    <a:pt x="0" y="464114"/>
                    <a:pt x="0" y="454535"/>
                  </a:cubicBezTo>
                  <a:lnTo>
                    <a:pt x="0" y="36119"/>
                  </a:lnTo>
                  <a:cubicBezTo>
                    <a:pt x="0" y="26539"/>
                    <a:pt x="3805" y="17353"/>
                    <a:pt x="10579" y="10579"/>
                  </a:cubicBezTo>
                  <a:cubicBezTo>
                    <a:pt x="17353" y="3805"/>
                    <a:pt x="26539" y="0"/>
                    <a:pt x="36119" y="0"/>
                  </a:cubicBezTo>
                  <a:close/>
                </a:path>
              </a:pathLst>
            </a:custGeom>
            <a:solidFill>
              <a:srgbClr val="1C498B"/>
            </a:solidFill>
          </p:spPr>
        </p:sp>
        <p:sp>
          <p:nvSpPr>
            <p:cNvPr id="15" name="TextBox 8">
              <a:extLst>
                <a:ext uri="{FF2B5EF4-FFF2-40B4-BE49-F238E27FC236}">
                  <a16:creationId xmlns:a16="http://schemas.microsoft.com/office/drawing/2014/main" id="{41866C53-10BB-5C7A-FBB8-8B559FBF4543}"/>
                </a:ext>
              </a:extLst>
            </p:cNvPr>
            <p:cNvSpPr txBox="1"/>
            <p:nvPr/>
          </p:nvSpPr>
          <p:spPr>
            <a:xfrm>
              <a:off x="0" y="-57150"/>
              <a:ext cx="2879117" cy="547803"/>
            </a:xfrm>
            <a:prstGeom prst="rect">
              <a:avLst/>
            </a:prstGeom>
          </p:spPr>
          <p:txBody>
            <a:bodyPr lIns="33867" tIns="33867" rIns="33867" bIns="33867" rtlCol="0" anchor="ctr"/>
            <a:lstStyle/>
            <a:p>
              <a:pPr algn="ctr">
                <a:lnSpc>
                  <a:spcPts val="1773"/>
                </a:lnSpc>
                <a:spcBef>
                  <a:spcPct val="0"/>
                </a:spcBef>
              </a:pPr>
              <a:endParaRPr sz="800"/>
            </a:p>
          </p:txBody>
        </p:sp>
      </p:grpSp>
      <p:grpSp>
        <p:nvGrpSpPr>
          <p:cNvPr id="20" name="Group 9">
            <a:extLst>
              <a:ext uri="{FF2B5EF4-FFF2-40B4-BE49-F238E27FC236}">
                <a16:creationId xmlns:a16="http://schemas.microsoft.com/office/drawing/2014/main" id="{57B897C2-5645-67EB-E870-DDA8EEAA309C}"/>
              </a:ext>
            </a:extLst>
          </p:cNvPr>
          <p:cNvGrpSpPr/>
          <p:nvPr/>
        </p:nvGrpSpPr>
        <p:grpSpPr>
          <a:xfrm>
            <a:off x="91329" y="1152079"/>
            <a:ext cx="812800" cy="825500"/>
            <a:chOff x="0" y="0"/>
            <a:chExt cx="812800" cy="812800"/>
          </a:xfrm>
        </p:grpSpPr>
        <p:sp>
          <p:nvSpPr>
            <p:cNvPr id="18" name="Freeform 10">
              <a:extLst>
                <a:ext uri="{FF2B5EF4-FFF2-40B4-BE49-F238E27FC236}">
                  <a16:creationId xmlns:a16="http://schemas.microsoft.com/office/drawing/2014/main" id="{C87BADC8-1879-2359-C52E-E819876B32FA}"/>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C45ED1"/>
            </a:solidFill>
          </p:spPr>
        </p:sp>
        <p:sp>
          <p:nvSpPr>
            <p:cNvPr id="19" name="TextBox 11">
              <a:extLst>
                <a:ext uri="{FF2B5EF4-FFF2-40B4-BE49-F238E27FC236}">
                  <a16:creationId xmlns:a16="http://schemas.microsoft.com/office/drawing/2014/main" id="{AF32047E-EB6B-BD4B-76DD-7D47B980544C}"/>
                </a:ext>
              </a:extLst>
            </p:cNvPr>
            <p:cNvSpPr txBox="1"/>
            <p:nvPr/>
          </p:nvSpPr>
          <p:spPr>
            <a:xfrm>
              <a:off x="76200" y="19050"/>
              <a:ext cx="660400" cy="717550"/>
            </a:xfrm>
            <a:prstGeom prst="rect">
              <a:avLst/>
            </a:prstGeom>
          </p:spPr>
          <p:txBody>
            <a:bodyPr lIns="33867" tIns="33867" rIns="33867" bIns="33867" rtlCol="0" anchor="ctr"/>
            <a:lstStyle/>
            <a:p>
              <a:pPr algn="ctr">
                <a:lnSpc>
                  <a:spcPts val="1773"/>
                </a:lnSpc>
              </a:pPr>
              <a:endParaRPr sz="800"/>
            </a:p>
          </p:txBody>
        </p:sp>
      </p:grpSp>
      <p:sp>
        <p:nvSpPr>
          <p:cNvPr id="26" name="TextBox 15">
            <a:extLst>
              <a:ext uri="{FF2B5EF4-FFF2-40B4-BE49-F238E27FC236}">
                <a16:creationId xmlns:a16="http://schemas.microsoft.com/office/drawing/2014/main" id="{E9780070-BCB0-A4DC-93F5-6A72106D04EE}"/>
              </a:ext>
            </a:extLst>
          </p:cNvPr>
          <p:cNvSpPr txBox="1"/>
          <p:nvPr/>
        </p:nvSpPr>
        <p:spPr>
          <a:xfrm>
            <a:off x="992051" y="1158360"/>
            <a:ext cx="10796527" cy="951735"/>
          </a:xfrm>
          <a:prstGeom prst="rect">
            <a:avLst/>
          </a:prstGeom>
        </p:spPr>
        <p:txBody>
          <a:bodyPr wrap="square" lIns="0" tIns="0" rIns="0" bIns="0" rtlCol="0" anchor="t">
            <a:spAutoFit/>
          </a:bodyPr>
          <a:lstStyle/>
          <a:p>
            <a:pPr>
              <a:lnSpc>
                <a:spcPts val="2600"/>
              </a:lnSpc>
            </a:pPr>
            <a:r>
              <a:rPr lang="en-US" sz="2000">
                <a:solidFill>
                  <a:srgbClr val="FFFFFF"/>
                </a:solidFill>
                <a:latin typeface="DM Sans"/>
              </a:rPr>
              <a:t>By December 2025, greater than 70% of Illinois birthing and children’s hospitals will address disparities and promote neonatal equity by actively participating in the ESSI initiative.​</a:t>
            </a:r>
          </a:p>
          <a:p>
            <a:pPr>
              <a:lnSpc>
                <a:spcPts val="2167"/>
              </a:lnSpc>
            </a:pPr>
            <a:endParaRPr lang="en-US" sz="2000">
              <a:solidFill>
                <a:srgbClr val="FFFFFF"/>
              </a:solidFill>
              <a:latin typeface="DM Sans"/>
            </a:endParaRPr>
          </a:p>
        </p:txBody>
      </p:sp>
      <p:sp>
        <p:nvSpPr>
          <p:cNvPr id="28" name="TextBox 16">
            <a:extLst>
              <a:ext uri="{FF2B5EF4-FFF2-40B4-BE49-F238E27FC236}">
                <a16:creationId xmlns:a16="http://schemas.microsoft.com/office/drawing/2014/main" id="{8C1D734D-3C73-E6F6-D1A8-CF64A5F8112D}"/>
              </a:ext>
            </a:extLst>
          </p:cNvPr>
          <p:cNvSpPr txBox="1"/>
          <p:nvPr/>
        </p:nvSpPr>
        <p:spPr>
          <a:xfrm>
            <a:off x="1111307" y="2549809"/>
            <a:ext cx="10558015" cy="656783"/>
          </a:xfrm>
          <a:prstGeom prst="rect">
            <a:avLst/>
          </a:prstGeom>
        </p:spPr>
        <p:txBody>
          <a:bodyPr wrap="square" lIns="0" tIns="0" rIns="0" bIns="0" rtlCol="0" anchor="t">
            <a:spAutoFit/>
          </a:bodyPr>
          <a:lstStyle/>
          <a:p>
            <a:pPr>
              <a:lnSpc>
                <a:spcPts val="2600"/>
              </a:lnSpc>
            </a:pPr>
            <a:r>
              <a:rPr lang="en-US" sz="2000">
                <a:solidFill>
                  <a:srgbClr val="FFFFFF"/>
                </a:solidFill>
                <a:latin typeface="DM Sans"/>
              </a:rPr>
              <a:t>By December 2025, greater than 80% of infants will be discharged from ILPQC hospitals with a completed ESSI Bundle.</a:t>
            </a:r>
          </a:p>
        </p:txBody>
      </p:sp>
      <p:sp>
        <p:nvSpPr>
          <p:cNvPr id="30" name="Freeform 17">
            <a:extLst>
              <a:ext uri="{FF2B5EF4-FFF2-40B4-BE49-F238E27FC236}">
                <a16:creationId xmlns:a16="http://schemas.microsoft.com/office/drawing/2014/main" id="{807B8E33-7EFF-7586-9B2A-EEB15CC8C381}"/>
              </a:ext>
            </a:extLst>
          </p:cNvPr>
          <p:cNvSpPr/>
          <p:nvPr/>
        </p:nvSpPr>
        <p:spPr>
          <a:xfrm>
            <a:off x="886026" y="4618936"/>
            <a:ext cx="3150228" cy="608867"/>
          </a:xfrm>
          <a:custGeom>
            <a:avLst/>
            <a:gdLst/>
            <a:ahLst/>
            <a:cxnLst/>
            <a:rect l="l" t="t" r="r" b="b"/>
            <a:pathLst>
              <a:path w="4592821" h="780779">
                <a:moveTo>
                  <a:pt x="0" y="0"/>
                </a:moveTo>
                <a:lnTo>
                  <a:pt x="4592820" y="0"/>
                </a:lnTo>
                <a:lnTo>
                  <a:pt x="4592820" y="780780"/>
                </a:lnTo>
                <a:lnTo>
                  <a:pt x="0" y="78078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32" name="TextBox 18">
            <a:extLst>
              <a:ext uri="{FF2B5EF4-FFF2-40B4-BE49-F238E27FC236}">
                <a16:creationId xmlns:a16="http://schemas.microsoft.com/office/drawing/2014/main" id="{A29085F2-BEE6-99AF-40AD-620EFEAA68F9}"/>
              </a:ext>
            </a:extLst>
          </p:cNvPr>
          <p:cNvSpPr txBox="1"/>
          <p:nvPr/>
        </p:nvSpPr>
        <p:spPr>
          <a:xfrm>
            <a:off x="1387344" y="4822963"/>
            <a:ext cx="2028316" cy="300210"/>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READINESS</a:t>
            </a:r>
          </a:p>
        </p:txBody>
      </p:sp>
      <p:sp>
        <p:nvSpPr>
          <p:cNvPr id="34" name="Freeform 19">
            <a:extLst>
              <a:ext uri="{FF2B5EF4-FFF2-40B4-BE49-F238E27FC236}">
                <a16:creationId xmlns:a16="http://schemas.microsoft.com/office/drawing/2014/main" id="{27AAACD0-2AD9-0861-FD85-F167BEEF8D8C}"/>
              </a:ext>
            </a:extLst>
          </p:cNvPr>
          <p:cNvSpPr/>
          <p:nvPr/>
        </p:nvSpPr>
        <p:spPr>
          <a:xfrm>
            <a:off x="886027" y="5385726"/>
            <a:ext cx="3150228" cy="553649"/>
          </a:xfrm>
          <a:custGeom>
            <a:avLst/>
            <a:gdLst/>
            <a:ahLst/>
            <a:cxnLst/>
            <a:rect l="l" t="t" r="r" b="b"/>
            <a:pathLst>
              <a:path w="4592821" h="780779">
                <a:moveTo>
                  <a:pt x="0" y="0"/>
                </a:moveTo>
                <a:lnTo>
                  <a:pt x="4592820" y="0"/>
                </a:lnTo>
                <a:lnTo>
                  <a:pt x="4592820" y="780779"/>
                </a:lnTo>
                <a:lnTo>
                  <a:pt x="0" y="780779"/>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36" name="TextBox 20">
            <a:extLst>
              <a:ext uri="{FF2B5EF4-FFF2-40B4-BE49-F238E27FC236}">
                <a16:creationId xmlns:a16="http://schemas.microsoft.com/office/drawing/2014/main" id="{73602F57-63E5-AD2C-8F35-EEE5A55C03B9}"/>
              </a:ext>
            </a:extLst>
          </p:cNvPr>
          <p:cNvSpPr txBox="1"/>
          <p:nvPr/>
        </p:nvSpPr>
        <p:spPr>
          <a:xfrm>
            <a:off x="836786" y="5562784"/>
            <a:ext cx="3206735" cy="300210"/>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TRANSFER OF CARE</a:t>
            </a:r>
          </a:p>
        </p:txBody>
      </p:sp>
      <p:sp>
        <p:nvSpPr>
          <p:cNvPr id="38" name="Freeform 21">
            <a:extLst>
              <a:ext uri="{FF2B5EF4-FFF2-40B4-BE49-F238E27FC236}">
                <a16:creationId xmlns:a16="http://schemas.microsoft.com/office/drawing/2014/main" id="{B9969608-898E-6FC6-1F08-56733F2AA44B}"/>
              </a:ext>
            </a:extLst>
          </p:cNvPr>
          <p:cNvSpPr/>
          <p:nvPr/>
        </p:nvSpPr>
        <p:spPr>
          <a:xfrm>
            <a:off x="888227" y="3819390"/>
            <a:ext cx="3148028" cy="608493"/>
          </a:xfrm>
          <a:custGeom>
            <a:avLst/>
            <a:gdLst/>
            <a:ahLst/>
            <a:cxnLst/>
            <a:rect l="l" t="t" r="r" b="b"/>
            <a:pathLst>
              <a:path w="4589522" h="780219">
                <a:moveTo>
                  <a:pt x="0" y="0"/>
                </a:moveTo>
                <a:lnTo>
                  <a:pt x="4589521" y="0"/>
                </a:lnTo>
                <a:lnTo>
                  <a:pt x="4589521" y="780218"/>
                </a:lnTo>
                <a:lnTo>
                  <a:pt x="0" y="780218"/>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40" name="TextBox 22">
            <a:extLst>
              <a:ext uri="{FF2B5EF4-FFF2-40B4-BE49-F238E27FC236}">
                <a16:creationId xmlns:a16="http://schemas.microsoft.com/office/drawing/2014/main" id="{9869AD74-D8A3-0B44-10F4-685B412FCB24}"/>
              </a:ext>
            </a:extLst>
          </p:cNvPr>
          <p:cNvSpPr txBox="1"/>
          <p:nvPr/>
        </p:nvSpPr>
        <p:spPr>
          <a:xfrm>
            <a:off x="298855" y="947398"/>
            <a:ext cx="410448" cy="1034835"/>
          </a:xfrm>
          <a:prstGeom prst="rect">
            <a:avLst/>
          </a:prstGeom>
        </p:spPr>
        <p:txBody>
          <a:bodyPr wrap="square" lIns="0" tIns="0" rIns="0" bIns="0" rtlCol="0" anchor="t">
            <a:spAutoFit/>
          </a:bodyPr>
          <a:lstStyle/>
          <a:p>
            <a:pPr algn="ctr">
              <a:lnSpc>
                <a:spcPts val="8587"/>
              </a:lnSpc>
            </a:pPr>
            <a:r>
              <a:rPr lang="en-US" sz="6134">
                <a:solidFill>
                  <a:srgbClr val="FFFFFF"/>
                </a:solidFill>
                <a:latin typeface="Canva Sans 2 Bold"/>
              </a:rPr>
              <a:t>1</a:t>
            </a:r>
          </a:p>
        </p:txBody>
      </p:sp>
      <p:sp>
        <p:nvSpPr>
          <p:cNvPr id="44" name="TextBox 24">
            <a:extLst>
              <a:ext uri="{FF2B5EF4-FFF2-40B4-BE49-F238E27FC236}">
                <a16:creationId xmlns:a16="http://schemas.microsoft.com/office/drawing/2014/main" id="{E3D868BB-9056-5F85-37FB-DC17C2377580}"/>
              </a:ext>
            </a:extLst>
          </p:cNvPr>
          <p:cNvSpPr txBox="1"/>
          <p:nvPr/>
        </p:nvSpPr>
        <p:spPr>
          <a:xfrm>
            <a:off x="1488052" y="4008485"/>
            <a:ext cx="1951014" cy="311253"/>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AWARENESS</a:t>
            </a:r>
          </a:p>
        </p:txBody>
      </p:sp>
      <p:sp>
        <p:nvSpPr>
          <p:cNvPr id="46" name="TextBox 25">
            <a:extLst>
              <a:ext uri="{FF2B5EF4-FFF2-40B4-BE49-F238E27FC236}">
                <a16:creationId xmlns:a16="http://schemas.microsoft.com/office/drawing/2014/main" id="{1072F846-48B0-2F56-6528-205809296213}"/>
              </a:ext>
            </a:extLst>
          </p:cNvPr>
          <p:cNvSpPr txBox="1"/>
          <p:nvPr/>
        </p:nvSpPr>
        <p:spPr>
          <a:xfrm>
            <a:off x="4312052" y="3863840"/>
            <a:ext cx="7763339" cy="574966"/>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latin typeface="Calibri"/>
                <a:ea typeface="Calibri"/>
                <a:cs typeface="Calibri"/>
              </a:rPr>
              <a:t>Parents or caregivers report an understanding of a safe sleep environment.</a:t>
            </a:r>
          </a:p>
        </p:txBody>
      </p:sp>
      <p:sp>
        <p:nvSpPr>
          <p:cNvPr id="48" name="TextBox 26">
            <a:extLst>
              <a:ext uri="{FF2B5EF4-FFF2-40B4-BE49-F238E27FC236}">
                <a16:creationId xmlns:a16="http://schemas.microsoft.com/office/drawing/2014/main" id="{9DA002CE-213B-0EFE-03DC-C3DB65BCF003}"/>
              </a:ext>
            </a:extLst>
          </p:cNvPr>
          <p:cNvSpPr txBox="1"/>
          <p:nvPr/>
        </p:nvSpPr>
        <p:spPr>
          <a:xfrm>
            <a:off x="4311686" y="4691360"/>
            <a:ext cx="7409744" cy="574966"/>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ea typeface="+mn-lt"/>
                <a:cs typeface="+mn-lt"/>
              </a:rPr>
              <a:t>Family is prepared for a transition to home, including </a:t>
            </a:r>
            <a:r>
              <a:rPr lang="en-US" sz="2200" err="1">
                <a:solidFill>
                  <a:srgbClr val="000000"/>
                </a:solidFill>
                <a:ea typeface="+mn-lt"/>
                <a:cs typeface="+mn-lt"/>
              </a:rPr>
              <a:t>SDoH</a:t>
            </a:r>
            <a:r>
              <a:rPr lang="en-US" sz="2200">
                <a:solidFill>
                  <a:srgbClr val="000000"/>
                </a:solidFill>
                <a:ea typeface="+mn-lt"/>
                <a:cs typeface="+mn-lt"/>
              </a:rPr>
              <a:t> screening and resource linkage.</a:t>
            </a:r>
            <a:endParaRPr lang="en-US" sz="2200">
              <a:solidFill>
                <a:srgbClr val="000000"/>
              </a:solidFill>
            </a:endParaRPr>
          </a:p>
        </p:txBody>
      </p:sp>
      <p:sp>
        <p:nvSpPr>
          <p:cNvPr id="50" name="TextBox 27">
            <a:extLst>
              <a:ext uri="{FF2B5EF4-FFF2-40B4-BE49-F238E27FC236}">
                <a16:creationId xmlns:a16="http://schemas.microsoft.com/office/drawing/2014/main" id="{484FA518-5005-04AD-A148-23B555389D18}"/>
              </a:ext>
            </a:extLst>
          </p:cNvPr>
          <p:cNvSpPr txBox="1"/>
          <p:nvPr/>
        </p:nvSpPr>
        <p:spPr>
          <a:xfrm>
            <a:off x="4314936" y="5474241"/>
            <a:ext cx="7457964" cy="568232"/>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latin typeface="Calibri"/>
                <a:ea typeface="Calibri"/>
                <a:cs typeface="Calibri"/>
              </a:rPr>
              <a:t>ESSI Newborn Care Plan is documented in the discharge summary.</a:t>
            </a:r>
          </a:p>
        </p:txBody>
      </p:sp>
      <p:grpSp>
        <p:nvGrpSpPr>
          <p:cNvPr id="7" name="Group 9">
            <a:extLst>
              <a:ext uri="{FF2B5EF4-FFF2-40B4-BE49-F238E27FC236}">
                <a16:creationId xmlns:a16="http://schemas.microsoft.com/office/drawing/2014/main" id="{59DCCF77-1BDF-BB49-8752-58A43F365FAC}"/>
              </a:ext>
            </a:extLst>
          </p:cNvPr>
          <p:cNvGrpSpPr/>
          <p:nvPr/>
        </p:nvGrpSpPr>
        <p:grpSpPr>
          <a:xfrm>
            <a:off x="91329" y="2498278"/>
            <a:ext cx="812800" cy="825500"/>
            <a:chOff x="0" y="0"/>
            <a:chExt cx="812800" cy="812800"/>
          </a:xfrm>
        </p:grpSpPr>
        <p:sp>
          <p:nvSpPr>
            <p:cNvPr id="8" name="Freeform 10">
              <a:extLst>
                <a:ext uri="{FF2B5EF4-FFF2-40B4-BE49-F238E27FC236}">
                  <a16:creationId xmlns:a16="http://schemas.microsoft.com/office/drawing/2014/main" id="{E15AE669-9885-B6BE-D637-60B38E0F95F5}"/>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C45ED1"/>
            </a:solidFill>
          </p:spPr>
        </p:sp>
        <p:sp>
          <p:nvSpPr>
            <p:cNvPr id="9" name="TextBox 11">
              <a:extLst>
                <a:ext uri="{FF2B5EF4-FFF2-40B4-BE49-F238E27FC236}">
                  <a16:creationId xmlns:a16="http://schemas.microsoft.com/office/drawing/2014/main" id="{2EC913AF-9BAA-D267-4DAB-C2EAAC071B91}"/>
                </a:ext>
              </a:extLst>
            </p:cNvPr>
            <p:cNvSpPr txBox="1"/>
            <p:nvPr/>
          </p:nvSpPr>
          <p:spPr>
            <a:xfrm>
              <a:off x="76200" y="19050"/>
              <a:ext cx="660400" cy="717550"/>
            </a:xfrm>
            <a:prstGeom prst="rect">
              <a:avLst/>
            </a:prstGeom>
          </p:spPr>
          <p:txBody>
            <a:bodyPr lIns="33867" tIns="33867" rIns="33867" bIns="33867" rtlCol="0" anchor="ctr"/>
            <a:lstStyle/>
            <a:p>
              <a:pPr algn="ctr">
                <a:lnSpc>
                  <a:spcPts val="1773"/>
                </a:lnSpc>
              </a:pPr>
              <a:endParaRPr sz="800"/>
            </a:p>
          </p:txBody>
        </p:sp>
      </p:grpSp>
      <p:sp>
        <p:nvSpPr>
          <p:cNvPr id="42" name="TextBox 23">
            <a:extLst>
              <a:ext uri="{FF2B5EF4-FFF2-40B4-BE49-F238E27FC236}">
                <a16:creationId xmlns:a16="http://schemas.microsoft.com/office/drawing/2014/main" id="{FB430A34-582F-067B-AEF5-DB4764FC6C5A}"/>
              </a:ext>
            </a:extLst>
          </p:cNvPr>
          <p:cNvSpPr txBox="1"/>
          <p:nvPr/>
        </p:nvSpPr>
        <p:spPr>
          <a:xfrm>
            <a:off x="290166" y="2295809"/>
            <a:ext cx="434023" cy="1034835"/>
          </a:xfrm>
          <a:prstGeom prst="rect">
            <a:avLst/>
          </a:prstGeom>
        </p:spPr>
        <p:txBody>
          <a:bodyPr wrap="square" lIns="0" tIns="0" rIns="0" bIns="0" rtlCol="0" anchor="t">
            <a:spAutoFit/>
          </a:bodyPr>
          <a:lstStyle/>
          <a:p>
            <a:pPr algn="ctr">
              <a:lnSpc>
                <a:spcPts val="8587"/>
              </a:lnSpc>
            </a:pPr>
            <a:r>
              <a:rPr lang="en-US" sz="6134">
                <a:solidFill>
                  <a:srgbClr val="FFFFFF"/>
                </a:solidFill>
                <a:latin typeface="Canva Sans 2 Bold"/>
              </a:rPr>
              <a:t>2</a:t>
            </a:r>
          </a:p>
        </p:txBody>
      </p:sp>
      <p:sp>
        <p:nvSpPr>
          <p:cNvPr id="13" name="Freeform 13">
            <a:extLst>
              <a:ext uri="{FF2B5EF4-FFF2-40B4-BE49-F238E27FC236}">
                <a16:creationId xmlns:a16="http://schemas.microsoft.com/office/drawing/2014/main" id="{3BDDD164-0124-FE54-AD8E-88B343F5817D}"/>
              </a:ext>
            </a:extLst>
          </p:cNvPr>
          <p:cNvSpPr/>
          <p:nvPr/>
        </p:nvSpPr>
        <p:spPr>
          <a:xfrm>
            <a:off x="9566983" y="166209"/>
            <a:ext cx="1520914" cy="655191"/>
          </a:xfrm>
          <a:custGeom>
            <a:avLst/>
            <a:gdLst/>
            <a:ahLst/>
            <a:cxnLst/>
            <a:rect l="l" t="t" r="r" b="b"/>
            <a:pathLst>
              <a:path w="2281371" h="982786">
                <a:moveTo>
                  <a:pt x="0" y="0"/>
                </a:moveTo>
                <a:lnTo>
                  <a:pt x="2281372" y="0"/>
                </a:lnTo>
                <a:lnTo>
                  <a:pt x="2281372" y="982786"/>
                </a:lnTo>
                <a:lnTo>
                  <a:pt x="0" y="982786"/>
                </a:lnTo>
                <a:lnTo>
                  <a:pt x="0" y="0"/>
                </a:lnTo>
                <a:close/>
              </a:path>
            </a:pathLst>
          </a:custGeom>
          <a:blipFill>
            <a:blip r:embed="rId9"/>
            <a:stretch>
              <a:fillRect t="-16582"/>
            </a:stretch>
          </a:blipFill>
        </p:spPr>
      </p:sp>
    </p:spTree>
    <p:extLst>
      <p:ext uri="{BB962C8B-B14F-4D97-AF65-F5344CB8AC3E}">
        <p14:creationId xmlns:p14="http://schemas.microsoft.com/office/powerpoint/2010/main" val="15147560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FAC69-62AA-D40E-C4BD-DAD5BF599C69}"/>
              </a:ext>
            </a:extLst>
          </p:cNvPr>
          <p:cNvSpPr>
            <a:spLocks noGrp="1"/>
          </p:cNvSpPr>
          <p:nvPr>
            <p:ph type="title"/>
          </p:nvPr>
        </p:nvSpPr>
        <p:spPr>
          <a:xfrm>
            <a:off x="250167" y="135087"/>
            <a:ext cx="11519139" cy="1325563"/>
          </a:xfrm>
          <a:noFill/>
        </p:spPr>
        <p:txBody>
          <a:bodyPr/>
          <a:lstStyle/>
          <a:p>
            <a:r>
              <a:rPr lang="en-US" sz="4800">
                <a:ea typeface="Lato Medium"/>
                <a:cs typeface="Lato Medium"/>
              </a:rPr>
              <a:t>ESSI Initiative Timeline</a:t>
            </a:r>
            <a:endParaRPr lang="en-US" sz="4800"/>
          </a:p>
        </p:txBody>
      </p:sp>
      <p:sp>
        <p:nvSpPr>
          <p:cNvPr id="4" name="Slide Number Placeholder 3">
            <a:extLst>
              <a:ext uri="{FF2B5EF4-FFF2-40B4-BE49-F238E27FC236}">
                <a16:creationId xmlns:a16="http://schemas.microsoft.com/office/drawing/2014/main" id="{A6804321-19C3-4E7A-6787-14BA1FA8B8B7}"/>
              </a:ext>
            </a:extLst>
          </p:cNvPr>
          <p:cNvSpPr>
            <a:spLocks noGrp="1"/>
          </p:cNvSpPr>
          <p:nvPr>
            <p:ph type="sldNum" sz="quarter" idx="10"/>
          </p:nvPr>
        </p:nvSpPr>
        <p:spPr/>
        <p:txBody>
          <a:bodyPr/>
          <a:lstStyle/>
          <a:p>
            <a:fld id="{97033E4B-E3EB-3D46-B2D8-3159663620FA}" type="slidenum">
              <a:rPr lang="en-US" dirty="0" smtClean="0"/>
              <a:pPr/>
              <a:t>23</a:t>
            </a:fld>
            <a:endParaRPr lang="en-US"/>
          </a:p>
        </p:txBody>
      </p:sp>
      <p:sp>
        <p:nvSpPr>
          <p:cNvPr id="5" name="Footer Placeholder 4">
            <a:extLst>
              <a:ext uri="{FF2B5EF4-FFF2-40B4-BE49-F238E27FC236}">
                <a16:creationId xmlns:a16="http://schemas.microsoft.com/office/drawing/2014/main" id="{8DE7F429-2A58-C1E6-E11A-1744A5DACB80}"/>
              </a:ext>
            </a:extLst>
          </p:cNvPr>
          <p:cNvSpPr>
            <a:spLocks noGrp="1"/>
          </p:cNvSpPr>
          <p:nvPr>
            <p:ph type="ftr" sz="quarter" idx="11"/>
          </p:nvPr>
        </p:nvSpPr>
        <p:spPr/>
        <p:txBody>
          <a:bodyPr/>
          <a:lstStyle/>
          <a:p>
            <a:pPr algn="l"/>
            <a:r>
              <a:rPr lang="en-US"/>
              <a:t>Illinois Perinatal Quality Collaborative</a:t>
            </a:r>
          </a:p>
        </p:txBody>
      </p:sp>
      <p:sp>
        <p:nvSpPr>
          <p:cNvPr id="7" name="Freeform 2">
            <a:extLst>
              <a:ext uri="{FF2B5EF4-FFF2-40B4-BE49-F238E27FC236}">
                <a16:creationId xmlns:a16="http://schemas.microsoft.com/office/drawing/2014/main" id="{34AC275E-5089-514E-9C9A-2E2AEA5984DC}"/>
              </a:ext>
            </a:extLst>
          </p:cNvPr>
          <p:cNvSpPr/>
          <p:nvPr/>
        </p:nvSpPr>
        <p:spPr>
          <a:xfrm>
            <a:off x="1413242" y="3217237"/>
            <a:ext cx="1635941" cy="817970"/>
          </a:xfrm>
          <a:custGeom>
            <a:avLst/>
            <a:gdLst/>
            <a:ahLst/>
            <a:cxnLst/>
            <a:rect l="l" t="t" r="r" b="b"/>
            <a:pathLst>
              <a:path w="2453911" h="1226955">
                <a:moveTo>
                  <a:pt x="0" y="0"/>
                </a:moveTo>
                <a:lnTo>
                  <a:pt x="2453911" y="0"/>
                </a:lnTo>
                <a:lnTo>
                  <a:pt x="2453911" y="1226955"/>
                </a:lnTo>
                <a:lnTo>
                  <a:pt x="0" y="1226955"/>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9" name="Freeform 3">
            <a:extLst>
              <a:ext uri="{FF2B5EF4-FFF2-40B4-BE49-F238E27FC236}">
                <a16:creationId xmlns:a16="http://schemas.microsoft.com/office/drawing/2014/main" id="{1E94A74E-F48D-9964-7DBC-266D53D79BD7}"/>
              </a:ext>
            </a:extLst>
          </p:cNvPr>
          <p:cNvSpPr/>
          <p:nvPr/>
        </p:nvSpPr>
        <p:spPr>
          <a:xfrm rot="10800000">
            <a:off x="2956120" y="4028641"/>
            <a:ext cx="1635941" cy="817970"/>
          </a:xfrm>
          <a:custGeom>
            <a:avLst/>
            <a:gdLst/>
            <a:ahLst/>
            <a:cxnLst/>
            <a:rect l="l" t="t" r="r" b="b"/>
            <a:pathLst>
              <a:path w="2453911" h="1226955">
                <a:moveTo>
                  <a:pt x="0" y="0"/>
                </a:moveTo>
                <a:lnTo>
                  <a:pt x="2453910" y="0"/>
                </a:lnTo>
                <a:lnTo>
                  <a:pt x="2453910" y="1226955"/>
                </a:lnTo>
                <a:lnTo>
                  <a:pt x="0" y="1226955"/>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11" name="Freeform 4">
            <a:extLst>
              <a:ext uri="{FF2B5EF4-FFF2-40B4-BE49-F238E27FC236}">
                <a16:creationId xmlns:a16="http://schemas.microsoft.com/office/drawing/2014/main" id="{354E5D08-CD9E-1C3A-A822-3CBB50E73276}"/>
              </a:ext>
            </a:extLst>
          </p:cNvPr>
          <p:cNvSpPr/>
          <p:nvPr/>
        </p:nvSpPr>
        <p:spPr>
          <a:xfrm>
            <a:off x="4502557" y="3217237"/>
            <a:ext cx="1642507" cy="821253"/>
          </a:xfrm>
          <a:custGeom>
            <a:avLst/>
            <a:gdLst/>
            <a:ahLst/>
            <a:cxnLst/>
            <a:rect l="l" t="t" r="r" b="b"/>
            <a:pathLst>
              <a:path w="2463760" h="1231880">
                <a:moveTo>
                  <a:pt x="0" y="0"/>
                </a:moveTo>
                <a:lnTo>
                  <a:pt x="2463760" y="0"/>
                </a:lnTo>
                <a:lnTo>
                  <a:pt x="2463760" y="1231880"/>
                </a:lnTo>
                <a:lnTo>
                  <a:pt x="0" y="123188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13" name="Freeform 5">
            <a:extLst>
              <a:ext uri="{FF2B5EF4-FFF2-40B4-BE49-F238E27FC236}">
                <a16:creationId xmlns:a16="http://schemas.microsoft.com/office/drawing/2014/main" id="{A9A9B183-D094-30AD-0D2B-7B5645C5E40B}"/>
              </a:ext>
            </a:extLst>
          </p:cNvPr>
          <p:cNvSpPr/>
          <p:nvPr/>
        </p:nvSpPr>
        <p:spPr>
          <a:xfrm rot="10800000">
            <a:off x="6061764" y="4031924"/>
            <a:ext cx="1635941" cy="817970"/>
          </a:xfrm>
          <a:custGeom>
            <a:avLst/>
            <a:gdLst/>
            <a:ahLst/>
            <a:cxnLst/>
            <a:rect l="l" t="t" r="r" b="b"/>
            <a:pathLst>
              <a:path w="2453911" h="1226955">
                <a:moveTo>
                  <a:pt x="0" y="0"/>
                </a:moveTo>
                <a:lnTo>
                  <a:pt x="2453911" y="0"/>
                </a:lnTo>
                <a:lnTo>
                  <a:pt x="2453911" y="1226955"/>
                </a:lnTo>
                <a:lnTo>
                  <a:pt x="0" y="1226955"/>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15" name="Freeform 6">
            <a:extLst>
              <a:ext uri="{FF2B5EF4-FFF2-40B4-BE49-F238E27FC236}">
                <a16:creationId xmlns:a16="http://schemas.microsoft.com/office/drawing/2014/main" id="{894DB040-2BC8-265B-339B-5C68F24AE12F}"/>
              </a:ext>
            </a:extLst>
          </p:cNvPr>
          <p:cNvSpPr/>
          <p:nvPr/>
        </p:nvSpPr>
        <p:spPr>
          <a:xfrm>
            <a:off x="7608823" y="3220520"/>
            <a:ext cx="1635941" cy="817970"/>
          </a:xfrm>
          <a:custGeom>
            <a:avLst/>
            <a:gdLst/>
            <a:ahLst/>
            <a:cxnLst/>
            <a:rect l="l" t="t" r="r" b="b"/>
            <a:pathLst>
              <a:path w="2453911" h="1226955">
                <a:moveTo>
                  <a:pt x="0" y="0"/>
                </a:moveTo>
                <a:lnTo>
                  <a:pt x="2453911" y="0"/>
                </a:lnTo>
                <a:lnTo>
                  <a:pt x="2453911" y="1226955"/>
                </a:lnTo>
                <a:lnTo>
                  <a:pt x="0" y="122695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17" name="Freeform 7">
            <a:extLst>
              <a:ext uri="{FF2B5EF4-FFF2-40B4-BE49-F238E27FC236}">
                <a16:creationId xmlns:a16="http://schemas.microsoft.com/office/drawing/2014/main" id="{2EACCEB5-D6C9-3D1D-8AEF-85B292D8DE79}"/>
              </a:ext>
            </a:extLst>
          </p:cNvPr>
          <p:cNvSpPr/>
          <p:nvPr/>
        </p:nvSpPr>
        <p:spPr>
          <a:xfrm rot="10800000">
            <a:off x="9164905" y="4031924"/>
            <a:ext cx="1635941" cy="817970"/>
          </a:xfrm>
          <a:custGeom>
            <a:avLst/>
            <a:gdLst/>
            <a:ahLst/>
            <a:cxnLst/>
            <a:rect l="l" t="t" r="r" b="b"/>
            <a:pathLst>
              <a:path w="2453911" h="1226955">
                <a:moveTo>
                  <a:pt x="0" y="0"/>
                </a:moveTo>
                <a:lnTo>
                  <a:pt x="2453911" y="0"/>
                </a:lnTo>
                <a:lnTo>
                  <a:pt x="2453911" y="1226955"/>
                </a:lnTo>
                <a:lnTo>
                  <a:pt x="0" y="1226955"/>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grpSp>
        <p:nvGrpSpPr>
          <p:cNvPr id="21" name="Group 8">
            <a:extLst>
              <a:ext uri="{FF2B5EF4-FFF2-40B4-BE49-F238E27FC236}">
                <a16:creationId xmlns:a16="http://schemas.microsoft.com/office/drawing/2014/main" id="{9963B85D-33FB-DD61-B9B5-C10C10D00B65}"/>
              </a:ext>
            </a:extLst>
          </p:cNvPr>
          <p:cNvGrpSpPr/>
          <p:nvPr/>
        </p:nvGrpSpPr>
        <p:grpSpPr>
          <a:xfrm>
            <a:off x="399397" y="1815881"/>
            <a:ext cx="3764272" cy="1315724"/>
            <a:chOff x="-1404790" y="176355"/>
            <a:chExt cx="7528544" cy="2631448"/>
          </a:xfrm>
        </p:grpSpPr>
        <p:sp>
          <p:nvSpPr>
            <p:cNvPr id="19" name="TextBox 9">
              <a:extLst>
                <a:ext uri="{FF2B5EF4-FFF2-40B4-BE49-F238E27FC236}">
                  <a16:creationId xmlns:a16="http://schemas.microsoft.com/office/drawing/2014/main" id="{8F56D947-B18E-6292-FB32-17E6BBE1C7B7}"/>
                </a:ext>
              </a:extLst>
            </p:cNvPr>
            <p:cNvSpPr txBox="1"/>
            <p:nvPr/>
          </p:nvSpPr>
          <p:spPr>
            <a:xfrm>
              <a:off x="-1404790" y="1083997"/>
              <a:ext cx="7528544" cy="1723806"/>
            </a:xfrm>
            <a:prstGeom prst="rect">
              <a:avLst/>
            </a:prstGeom>
          </p:spPr>
          <p:txBody>
            <a:bodyPr wrap="square" lIns="0" tIns="0" rIns="0" bIns="0" rtlCol="0" anchor="t">
              <a:spAutoFit/>
            </a:bodyPr>
            <a:lstStyle/>
            <a:p>
              <a:pPr algn="ctr">
                <a:lnSpc>
                  <a:spcPts val="2299"/>
                </a:lnSpc>
              </a:pPr>
              <a:r>
                <a:rPr lang="en-US" sz="1500" spc="45">
                  <a:solidFill>
                    <a:srgbClr val="191919"/>
                  </a:solidFill>
                  <a:latin typeface="Aileron"/>
                </a:rPr>
                <a:t>Why ESSI? - Understanding the importance of safe sleep and equity at ILPQC's Annual Conference </a:t>
              </a:r>
            </a:p>
          </p:txBody>
        </p:sp>
        <p:sp>
          <p:nvSpPr>
            <p:cNvPr id="20" name="TextBox 10">
              <a:extLst>
                <a:ext uri="{FF2B5EF4-FFF2-40B4-BE49-F238E27FC236}">
                  <a16:creationId xmlns:a16="http://schemas.microsoft.com/office/drawing/2014/main" id="{A9936A2B-2042-0897-3CCF-AC6DEB6DE9D0}"/>
                </a:ext>
              </a:extLst>
            </p:cNvPr>
            <p:cNvSpPr txBox="1"/>
            <p:nvPr/>
          </p:nvSpPr>
          <p:spPr>
            <a:xfrm>
              <a:off x="-757414" y="176355"/>
              <a:ext cx="5063558" cy="643382"/>
            </a:xfrm>
            <a:prstGeom prst="rect">
              <a:avLst/>
            </a:prstGeom>
          </p:spPr>
          <p:txBody>
            <a:bodyPr wrap="square" lIns="0" tIns="0" rIns="0" bIns="0" rtlCol="0" anchor="t">
              <a:spAutoFit/>
            </a:bodyPr>
            <a:lstStyle/>
            <a:p>
              <a:pPr algn="ctr">
                <a:lnSpc>
                  <a:spcPts val="2519"/>
                </a:lnSpc>
              </a:pPr>
              <a:r>
                <a:rPr lang="en-US" sz="2400" b="1" spc="70">
                  <a:solidFill>
                    <a:srgbClr val="191919"/>
                  </a:solidFill>
                  <a:latin typeface="Aileron Bold"/>
                </a:rPr>
                <a:t>Fall 2022</a:t>
              </a:r>
            </a:p>
          </p:txBody>
        </p:sp>
      </p:grpSp>
      <p:grpSp>
        <p:nvGrpSpPr>
          <p:cNvPr id="25" name="Group 11">
            <a:extLst>
              <a:ext uri="{FF2B5EF4-FFF2-40B4-BE49-F238E27FC236}">
                <a16:creationId xmlns:a16="http://schemas.microsoft.com/office/drawing/2014/main" id="{84391E0C-4D3A-09E7-2ABA-36598B801C9B}"/>
              </a:ext>
            </a:extLst>
          </p:cNvPr>
          <p:cNvGrpSpPr/>
          <p:nvPr/>
        </p:nvGrpSpPr>
        <p:grpSpPr>
          <a:xfrm>
            <a:off x="4341990" y="1809890"/>
            <a:ext cx="2103630" cy="1324475"/>
            <a:chOff x="0" y="188487"/>
            <a:chExt cx="4207261" cy="2648950"/>
          </a:xfrm>
        </p:grpSpPr>
        <p:sp>
          <p:nvSpPr>
            <p:cNvPr id="23" name="TextBox 12">
              <a:extLst>
                <a:ext uri="{FF2B5EF4-FFF2-40B4-BE49-F238E27FC236}">
                  <a16:creationId xmlns:a16="http://schemas.microsoft.com/office/drawing/2014/main" id="{01161B8F-C665-1E6B-2E22-400EFC600810}"/>
                </a:ext>
              </a:extLst>
            </p:cNvPr>
            <p:cNvSpPr txBox="1"/>
            <p:nvPr/>
          </p:nvSpPr>
          <p:spPr>
            <a:xfrm>
              <a:off x="71278" y="1113631"/>
              <a:ext cx="4135983" cy="1723806"/>
            </a:xfrm>
            <a:prstGeom prst="rect">
              <a:avLst/>
            </a:prstGeom>
          </p:spPr>
          <p:txBody>
            <a:bodyPr lIns="0" tIns="0" rIns="0" bIns="0" rtlCol="0" anchor="t">
              <a:spAutoFit/>
            </a:bodyPr>
            <a:lstStyle/>
            <a:p>
              <a:pPr algn="ctr">
                <a:lnSpc>
                  <a:spcPts val="2299"/>
                </a:lnSpc>
              </a:pPr>
              <a:r>
                <a:rPr lang="en-US" sz="1500" spc="45">
                  <a:solidFill>
                    <a:srgbClr val="191919"/>
                  </a:solidFill>
                  <a:latin typeface="Aileron"/>
                </a:rPr>
                <a:t>Aims, Measures, and Key Driver Diagram development</a:t>
              </a:r>
            </a:p>
          </p:txBody>
        </p:sp>
        <p:sp>
          <p:nvSpPr>
            <p:cNvPr id="24" name="TextBox 13">
              <a:extLst>
                <a:ext uri="{FF2B5EF4-FFF2-40B4-BE49-F238E27FC236}">
                  <a16:creationId xmlns:a16="http://schemas.microsoft.com/office/drawing/2014/main" id="{378FB9EC-AB26-B1B0-02BD-AE745AFFB293}"/>
                </a:ext>
              </a:extLst>
            </p:cNvPr>
            <p:cNvSpPr txBox="1"/>
            <p:nvPr/>
          </p:nvSpPr>
          <p:spPr>
            <a:xfrm>
              <a:off x="0" y="188487"/>
              <a:ext cx="4135983" cy="643382"/>
            </a:xfrm>
            <a:prstGeom prst="rect">
              <a:avLst/>
            </a:prstGeom>
          </p:spPr>
          <p:txBody>
            <a:bodyPr lIns="0" tIns="0" rIns="0" bIns="0" rtlCol="0" anchor="t">
              <a:spAutoFit/>
            </a:bodyPr>
            <a:lstStyle/>
            <a:p>
              <a:pPr algn="ctr">
                <a:lnSpc>
                  <a:spcPts val="2519"/>
                </a:lnSpc>
              </a:pPr>
              <a:r>
                <a:rPr lang="en-US" sz="2400" b="1" spc="70">
                  <a:solidFill>
                    <a:srgbClr val="191919"/>
                  </a:solidFill>
                  <a:latin typeface="Aileron Bold"/>
                </a:rPr>
                <a:t>Spring 2023</a:t>
              </a:r>
            </a:p>
          </p:txBody>
        </p:sp>
      </p:grpSp>
      <p:grpSp>
        <p:nvGrpSpPr>
          <p:cNvPr id="29" name="Group 14">
            <a:extLst>
              <a:ext uri="{FF2B5EF4-FFF2-40B4-BE49-F238E27FC236}">
                <a16:creationId xmlns:a16="http://schemas.microsoft.com/office/drawing/2014/main" id="{92440943-7A96-A0EC-DC0D-7F0D07EA8C64}"/>
              </a:ext>
            </a:extLst>
          </p:cNvPr>
          <p:cNvGrpSpPr/>
          <p:nvPr/>
        </p:nvGrpSpPr>
        <p:grpSpPr>
          <a:xfrm>
            <a:off x="7204287" y="1809890"/>
            <a:ext cx="2447522" cy="1325566"/>
            <a:chOff x="686874" y="188487"/>
            <a:chExt cx="6054141" cy="2627980"/>
          </a:xfrm>
        </p:grpSpPr>
        <p:sp>
          <p:nvSpPr>
            <p:cNvPr id="27" name="TextBox 15">
              <a:extLst>
                <a:ext uri="{FF2B5EF4-FFF2-40B4-BE49-F238E27FC236}">
                  <a16:creationId xmlns:a16="http://schemas.microsoft.com/office/drawing/2014/main" id="{5B87A825-28AC-19DC-186C-BA7D37E81650}"/>
                </a:ext>
              </a:extLst>
            </p:cNvPr>
            <p:cNvSpPr txBox="1"/>
            <p:nvPr/>
          </p:nvSpPr>
          <p:spPr>
            <a:xfrm>
              <a:off x="901521" y="1090483"/>
              <a:ext cx="5839494" cy="1725984"/>
            </a:xfrm>
            <a:prstGeom prst="rect">
              <a:avLst/>
            </a:prstGeom>
          </p:spPr>
          <p:txBody>
            <a:bodyPr lIns="0" tIns="0" rIns="0" bIns="0" rtlCol="0" anchor="t">
              <a:spAutoFit/>
            </a:bodyPr>
            <a:lstStyle/>
            <a:p>
              <a:pPr algn="ctr">
                <a:lnSpc>
                  <a:spcPts val="2299"/>
                </a:lnSpc>
              </a:pPr>
              <a:r>
                <a:rPr lang="en-US" sz="1500" spc="45">
                  <a:solidFill>
                    <a:srgbClr val="191919"/>
                  </a:solidFill>
                  <a:latin typeface="Aileron"/>
                </a:rPr>
                <a:t>Toolkit development with Neonatal CAB and ESSI Planning Group</a:t>
              </a:r>
            </a:p>
          </p:txBody>
        </p:sp>
        <p:sp>
          <p:nvSpPr>
            <p:cNvPr id="28" name="TextBox 16">
              <a:extLst>
                <a:ext uri="{FF2B5EF4-FFF2-40B4-BE49-F238E27FC236}">
                  <a16:creationId xmlns:a16="http://schemas.microsoft.com/office/drawing/2014/main" id="{0240693A-8F53-8305-D292-AD3FA691E14C}"/>
                </a:ext>
              </a:extLst>
            </p:cNvPr>
            <p:cNvSpPr txBox="1"/>
            <p:nvPr/>
          </p:nvSpPr>
          <p:spPr>
            <a:xfrm>
              <a:off x="686874" y="188487"/>
              <a:ext cx="5839493" cy="643382"/>
            </a:xfrm>
            <a:prstGeom prst="rect">
              <a:avLst/>
            </a:prstGeom>
          </p:spPr>
          <p:txBody>
            <a:bodyPr lIns="0" tIns="0" rIns="0" bIns="0" rtlCol="0" anchor="t">
              <a:spAutoFit/>
            </a:bodyPr>
            <a:lstStyle/>
            <a:p>
              <a:pPr algn="ctr">
                <a:lnSpc>
                  <a:spcPts val="2519"/>
                </a:lnSpc>
              </a:pPr>
              <a:r>
                <a:rPr lang="en-US" sz="2400" b="1" spc="70">
                  <a:solidFill>
                    <a:srgbClr val="191919"/>
                  </a:solidFill>
                  <a:latin typeface="Aileron Bold"/>
                </a:rPr>
                <a:t>Fall 2023</a:t>
              </a:r>
              <a:endParaRPr lang="en-US" sz="2000" b="1">
                <a:ea typeface="Calibri"/>
                <a:cs typeface="Calibri"/>
              </a:endParaRPr>
            </a:p>
          </p:txBody>
        </p:sp>
      </p:grpSp>
      <p:grpSp>
        <p:nvGrpSpPr>
          <p:cNvPr id="33" name="Group 17">
            <a:extLst>
              <a:ext uri="{FF2B5EF4-FFF2-40B4-BE49-F238E27FC236}">
                <a16:creationId xmlns:a16="http://schemas.microsoft.com/office/drawing/2014/main" id="{F52E758F-ED55-139F-868B-B928D126A7EC}"/>
              </a:ext>
            </a:extLst>
          </p:cNvPr>
          <p:cNvGrpSpPr/>
          <p:nvPr/>
        </p:nvGrpSpPr>
        <p:grpSpPr>
          <a:xfrm>
            <a:off x="2371501" y="5053156"/>
            <a:ext cx="2805179" cy="798964"/>
            <a:chOff x="-590282" y="-348131"/>
            <a:chExt cx="5610357" cy="1597928"/>
          </a:xfrm>
        </p:grpSpPr>
        <p:sp>
          <p:nvSpPr>
            <p:cNvPr id="31" name="TextBox 18">
              <a:extLst>
                <a:ext uri="{FF2B5EF4-FFF2-40B4-BE49-F238E27FC236}">
                  <a16:creationId xmlns:a16="http://schemas.microsoft.com/office/drawing/2014/main" id="{B00CCD8F-9409-7F56-6C3B-CBD3C4B762FE}"/>
                </a:ext>
              </a:extLst>
            </p:cNvPr>
            <p:cNvSpPr txBox="1"/>
            <p:nvPr/>
          </p:nvSpPr>
          <p:spPr>
            <a:xfrm>
              <a:off x="0" y="705801"/>
              <a:ext cx="4086357" cy="543996"/>
            </a:xfrm>
            <a:prstGeom prst="rect">
              <a:avLst/>
            </a:prstGeom>
          </p:spPr>
          <p:txBody>
            <a:bodyPr lIns="0" tIns="0" rIns="0" bIns="0" rtlCol="0" anchor="t">
              <a:spAutoFit/>
            </a:bodyPr>
            <a:lstStyle/>
            <a:p>
              <a:pPr algn="ctr">
                <a:lnSpc>
                  <a:spcPts val="2299"/>
                </a:lnSpc>
              </a:pPr>
              <a:endParaRPr lang="en-US" sz="1500" spc="45">
                <a:solidFill>
                  <a:srgbClr val="191919"/>
                </a:solidFill>
                <a:latin typeface="Aileron"/>
              </a:endParaRPr>
            </a:p>
          </p:txBody>
        </p:sp>
        <p:sp>
          <p:nvSpPr>
            <p:cNvPr id="32" name="TextBox 19">
              <a:extLst>
                <a:ext uri="{FF2B5EF4-FFF2-40B4-BE49-F238E27FC236}">
                  <a16:creationId xmlns:a16="http://schemas.microsoft.com/office/drawing/2014/main" id="{CECEA562-D78B-7FC3-7F3F-C08CB7AF5614}"/>
                </a:ext>
              </a:extLst>
            </p:cNvPr>
            <p:cNvSpPr txBox="1"/>
            <p:nvPr/>
          </p:nvSpPr>
          <p:spPr>
            <a:xfrm>
              <a:off x="-590282" y="-348131"/>
              <a:ext cx="5610357" cy="643382"/>
            </a:xfrm>
            <a:prstGeom prst="rect">
              <a:avLst/>
            </a:prstGeom>
          </p:spPr>
          <p:txBody>
            <a:bodyPr wrap="square" lIns="0" tIns="0" rIns="0" bIns="0" rtlCol="0" anchor="t">
              <a:spAutoFit/>
            </a:bodyPr>
            <a:lstStyle/>
            <a:p>
              <a:pPr algn="ctr">
                <a:lnSpc>
                  <a:spcPts val="2519"/>
                </a:lnSpc>
              </a:pPr>
              <a:r>
                <a:rPr lang="en-US" sz="2400" b="1" spc="70">
                  <a:solidFill>
                    <a:srgbClr val="191919"/>
                  </a:solidFill>
                  <a:latin typeface="Aileron Bold"/>
                </a:rPr>
                <a:t>Winter 2022/23</a:t>
              </a:r>
            </a:p>
          </p:txBody>
        </p:sp>
      </p:grpSp>
      <p:grpSp>
        <p:nvGrpSpPr>
          <p:cNvPr id="37" name="Group 20">
            <a:extLst>
              <a:ext uri="{FF2B5EF4-FFF2-40B4-BE49-F238E27FC236}">
                <a16:creationId xmlns:a16="http://schemas.microsoft.com/office/drawing/2014/main" id="{DE01A65F-5D1D-9A0E-9734-348694F860D1}"/>
              </a:ext>
            </a:extLst>
          </p:cNvPr>
          <p:cNvGrpSpPr/>
          <p:nvPr/>
        </p:nvGrpSpPr>
        <p:grpSpPr>
          <a:xfrm>
            <a:off x="5867695" y="5054389"/>
            <a:ext cx="2268000" cy="1104649"/>
            <a:chOff x="-62964" y="6069839"/>
            <a:chExt cx="4536000" cy="2209298"/>
          </a:xfrm>
        </p:grpSpPr>
        <p:sp>
          <p:nvSpPr>
            <p:cNvPr id="35" name="TextBox 21">
              <a:extLst>
                <a:ext uri="{FF2B5EF4-FFF2-40B4-BE49-F238E27FC236}">
                  <a16:creationId xmlns:a16="http://schemas.microsoft.com/office/drawing/2014/main" id="{53BCC135-7316-5956-0C96-6C92A1A248BB}"/>
                </a:ext>
              </a:extLst>
            </p:cNvPr>
            <p:cNvSpPr txBox="1"/>
            <p:nvPr/>
          </p:nvSpPr>
          <p:spPr>
            <a:xfrm>
              <a:off x="-62964" y="7123773"/>
              <a:ext cx="4536000" cy="1155364"/>
            </a:xfrm>
            <a:prstGeom prst="rect">
              <a:avLst/>
            </a:prstGeom>
          </p:spPr>
          <p:txBody>
            <a:bodyPr wrap="square" lIns="0" tIns="0" rIns="0" bIns="0" rtlCol="0" anchor="t">
              <a:spAutoFit/>
            </a:bodyPr>
            <a:lstStyle/>
            <a:p>
              <a:pPr algn="ctr">
                <a:lnSpc>
                  <a:spcPts val="2299"/>
                </a:lnSpc>
              </a:pPr>
              <a:r>
                <a:rPr lang="en-US" sz="1500" spc="45" dirty="0">
                  <a:solidFill>
                    <a:srgbClr val="191919"/>
                  </a:solidFill>
                  <a:latin typeface="Calibri"/>
                  <a:ea typeface="Calibri"/>
                  <a:cs typeface="Calibri"/>
                </a:rPr>
                <a:t>Data form development and Wave 1 review</a:t>
              </a:r>
            </a:p>
          </p:txBody>
        </p:sp>
        <p:sp>
          <p:nvSpPr>
            <p:cNvPr id="36" name="TextBox 22">
              <a:extLst>
                <a:ext uri="{FF2B5EF4-FFF2-40B4-BE49-F238E27FC236}">
                  <a16:creationId xmlns:a16="http://schemas.microsoft.com/office/drawing/2014/main" id="{2488CD51-A0FD-0F7E-D46C-6D0C2DED559A}"/>
                </a:ext>
              </a:extLst>
            </p:cNvPr>
            <p:cNvSpPr txBox="1"/>
            <p:nvPr/>
          </p:nvSpPr>
          <p:spPr>
            <a:xfrm>
              <a:off x="42930" y="6069839"/>
              <a:ext cx="4349612" cy="643382"/>
            </a:xfrm>
            <a:prstGeom prst="rect">
              <a:avLst/>
            </a:prstGeom>
          </p:spPr>
          <p:txBody>
            <a:bodyPr wrap="square" lIns="0" tIns="0" rIns="0" bIns="0" rtlCol="0" anchor="t">
              <a:spAutoFit/>
            </a:bodyPr>
            <a:lstStyle/>
            <a:p>
              <a:pPr algn="ctr">
                <a:lnSpc>
                  <a:spcPts val="2519"/>
                </a:lnSpc>
              </a:pPr>
              <a:r>
                <a:rPr lang="en-US" sz="2400" b="1" spc="70">
                  <a:solidFill>
                    <a:srgbClr val="191919"/>
                  </a:solidFill>
                  <a:latin typeface="Aileron Bold"/>
                </a:rPr>
                <a:t>Summer 2023</a:t>
              </a:r>
              <a:endParaRPr lang="en-US" b="1">
                <a:ea typeface="Calibri"/>
                <a:cs typeface="Calibri"/>
              </a:endParaRPr>
            </a:p>
          </p:txBody>
        </p:sp>
      </p:grpSp>
      <p:grpSp>
        <p:nvGrpSpPr>
          <p:cNvPr id="41" name="Group 23">
            <a:extLst>
              <a:ext uri="{FF2B5EF4-FFF2-40B4-BE49-F238E27FC236}">
                <a16:creationId xmlns:a16="http://schemas.microsoft.com/office/drawing/2014/main" id="{61ED38C4-194D-089B-AEF0-A50E211B69E8}"/>
              </a:ext>
            </a:extLst>
          </p:cNvPr>
          <p:cNvGrpSpPr/>
          <p:nvPr/>
        </p:nvGrpSpPr>
        <p:grpSpPr>
          <a:xfrm>
            <a:off x="8842933" y="5049801"/>
            <a:ext cx="2569570" cy="816581"/>
            <a:chOff x="-643944" y="6155699"/>
            <a:chExt cx="5139139" cy="1489390"/>
          </a:xfrm>
        </p:grpSpPr>
        <p:sp>
          <p:nvSpPr>
            <p:cNvPr id="39" name="TextBox 24">
              <a:extLst>
                <a:ext uri="{FF2B5EF4-FFF2-40B4-BE49-F238E27FC236}">
                  <a16:creationId xmlns:a16="http://schemas.microsoft.com/office/drawing/2014/main" id="{E29ABAB9-1C54-B808-EDD4-5D83CC77687C}"/>
                </a:ext>
              </a:extLst>
            </p:cNvPr>
            <p:cNvSpPr txBox="1"/>
            <p:nvPr/>
          </p:nvSpPr>
          <p:spPr>
            <a:xfrm>
              <a:off x="-300506" y="7101093"/>
              <a:ext cx="4795701" cy="543996"/>
            </a:xfrm>
            <a:prstGeom prst="rect">
              <a:avLst/>
            </a:prstGeom>
          </p:spPr>
          <p:txBody>
            <a:bodyPr wrap="square" lIns="0" tIns="0" rIns="0" bIns="0" rtlCol="0" anchor="t">
              <a:spAutoFit/>
            </a:bodyPr>
            <a:lstStyle/>
            <a:p>
              <a:pPr algn="ctr">
                <a:lnSpc>
                  <a:spcPts val="2299"/>
                </a:lnSpc>
              </a:pPr>
              <a:r>
                <a:rPr lang="en-US" sz="2000" spc="45" dirty="0">
                  <a:solidFill>
                    <a:srgbClr val="191919"/>
                  </a:solidFill>
                  <a:latin typeface="Aileron"/>
                </a:rPr>
                <a:t>ESSI Launch </a:t>
              </a:r>
            </a:p>
          </p:txBody>
        </p:sp>
        <p:sp>
          <p:nvSpPr>
            <p:cNvPr id="40" name="TextBox 25">
              <a:extLst>
                <a:ext uri="{FF2B5EF4-FFF2-40B4-BE49-F238E27FC236}">
                  <a16:creationId xmlns:a16="http://schemas.microsoft.com/office/drawing/2014/main" id="{3EDA261B-827E-A431-90A1-0DFB061FA02A}"/>
                </a:ext>
              </a:extLst>
            </p:cNvPr>
            <p:cNvSpPr txBox="1"/>
            <p:nvPr/>
          </p:nvSpPr>
          <p:spPr>
            <a:xfrm>
              <a:off x="-643944" y="6155699"/>
              <a:ext cx="5134489" cy="643382"/>
            </a:xfrm>
            <a:prstGeom prst="rect">
              <a:avLst/>
            </a:prstGeom>
          </p:spPr>
          <p:txBody>
            <a:bodyPr wrap="square" lIns="0" tIns="0" rIns="0" bIns="0" rtlCol="0" anchor="t">
              <a:spAutoFit/>
            </a:bodyPr>
            <a:lstStyle/>
            <a:p>
              <a:pPr algn="ctr">
                <a:lnSpc>
                  <a:spcPts val="2519"/>
                </a:lnSpc>
              </a:pPr>
              <a:r>
                <a:rPr lang="en-US" sz="2400" b="1" spc="70">
                  <a:solidFill>
                    <a:srgbClr val="191919"/>
                  </a:solidFill>
                  <a:latin typeface="Aileron Bold"/>
                </a:rPr>
                <a:t>Now</a:t>
              </a:r>
              <a:endParaRPr lang="en-US">
                <a:ea typeface="Calibri" panose="020F0502020204030204"/>
                <a:cs typeface="Calibri" panose="020F0502020204030204"/>
              </a:endParaRPr>
            </a:p>
          </p:txBody>
        </p:sp>
      </p:grpSp>
      <p:grpSp>
        <p:nvGrpSpPr>
          <p:cNvPr id="45" name="Group 26">
            <a:extLst>
              <a:ext uri="{FF2B5EF4-FFF2-40B4-BE49-F238E27FC236}">
                <a16:creationId xmlns:a16="http://schemas.microsoft.com/office/drawing/2014/main" id="{48ED7B4F-02F5-CA89-3C02-B80774196C81}"/>
              </a:ext>
            </a:extLst>
          </p:cNvPr>
          <p:cNvGrpSpPr/>
          <p:nvPr/>
        </p:nvGrpSpPr>
        <p:grpSpPr>
          <a:xfrm>
            <a:off x="1783907" y="3581696"/>
            <a:ext cx="884192" cy="883881"/>
            <a:chOff x="0" y="0"/>
            <a:chExt cx="812800" cy="812800"/>
          </a:xfrm>
        </p:grpSpPr>
        <p:sp>
          <p:nvSpPr>
            <p:cNvPr id="43" name="Freeform 27">
              <a:extLst>
                <a:ext uri="{FF2B5EF4-FFF2-40B4-BE49-F238E27FC236}">
                  <a16:creationId xmlns:a16="http://schemas.microsoft.com/office/drawing/2014/main" id="{CF35A0A4-0039-755F-1B80-EE9788671F55}"/>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FE6D73"/>
              </a:solidFill>
              <a:prstDash val="solid"/>
              <a:miter/>
            </a:ln>
          </p:spPr>
        </p:sp>
        <p:sp>
          <p:nvSpPr>
            <p:cNvPr id="44" name="TextBox 28">
              <a:extLst>
                <a:ext uri="{FF2B5EF4-FFF2-40B4-BE49-F238E27FC236}">
                  <a16:creationId xmlns:a16="http://schemas.microsoft.com/office/drawing/2014/main" id="{A606DE52-7AEA-D875-08E7-CAEF89B2A741}"/>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grpSp>
        <p:nvGrpSpPr>
          <p:cNvPr id="49" name="Group 29">
            <a:extLst>
              <a:ext uri="{FF2B5EF4-FFF2-40B4-BE49-F238E27FC236}">
                <a16:creationId xmlns:a16="http://schemas.microsoft.com/office/drawing/2014/main" id="{12991AF2-37AF-ABF0-A6E7-8BD0013616B5}"/>
              </a:ext>
            </a:extLst>
          </p:cNvPr>
          <p:cNvGrpSpPr/>
          <p:nvPr/>
        </p:nvGrpSpPr>
        <p:grpSpPr>
          <a:xfrm>
            <a:off x="3318636" y="3593718"/>
            <a:ext cx="916391" cy="883259"/>
            <a:chOff x="0" y="0"/>
            <a:chExt cx="812800" cy="812800"/>
          </a:xfrm>
        </p:grpSpPr>
        <p:sp>
          <p:nvSpPr>
            <p:cNvPr id="47" name="Freeform 30">
              <a:extLst>
                <a:ext uri="{FF2B5EF4-FFF2-40B4-BE49-F238E27FC236}">
                  <a16:creationId xmlns:a16="http://schemas.microsoft.com/office/drawing/2014/main" id="{5F9FCCFC-CDE1-158F-92D3-4784174BF079}"/>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F58366"/>
              </a:solidFill>
              <a:prstDash val="solid"/>
              <a:miter/>
            </a:ln>
          </p:spPr>
        </p:sp>
        <p:sp>
          <p:nvSpPr>
            <p:cNvPr id="48" name="TextBox 31">
              <a:extLst>
                <a:ext uri="{FF2B5EF4-FFF2-40B4-BE49-F238E27FC236}">
                  <a16:creationId xmlns:a16="http://schemas.microsoft.com/office/drawing/2014/main" id="{09B05717-4F37-8035-B30F-9EC46017B27F}"/>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grpSp>
        <p:nvGrpSpPr>
          <p:cNvPr id="53" name="Group 32">
            <a:extLst>
              <a:ext uri="{FF2B5EF4-FFF2-40B4-BE49-F238E27FC236}">
                <a16:creationId xmlns:a16="http://schemas.microsoft.com/office/drawing/2014/main" id="{5A56A83E-4867-2006-09C5-749B01529CF0}"/>
              </a:ext>
            </a:extLst>
          </p:cNvPr>
          <p:cNvGrpSpPr/>
          <p:nvPr/>
        </p:nvGrpSpPr>
        <p:grpSpPr>
          <a:xfrm>
            <a:off x="4875641" y="3623071"/>
            <a:ext cx="883569" cy="828664"/>
            <a:chOff x="0" y="0"/>
            <a:chExt cx="812800" cy="812800"/>
          </a:xfrm>
        </p:grpSpPr>
        <p:sp>
          <p:nvSpPr>
            <p:cNvPr id="51" name="Freeform 33">
              <a:extLst>
                <a:ext uri="{FF2B5EF4-FFF2-40B4-BE49-F238E27FC236}">
                  <a16:creationId xmlns:a16="http://schemas.microsoft.com/office/drawing/2014/main" id="{3C44E55E-2C90-2C0F-3437-5E2D4076A0F9}"/>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F9C041"/>
              </a:solidFill>
              <a:prstDash val="solid"/>
              <a:miter/>
            </a:ln>
          </p:spPr>
        </p:sp>
        <p:sp>
          <p:nvSpPr>
            <p:cNvPr id="52" name="TextBox 34">
              <a:extLst>
                <a:ext uri="{FF2B5EF4-FFF2-40B4-BE49-F238E27FC236}">
                  <a16:creationId xmlns:a16="http://schemas.microsoft.com/office/drawing/2014/main" id="{D79088AC-E56F-CE05-7DC1-6C9FD8F87610}"/>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grpSp>
        <p:nvGrpSpPr>
          <p:cNvPr id="57" name="Group 35">
            <a:extLst>
              <a:ext uri="{FF2B5EF4-FFF2-40B4-BE49-F238E27FC236}">
                <a16:creationId xmlns:a16="http://schemas.microsoft.com/office/drawing/2014/main" id="{4611F907-2B0F-5619-629C-5F523BCC6BED}"/>
              </a:ext>
            </a:extLst>
          </p:cNvPr>
          <p:cNvGrpSpPr/>
          <p:nvPr/>
        </p:nvGrpSpPr>
        <p:grpSpPr>
          <a:xfrm>
            <a:off x="6406553" y="3561522"/>
            <a:ext cx="937232" cy="882016"/>
            <a:chOff x="0" y="0"/>
            <a:chExt cx="812800" cy="812800"/>
          </a:xfrm>
        </p:grpSpPr>
        <p:sp>
          <p:nvSpPr>
            <p:cNvPr id="55" name="Freeform 36">
              <a:extLst>
                <a:ext uri="{FF2B5EF4-FFF2-40B4-BE49-F238E27FC236}">
                  <a16:creationId xmlns:a16="http://schemas.microsoft.com/office/drawing/2014/main" id="{DC840300-7E81-AA58-0D00-05597D83485D}"/>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48CFAE"/>
              </a:solidFill>
              <a:prstDash val="solid"/>
              <a:miter/>
            </a:ln>
          </p:spPr>
        </p:sp>
        <p:sp>
          <p:nvSpPr>
            <p:cNvPr id="56" name="TextBox 37">
              <a:extLst>
                <a:ext uri="{FF2B5EF4-FFF2-40B4-BE49-F238E27FC236}">
                  <a16:creationId xmlns:a16="http://schemas.microsoft.com/office/drawing/2014/main" id="{0A774E7B-8AA7-34A8-16EF-CD5FBD15F4AE}"/>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grpSp>
        <p:nvGrpSpPr>
          <p:cNvPr id="61" name="Group 38">
            <a:extLst>
              <a:ext uri="{FF2B5EF4-FFF2-40B4-BE49-F238E27FC236}">
                <a16:creationId xmlns:a16="http://schemas.microsoft.com/office/drawing/2014/main" id="{DC18AB80-E27F-8A26-56BA-D3B27C47BD0B}"/>
              </a:ext>
            </a:extLst>
          </p:cNvPr>
          <p:cNvGrpSpPr/>
          <p:nvPr/>
        </p:nvGrpSpPr>
        <p:grpSpPr>
          <a:xfrm>
            <a:off x="7958720" y="3602654"/>
            <a:ext cx="883570" cy="872527"/>
            <a:chOff x="0" y="0"/>
            <a:chExt cx="812800" cy="812800"/>
          </a:xfrm>
        </p:grpSpPr>
        <p:sp>
          <p:nvSpPr>
            <p:cNvPr id="59" name="Freeform 39">
              <a:extLst>
                <a:ext uri="{FF2B5EF4-FFF2-40B4-BE49-F238E27FC236}">
                  <a16:creationId xmlns:a16="http://schemas.microsoft.com/office/drawing/2014/main" id="{C8B65095-F5C1-98FE-0047-07147B5C5AC0}"/>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2C92D5"/>
              </a:solidFill>
              <a:prstDash val="solid"/>
              <a:miter/>
            </a:ln>
          </p:spPr>
        </p:sp>
        <p:sp>
          <p:nvSpPr>
            <p:cNvPr id="60" name="TextBox 40">
              <a:extLst>
                <a:ext uri="{FF2B5EF4-FFF2-40B4-BE49-F238E27FC236}">
                  <a16:creationId xmlns:a16="http://schemas.microsoft.com/office/drawing/2014/main" id="{C8564D58-A5C3-1A1D-C763-3908E4C1F8F5}"/>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grpSp>
        <p:nvGrpSpPr>
          <p:cNvPr id="65" name="Group 41">
            <a:extLst>
              <a:ext uri="{FF2B5EF4-FFF2-40B4-BE49-F238E27FC236}">
                <a16:creationId xmlns:a16="http://schemas.microsoft.com/office/drawing/2014/main" id="{48F2CD97-68B4-2B15-281D-9619EA7125C4}"/>
              </a:ext>
            </a:extLst>
          </p:cNvPr>
          <p:cNvGrpSpPr/>
          <p:nvPr/>
        </p:nvGrpSpPr>
        <p:grpSpPr>
          <a:xfrm>
            <a:off x="9494586" y="3550167"/>
            <a:ext cx="948898" cy="894613"/>
            <a:chOff x="0" y="0"/>
            <a:chExt cx="812800" cy="812800"/>
          </a:xfrm>
        </p:grpSpPr>
        <p:sp>
          <p:nvSpPr>
            <p:cNvPr id="63" name="Freeform 42">
              <a:extLst>
                <a:ext uri="{FF2B5EF4-FFF2-40B4-BE49-F238E27FC236}">
                  <a16:creationId xmlns:a16="http://schemas.microsoft.com/office/drawing/2014/main" id="{978EF1B7-7B22-45D7-9909-0DBC0538D228}"/>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1C498B"/>
              </a:solidFill>
              <a:prstDash val="solid"/>
              <a:miter/>
            </a:ln>
          </p:spPr>
        </p:sp>
        <p:sp>
          <p:nvSpPr>
            <p:cNvPr id="64" name="TextBox 43">
              <a:extLst>
                <a:ext uri="{FF2B5EF4-FFF2-40B4-BE49-F238E27FC236}">
                  <a16:creationId xmlns:a16="http://schemas.microsoft.com/office/drawing/2014/main" id="{29A23C5B-47FF-08C2-2E52-B4514997C331}"/>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sp>
        <p:nvSpPr>
          <p:cNvPr id="3" name="TextBox 2">
            <a:extLst>
              <a:ext uri="{FF2B5EF4-FFF2-40B4-BE49-F238E27FC236}">
                <a16:creationId xmlns:a16="http://schemas.microsoft.com/office/drawing/2014/main" id="{B5F4F3C7-3634-23BA-9CDD-53123F8398D7}"/>
              </a:ext>
            </a:extLst>
          </p:cNvPr>
          <p:cNvSpPr txBox="1"/>
          <p:nvPr/>
        </p:nvSpPr>
        <p:spPr>
          <a:xfrm>
            <a:off x="2535747" y="5601484"/>
            <a:ext cx="2397011"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500">
                <a:solidFill>
                  <a:srgbClr val="191919"/>
                </a:solidFill>
                <a:latin typeface="Aileron"/>
              </a:rPr>
              <a:t>ESSI Planning Group and Neonatal CAB formed</a:t>
            </a:r>
            <a:endParaRPr lang="en-US"/>
          </a:p>
        </p:txBody>
      </p:sp>
      <p:sp>
        <p:nvSpPr>
          <p:cNvPr id="6" name="Rectangle 5">
            <a:extLst>
              <a:ext uri="{FF2B5EF4-FFF2-40B4-BE49-F238E27FC236}">
                <a16:creationId xmlns:a16="http://schemas.microsoft.com/office/drawing/2014/main" id="{D07E332C-4452-C8D5-59CC-C21023DE9083}"/>
              </a:ext>
            </a:extLst>
          </p:cNvPr>
          <p:cNvSpPr/>
          <p:nvPr/>
        </p:nvSpPr>
        <p:spPr>
          <a:xfrm>
            <a:off x="1186638" y="1724473"/>
            <a:ext cx="1674253" cy="440028"/>
          </a:xfrm>
          <a:prstGeom prst="rect">
            <a:avLst/>
          </a:prstGeom>
          <a:noFill/>
          <a:ln w="57150">
            <a:solidFill>
              <a:srgbClr val="FE6D7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C3BBD3E-9448-3652-96A9-ECDE432034D9}"/>
              </a:ext>
            </a:extLst>
          </p:cNvPr>
          <p:cNvSpPr/>
          <p:nvPr/>
        </p:nvSpPr>
        <p:spPr>
          <a:xfrm>
            <a:off x="2479183" y="4990563"/>
            <a:ext cx="2511379" cy="450760"/>
          </a:xfrm>
          <a:prstGeom prst="rect">
            <a:avLst/>
          </a:prstGeom>
          <a:noFill/>
          <a:ln w="57150">
            <a:solidFill>
              <a:srgbClr val="F5836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66B70F3C-3B7D-DA91-5116-9255F65919E1}"/>
              </a:ext>
            </a:extLst>
          </p:cNvPr>
          <p:cNvSpPr/>
          <p:nvPr/>
        </p:nvSpPr>
        <p:spPr>
          <a:xfrm>
            <a:off x="4346619" y="1717182"/>
            <a:ext cx="2049886" cy="461492"/>
          </a:xfrm>
          <a:prstGeom prst="rect">
            <a:avLst/>
          </a:prstGeom>
          <a:noFill/>
          <a:ln w="57150">
            <a:solidFill>
              <a:srgbClr val="F9C04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7D89659A-AD9F-79C0-804E-B7B1FF4486E7}"/>
              </a:ext>
            </a:extLst>
          </p:cNvPr>
          <p:cNvSpPr/>
          <p:nvPr/>
        </p:nvSpPr>
        <p:spPr>
          <a:xfrm>
            <a:off x="5870619" y="4990563"/>
            <a:ext cx="2264534" cy="450760"/>
          </a:xfrm>
          <a:prstGeom prst="rect">
            <a:avLst/>
          </a:prstGeom>
          <a:noFill/>
          <a:ln w="57150">
            <a:solidFill>
              <a:srgbClr val="48CFA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B160BE6-4E67-753A-4940-BD15897B2B40}"/>
              </a:ext>
            </a:extLst>
          </p:cNvPr>
          <p:cNvSpPr/>
          <p:nvPr/>
        </p:nvSpPr>
        <p:spPr>
          <a:xfrm>
            <a:off x="7544873" y="1717183"/>
            <a:ext cx="1760112" cy="440028"/>
          </a:xfrm>
          <a:prstGeom prst="rect">
            <a:avLst/>
          </a:prstGeom>
          <a:noFill/>
          <a:ln w="57150">
            <a:solidFill>
              <a:srgbClr val="2C92D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6757764-F111-5B0B-44D6-73C8E8CE8603}"/>
              </a:ext>
            </a:extLst>
          </p:cNvPr>
          <p:cNvSpPr/>
          <p:nvPr/>
        </p:nvSpPr>
        <p:spPr>
          <a:xfrm>
            <a:off x="9530365" y="5022760"/>
            <a:ext cx="1191296" cy="386366"/>
          </a:xfrm>
          <a:prstGeom prst="rect">
            <a:avLst/>
          </a:prstGeom>
          <a:noFill/>
          <a:ln w="57150">
            <a:solidFill>
              <a:srgbClr val="1C49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146828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7301F447-EEF7-48F5-AF73-7566EE7F64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40AE700-1499-46B3-C70A-C723802CD680}"/>
              </a:ext>
            </a:extLst>
          </p:cNvPr>
          <p:cNvSpPr>
            <a:spLocks noGrp="1"/>
          </p:cNvSpPr>
          <p:nvPr>
            <p:ph type="title"/>
          </p:nvPr>
        </p:nvSpPr>
        <p:spPr>
          <a:xfrm>
            <a:off x="754984" y="334644"/>
            <a:ext cx="10595768" cy="1076914"/>
          </a:xfrm>
        </p:spPr>
        <p:txBody>
          <a:bodyPr anchor="ctr">
            <a:normAutofit/>
          </a:bodyPr>
          <a:lstStyle/>
          <a:p>
            <a:r>
              <a:rPr lang="en-US" sz="4800">
                <a:ea typeface="Lato Medium"/>
                <a:cs typeface="Lato Medium"/>
              </a:rPr>
              <a:t>A Collaborative Effort to Build ESSI</a:t>
            </a:r>
            <a:endParaRPr lang="en-US" sz="4800"/>
          </a:p>
        </p:txBody>
      </p:sp>
      <p:sp>
        <p:nvSpPr>
          <p:cNvPr id="20" name="Rectangle 19">
            <a:extLst>
              <a:ext uri="{FF2B5EF4-FFF2-40B4-BE49-F238E27FC236}">
                <a16:creationId xmlns:a16="http://schemas.microsoft.com/office/drawing/2014/main" id="{F7117410-A2A4-4085-9ADC-46744551DB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42772" y="0"/>
            <a:ext cx="10506456" cy="19138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6" name="Rectangle 25">
            <a:extLst>
              <a:ext uri="{FF2B5EF4-FFF2-40B4-BE49-F238E27FC236}">
                <a16:creationId xmlns:a16="http://schemas.microsoft.com/office/drawing/2014/main" id="{99F74EB5-E547-4FB4-95F5-BCC788F3C4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41248" y="1512994"/>
            <a:ext cx="10506456"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Freeform 2">
            <a:extLst>
              <a:ext uri="{FF2B5EF4-FFF2-40B4-BE49-F238E27FC236}">
                <a16:creationId xmlns:a16="http://schemas.microsoft.com/office/drawing/2014/main" id="{98AEAD99-3E06-8D3F-3F0C-CDC9176523B6}"/>
              </a:ext>
            </a:extLst>
          </p:cNvPr>
          <p:cNvSpPr/>
          <p:nvPr/>
        </p:nvSpPr>
        <p:spPr>
          <a:xfrm>
            <a:off x="351408" y="1704305"/>
            <a:ext cx="5244016" cy="5056124"/>
          </a:xfrm>
          <a:custGeom>
            <a:avLst/>
            <a:gdLst/>
            <a:ahLst/>
            <a:cxnLst/>
            <a:rect l="l" t="t" r="r" b="b"/>
            <a:pathLst>
              <a:path w="8679397" h="8636000">
                <a:moveTo>
                  <a:pt x="0" y="0"/>
                </a:moveTo>
                <a:lnTo>
                  <a:pt x="8679397" y="0"/>
                </a:lnTo>
                <a:lnTo>
                  <a:pt x="8679397" y="8636000"/>
                </a:lnTo>
                <a:lnTo>
                  <a:pt x="0" y="863600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9" name="TextBox 3">
            <a:extLst>
              <a:ext uri="{FF2B5EF4-FFF2-40B4-BE49-F238E27FC236}">
                <a16:creationId xmlns:a16="http://schemas.microsoft.com/office/drawing/2014/main" id="{6DCB2364-A5B2-FB37-162C-58D7616BFAA3}"/>
              </a:ext>
            </a:extLst>
          </p:cNvPr>
          <p:cNvSpPr txBox="1"/>
          <p:nvPr/>
        </p:nvSpPr>
        <p:spPr>
          <a:xfrm>
            <a:off x="2052890" y="5715799"/>
            <a:ext cx="1435992" cy="554639"/>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Neonatal Advisory</a:t>
            </a:r>
            <a:r>
              <a:rPr lang="en-US" sz="1550" spc="60">
                <a:solidFill>
                  <a:srgbClr val="FFFFFF"/>
                </a:solidFill>
                <a:latin typeface="Aileron Bold"/>
              </a:rPr>
              <a:t> </a:t>
            </a:r>
            <a:endParaRPr lang="en-US" sz="1999" spc="77">
              <a:solidFill>
                <a:srgbClr val="FFFFFF"/>
              </a:solidFill>
              <a:latin typeface="Aileron Bold"/>
            </a:endParaRPr>
          </a:p>
        </p:txBody>
      </p:sp>
      <p:sp>
        <p:nvSpPr>
          <p:cNvPr id="11" name="TextBox 4">
            <a:extLst>
              <a:ext uri="{FF2B5EF4-FFF2-40B4-BE49-F238E27FC236}">
                <a16:creationId xmlns:a16="http://schemas.microsoft.com/office/drawing/2014/main" id="{33B71E7D-B0CF-32BF-4481-78C694C53404}"/>
              </a:ext>
            </a:extLst>
          </p:cNvPr>
          <p:cNvSpPr txBox="1"/>
          <p:nvPr/>
        </p:nvSpPr>
        <p:spPr>
          <a:xfrm>
            <a:off x="3486349" y="2535267"/>
            <a:ext cx="1560397" cy="836768"/>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Neonatal Community Advisory Board</a:t>
            </a:r>
            <a:endParaRPr lang="en-US" b="1" spc="77">
              <a:solidFill>
                <a:srgbClr val="FFFFFF"/>
              </a:solidFill>
              <a:latin typeface="Aileron Bold"/>
            </a:endParaRPr>
          </a:p>
        </p:txBody>
      </p:sp>
      <p:sp>
        <p:nvSpPr>
          <p:cNvPr id="13" name="TextBox 5">
            <a:extLst>
              <a:ext uri="{FF2B5EF4-FFF2-40B4-BE49-F238E27FC236}">
                <a16:creationId xmlns:a16="http://schemas.microsoft.com/office/drawing/2014/main" id="{50A7250D-02AB-B054-06E1-32E9F8FC55C0}"/>
              </a:ext>
            </a:extLst>
          </p:cNvPr>
          <p:cNvSpPr txBox="1"/>
          <p:nvPr/>
        </p:nvSpPr>
        <p:spPr>
          <a:xfrm>
            <a:off x="3941129" y="4719273"/>
            <a:ext cx="1153831" cy="836768"/>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ESSI </a:t>
            </a:r>
            <a:r>
              <a:rPr lang="en-US" b="1" spc="60">
                <a:solidFill>
                  <a:srgbClr val="FFFFFF"/>
                </a:solidFill>
                <a:latin typeface="Aileron Bold"/>
              </a:rPr>
              <a:t>Planning</a:t>
            </a:r>
            <a:r>
              <a:rPr lang="en-US" b="1" kern="1200" spc="60">
                <a:solidFill>
                  <a:srgbClr val="FFFFFF"/>
                </a:solidFill>
                <a:latin typeface="Aileron Bold"/>
                <a:ea typeface="+mn-ea"/>
                <a:cs typeface="+mn-cs"/>
              </a:rPr>
              <a:t> Group</a:t>
            </a:r>
            <a:endParaRPr lang="en-US" b="1" spc="77">
              <a:solidFill>
                <a:srgbClr val="FFFFFF"/>
              </a:solidFill>
              <a:latin typeface="Aileron Bold"/>
            </a:endParaRPr>
          </a:p>
        </p:txBody>
      </p:sp>
      <p:sp>
        <p:nvSpPr>
          <p:cNvPr id="15" name="TextBox 6">
            <a:extLst>
              <a:ext uri="{FF2B5EF4-FFF2-40B4-BE49-F238E27FC236}">
                <a16:creationId xmlns:a16="http://schemas.microsoft.com/office/drawing/2014/main" id="{63237A5A-8FBE-2248-7DAF-97A8D25F57D1}"/>
              </a:ext>
            </a:extLst>
          </p:cNvPr>
          <p:cNvSpPr txBox="1"/>
          <p:nvPr/>
        </p:nvSpPr>
        <p:spPr>
          <a:xfrm>
            <a:off x="706096" y="4226521"/>
            <a:ext cx="930770" cy="554639"/>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Wave 1 Teams</a:t>
            </a:r>
            <a:endParaRPr lang="en-US" b="1" spc="77">
              <a:solidFill>
                <a:srgbClr val="FFFFFF"/>
              </a:solidFill>
              <a:latin typeface="Aileron Bold"/>
            </a:endParaRPr>
          </a:p>
        </p:txBody>
      </p:sp>
      <p:sp>
        <p:nvSpPr>
          <p:cNvPr id="17" name="TextBox 7">
            <a:extLst>
              <a:ext uri="{FF2B5EF4-FFF2-40B4-BE49-F238E27FC236}">
                <a16:creationId xmlns:a16="http://schemas.microsoft.com/office/drawing/2014/main" id="{9694707D-377A-FF99-AFDB-26A575A618C3}"/>
              </a:ext>
            </a:extLst>
          </p:cNvPr>
          <p:cNvSpPr txBox="1"/>
          <p:nvPr/>
        </p:nvSpPr>
        <p:spPr>
          <a:xfrm>
            <a:off x="1741292" y="2487959"/>
            <a:ext cx="918070" cy="554639"/>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ILPQC Central</a:t>
            </a:r>
            <a:endParaRPr lang="en-US" b="1" spc="77">
              <a:solidFill>
                <a:srgbClr val="FFFFFF"/>
              </a:solidFill>
              <a:latin typeface="Aileron Bold"/>
            </a:endParaRPr>
          </a:p>
        </p:txBody>
      </p:sp>
      <p:sp>
        <p:nvSpPr>
          <p:cNvPr id="6" name="Freeform 13">
            <a:extLst>
              <a:ext uri="{FF2B5EF4-FFF2-40B4-BE49-F238E27FC236}">
                <a16:creationId xmlns:a16="http://schemas.microsoft.com/office/drawing/2014/main" id="{055E55DF-27B4-B9A8-84BB-DC4C1522901C}"/>
              </a:ext>
            </a:extLst>
          </p:cNvPr>
          <p:cNvSpPr/>
          <p:nvPr/>
        </p:nvSpPr>
        <p:spPr>
          <a:xfrm>
            <a:off x="2152402" y="3854494"/>
            <a:ext cx="1520914" cy="655191"/>
          </a:xfrm>
          <a:custGeom>
            <a:avLst/>
            <a:gdLst/>
            <a:ahLst/>
            <a:cxnLst/>
            <a:rect l="l" t="t" r="r" b="b"/>
            <a:pathLst>
              <a:path w="2281371" h="982786">
                <a:moveTo>
                  <a:pt x="0" y="0"/>
                </a:moveTo>
                <a:lnTo>
                  <a:pt x="2281372" y="0"/>
                </a:lnTo>
                <a:lnTo>
                  <a:pt x="2281372" y="982786"/>
                </a:lnTo>
                <a:lnTo>
                  <a:pt x="0" y="982786"/>
                </a:lnTo>
                <a:lnTo>
                  <a:pt x="0" y="0"/>
                </a:lnTo>
                <a:close/>
              </a:path>
            </a:pathLst>
          </a:custGeom>
          <a:blipFill>
            <a:blip r:embed="rId5"/>
            <a:stretch>
              <a:fillRect t="-16582"/>
            </a:stretch>
          </a:blipFill>
        </p:spPr>
      </p:sp>
      <p:sp>
        <p:nvSpPr>
          <p:cNvPr id="4" name="TextBox 3">
            <a:extLst>
              <a:ext uri="{FF2B5EF4-FFF2-40B4-BE49-F238E27FC236}">
                <a16:creationId xmlns:a16="http://schemas.microsoft.com/office/drawing/2014/main" id="{3D49CA6C-78ED-3124-7EE3-BBDDC9988910}"/>
              </a:ext>
            </a:extLst>
          </p:cNvPr>
          <p:cNvSpPr txBox="1"/>
          <p:nvPr/>
        </p:nvSpPr>
        <p:spPr>
          <a:xfrm>
            <a:off x="5956126" y="4933166"/>
            <a:ext cx="5906022"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Neonatologists, pediatricians, family practice physicians, nurses, doulas, public health and QI professionals representing diverse perspectives from around the state who collaborate on the development and planning of the ESSI initiative</a:t>
            </a:r>
          </a:p>
        </p:txBody>
      </p:sp>
      <p:sp>
        <p:nvSpPr>
          <p:cNvPr id="5" name="Rectangle 4">
            <a:extLst>
              <a:ext uri="{FF2B5EF4-FFF2-40B4-BE49-F238E27FC236}">
                <a16:creationId xmlns:a16="http://schemas.microsoft.com/office/drawing/2014/main" id="{19C1D751-08DD-BD76-1181-C434C9849C27}"/>
              </a:ext>
            </a:extLst>
          </p:cNvPr>
          <p:cNvSpPr/>
          <p:nvPr/>
        </p:nvSpPr>
        <p:spPr>
          <a:xfrm>
            <a:off x="6607480" y="2171178"/>
            <a:ext cx="4290163" cy="532356"/>
          </a:xfrm>
          <a:prstGeom prst="rect">
            <a:avLst/>
          </a:prstGeom>
          <a:solidFill>
            <a:srgbClr val="F9C04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cs typeface="Calibri"/>
              </a:rPr>
              <a:t>Neonatal Community Advisory Board</a:t>
            </a:r>
          </a:p>
        </p:txBody>
      </p:sp>
      <p:sp>
        <p:nvSpPr>
          <p:cNvPr id="8" name="Rectangle 7">
            <a:extLst>
              <a:ext uri="{FF2B5EF4-FFF2-40B4-BE49-F238E27FC236}">
                <a16:creationId xmlns:a16="http://schemas.microsoft.com/office/drawing/2014/main" id="{6E760B7B-BD6C-24E2-33A9-EF4A040B086A}"/>
              </a:ext>
            </a:extLst>
          </p:cNvPr>
          <p:cNvSpPr/>
          <p:nvPr/>
        </p:nvSpPr>
        <p:spPr>
          <a:xfrm>
            <a:off x="6617918" y="4227535"/>
            <a:ext cx="4279724" cy="553232"/>
          </a:xfrm>
          <a:prstGeom prst="rect">
            <a:avLst/>
          </a:prstGeom>
          <a:solidFill>
            <a:srgbClr val="4AB1B4"/>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b="1">
                <a:cs typeface="Calibri"/>
              </a:rPr>
              <a:t>ESSI Planning Group</a:t>
            </a:r>
            <a:endParaRPr lang="en-US" sz="2000" b="1"/>
          </a:p>
        </p:txBody>
      </p:sp>
      <p:sp>
        <p:nvSpPr>
          <p:cNvPr id="12" name="TextBox 11">
            <a:extLst>
              <a:ext uri="{FF2B5EF4-FFF2-40B4-BE49-F238E27FC236}">
                <a16:creationId xmlns:a16="http://schemas.microsoft.com/office/drawing/2014/main" id="{FFCC26E6-1C5C-8419-8626-BD0157947192}"/>
              </a:ext>
            </a:extLst>
          </p:cNvPr>
          <p:cNvSpPr txBox="1"/>
          <p:nvPr/>
        </p:nvSpPr>
        <p:spPr>
          <a:xfrm>
            <a:off x="6032739" y="2840966"/>
            <a:ext cx="5748067"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Community partners representing diverse perspectives from around the state who meet regularly with ILPQC to collaborate on current and future QI initiatives </a:t>
            </a:r>
          </a:p>
        </p:txBody>
      </p:sp>
    </p:spTree>
    <p:extLst>
      <p:ext uri="{BB962C8B-B14F-4D97-AF65-F5344CB8AC3E}">
        <p14:creationId xmlns:p14="http://schemas.microsoft.com/office/powerpoint/2010/main" val="15226160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7301F447-EEF7-48F5-AF73-7566EE7F64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40AE700-1499-46B3-C70A-C723802CD680}"/>
              </a:ext>
            </a:extLst>
          </p:cNvPr>
          <p:cNvSpPr>
            <a:spLocks noGrp="1"/>
          </p:cNvSpPr>
          <p:nvPr>
            <p:ph type="title"/>
          </p:nvPr>
        </p:nvSpPr>
        <p:spPr>
          <a:xfrm>
            <a:off x="841248" y="334644"/>
            <a:ext cx="10509504" cy="1076914"/>
          </a:xfrm>
        </p:spPr>
        <p:txBody>
          <a:bodyPr anchor="ctr">
            <a:normAutofit/>
          </a:bodyPr>
          <a:lstStyle/>
          <a:p>
            <a:r>
              <a:rPr lang="en-US" sz="4800">
                <a:ea typeface="Lato Medium"/>
                <a:cs typeface="Lato Medium"/>
              </a:rPr>
              <a:t>Building ESSI Together</a:t>
            </a:r>
            <a:endParaRPr lang="en-US" sz="4800"/>
          </a:p>
        </p:txBody>
      </p:sp>
      <p:sp>
        <p:nvSpPr>
          <p:cNvPr id="20" name="Rectangle 19">
            <a:extLst>
              <a:ext uri="{FF2B5EF4-FFF2-40B4-BE49-F238E27FC236}">
                <a16:creationId xmlns:a16="http://schemas.microsoft.com/office/drawing/2014/main" id="{F7117410-A2A4-4085-9ADC-46744551DB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42772" y="0"/>
            <a:ext cx="10506456" cy="19138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6" name="Rectangle 25">
            <a:extLst>
              <a:ext uri="{FF2B5EF4-FFF2-40B4-BE49-F238E27FC236}">
                <a16:creationId xmlns:a16="http://schemas.microsoft.com/office/drawing/2014/main" id="{99F74EB5-E547-4FB4-95F5-BCC788F3C4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41248" y="1512994"/>
            <a:ext cx="10506456"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Freeform 2">
            <a:extLst>
              <a:ext uri="{FF2B5EF4-FFF2-40B4-BE49-F238E27FC236}">
                <a16:creationId xmlns:a16="http://schemas.microsoft.com/office/drawing/2014/main" id="{98AEAD99-3E06-8D3F-3F0C-CDC9176523B6}"/>
              </a:ext>
            </a:extLst>
          </p:cNvPr>
          <p:cNvSpPr/>
          <p:nvPr/>
        </p:nvSpPr>
        <p:spPr>
          <a:xfrm>
            <a:off x="6494283" y="1460087"/>
            <a:ext cx="5244016" cy="5056124"/>
          </a:xfrm>
          <a:custGeom>
            <a:avLst/>
            <a:gdLst/>
            <a:ahLst/>
            <a:cxnLst/>
            <a:rect l="l" t="t" r="r" b="b"/>
            <a:pathLst>
              <a:path w="8679397" h="8636000">
                <a:moveTo>
                  <a:pt x="0" y="0"/>
                </a:moveTo>
                <a:lnTo>
                  <a:pt x="8679397" y="0"/>
                </a:lnTo>
                <a:lnTo>
                  <a:pt x="8679397" y="8636000"/>
                </a:lnTo>
                <a:lnTo>
                  <a:pt x="0" y="863600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9" name="TextBox 3">
            <a:extLst>
              <a:ext uri="{FF2B5EF4-FFF2-40B4-BE49-F238E27FC236}">
                <a16:creationId xmlns:a16="http://schemas.microsoft.com/office/drawing/2014/main" id="{6DCB2364-A5B2-FB37-162C-58D7616BFAA3}"/>
              </a:ext>
            </a:extLst>
          </p:cNvPr>
          <p:cNvSpPr txBox="1"/>
          <p:nvPr/>
        </p:nvSpPr>
        <p:spPr>
          <a:xfrm>
            <a:off x="8253274" y="5600977"/>
            <a:ext cx="1435992" cy="554639"/>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Neonatal Advisory</a:t>
            </a:r>
            <a:r>
              <a:rPr lang="en-US" sz="1550" spc="60">
                <a:solidFill>
                  <a:srgbClr val="FFFFFF"/>
                </a:solidFill>
                <a:latin typeface="Aileron Bold"/>
              </a:rPr>
              <a:t> </a:t>
            </a:r>
            <a:endParaRPr lang="en-US" sz="1999" spc="77">
              <a:solidFill>
                <a:srgbClr val="FFFFFF"/>
              </a:solidFill>
              <a:latin typeface="Aileron Bold"/>
            </a:endParaRPr>
          </a:p>
        </p:txBody>
      </p:sp>
      <p:sp>
        <p:nvSpPr>
          <p:cNvPr id="11" name="TextBox 4">
            <a:extLst>
              <a:ext uri="{FF2B5EF4-FFF2-40B4-BE49-F238E27FC236}">
                <a16:creationId xmlns:a16="http://schemas.microsoft.com/office/drawing/2014/main" id="{33B71E7D-B0CF-32BF-4481-78C694C53404}"/>
              </a:ext>
            </a:extLst>
          </p:cNvPr>
          <p:cNvSpPr txBox="1"/>
          <p:nvPr/>
        </p:nvSpPr>
        <p:spPr>
          <a:xfrm>
            <a:off x="9686733" y="2420445"/>
            <a:ext cx="1560397" cy="836768"/>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Neonatal Community Advisory Board</a:t>
            </a:r>
            <a:endParaRPr lang="en-US" b="1" spc="77">
              <a:solidFill>
                <a:srgbClr val="FFFFFF"/>
              </a:solidFill>
              <a:latin typeface="Aileron Bold"/>
            </a:endParaRPr>
          </a:p>
        </p:txBody>
      </p:sp>
      <p:sp>
        <p:nvSpPr>
          <p:cNvPr id="13" name="TextBox 5">
            <a:extLst>
              <a:ext uri="{FF2B5EF4-FFF2-40B4-BE49-F238E27FC236}">
                <a16:creationId xmlns:a16="http://schemas.microsoft.com/office/drawing/2014/main" id="{50A7250D-02AB-B054-06E1-32E9F8FC55C0}"/>
              </a:ext>
            </a:extLst>
          </p:cNvPr>
          <p:cNvSpPr txBox="1"/>
          <p:nvPr/>
        </p:nvSpPr>
        <p:spPr>
          <a:xfrm>
            <a:off x="10141513" y="4604451"/>
            <a:ext cx="1153831" cy="836768"/>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ESSI </a:t>
            </a:r>
            <a:r>
              <a:rPr lang="en-US" b="1" spc="60">
                <a:solidFill>
                  <a:srgbClr val="FFFFFF"/>
                </a:solidFill>
                <a:latin typeface="Aileron Bold"/>
              </a:rPr>
              <a:t>Planning</a:t>
            </a:r>
            <a:r>
              <a:rPr lang="en-US" b="1" kern="1200" spc="60">
                <a:solidFill>
                  <a:srgbClr val="FFFFFF"/>
                </a:solidFill>
                <a:latin typeface="Aileron Bold"/>
                <a:ea typeface="+mn-ea"/>
                <a:cs typeface="+mn-cs"/>
              </a:rPr>
              <a:t> Group</a:t>
            </a:r>
            <a:endParaRPr lang="en-US" b="1" spc="77">
              <a:solidFill>
                <a:srgbClr val="FFFFFF"/>
              </a:solidFill>
              <a:latin typeface="Aileron Bold"/>
            </a:endParaRPr>
          </a:p>
        </p:txBody>
      </p:sp>
      <p:sp>
        <p:nvSpPr>
          <p:cNvPr id="15" name="TextBox 6">
            <a:extLst>
              <a:ext uri="{FF2B5EF4-FFF2-40B4-BE49-F238E27FC236}">
                <a16:creationId xmlns:a16="http://schemas.microsoft.com/office/drawing/2014/main" id="{63237A5A-8FBE-2248-7DAF-97A8D25F57D1}"/>
              </a:ext>
            </a:extLst>
          </p:cNvPr>
          <p:cNvSpPr txBox="1"/>
          <p:nvPr/>
        </p:nvSpPr>
        <p:spPr>
          <a:xfrm>
            <a:off x="6906480" y="4111699"/>
            <a:ext cx="930770" cy="554639"/>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Wave 1 Teams</a:t>
            </a:r>
            <a:endParaRPr lang="en-US" b="1" spc="77">
              <a:solidFill>
                <a:srgbClr val="FFFFFF"/>
              </a:solidFill>
              <a:latin typeface="Aileron Bold"/>
            </a:endParaRPr>
          </a:p>
        </p:txBody>
      </p:sp>
      <p:sp>
        <p:nvSpPr>
          <p:cNvPr id="17" name="TextBox 7">
            <a:extLst>
              <a:ext uri="{FF2B5EF4-FFF2-40B4-BE49-F238E27FC236}">
                <a16:creationId xmlns:a16="http://schemas.microsoft.com/office/drawing/2014/main" id="{9694707D-377A-FF99-AFDB-26A575A618C3}"/>
              </a:ext>
            </a:extLst>
          </p:cNvPr>
          <p:cNvSpPr txBox="1"/>
          <p:nvPr/>
        </p:nvSpPr>
        <p:spPr>
          <a:xfrm>
            <a:off x="7941676" y="2373137"/>
            <a:ext cx="918070" cy="554639"/>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ILPQC Central</a:t>
            </a:r>
            <a:endParaRPr lang="en-US" b="1" spc="77">
              <a:solidFill>
                <a:srgbClr val="FFFFFF"/>
              </a:solidFill>
              <a:latin typeface="Aileron Bold"/>
            </a:endParaRPr>
          </a:p>
        </p:txBody>
      </p:sp>
      <p:sp>
        <p:nvSpPr>
          <p:cNvPr id="6" name="Freeform 13">
            <a:extLst>
              <a:ext uri="{FF2B5EF4-FFF2-40B4-BE49-F238E27FC236}">
                <a16:creationId xmlns:a16="http://schemas.microsoft.com/office/drawing/2014/main" id="{055E55DF-27B4-B9A8-84BB-DC4C1522901C}"/>
              </a:ext>
            </a:extLst>
          </p:cNvPr>
          <p:cNvSpPr/>
          <p:nvPr/>
        </p:nvSpPr>
        <p:spPr>
          <a:xfrm>
            <a:off x="8352786" y="3739672"/>
            <a:ext cx="1520914" cy="655191"/>
          </a:xfrm>
          <a:custGeom>
            <a:avLst/>
            <a:gdLst/>
            <a:ahLst/>
            <a:cxnLst/>
            <a:rect l="l" t="t" r="r" b="b"/>
            <a:pathLst>
              <a:path w="2281371" h="982786">
                <a:moveTo>
                  <a:pt x="0" y="0"/>
                </a:moveTo>
                <a:lnTo>
                  <a:pt x="2281372" y="0"/>
                </a:lnTo>
                <a:lnTo>
                  <a:pt x="2281372" y="982786"/>
                </a:lnTo>
                <a:lnTo>
                  <a:pt x="0" y="982786"/>
                </a:lnTo>
                <a:lnTo>
                  <a:pt x="0" y="0"/>
                </a:lnTo>
                <a:close/>
              </a:path>
            </a:pathLst>
          </a:custGeom>
          <a:blipFill>
            <a:blip r:embed="rId5"/>
            <a:stretch>
              <a:fillRect t="-16582"/>
            </a:stretch>
          </a:blipFill>
        </p:spPr>
      </p:sp>
      <p:sp>
        <p:nvSpPr>
          <p:cNvPr id="3" name="TextBox 2">
            <a:extLst>
              <a:ext uri="{FF2B5EF4-FFF2-40B4-BE49-F238E27FC236}">
                <a16:creationId xmlns:a16="http://schemas.microsoft.com/office/drawing/2014/main" id="{1C814D25-66C5-ACFC-3102-DB1C47E8E790}"/>
              </a:ext>
            </a:extLst>
          </p:cNvPr>
          <p:cNvSpPr txBox="1"/>
          <p:nvPr/>
        </p:nvSpPr>
        <p:spPr>
          <a:xfrm>
            <a:off x="838575" y="2739340"/>
            <a:ext cx="4705611" cy="34778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a:t>18 ILPQC hospital teams who volunteered to assist with the review of ESSI Hospital and Patient Level Data forms. </a:t>
            </a:r>
            <a:endParaRPr lang="en-US" sz="2000">
              <a:cs typeface="Calibri"/>
            </a:endParaRPr>
          </a:p>
          <a:p>
            <a:pPr algn="ctr"/>
            <a:endParaRPr lang="en-US" sz="2000">
              <a:cs typeface="Calibri"/>
            </a:endParaRPr>
          </a:p>
          <a:p>
            <a:pPr algn="ctr"/>
            <a:r>
              <a:rPr lang="en-US" sz="2000">
                <a:cs typeface="Calibri"/>
              </a:rPr>
              <a:t>The Wave 1 ESSI QI Teams met and reviewed the data forms and then shared their feedback on specific questions and data collection strategies.</a:t>
            </a:r>
          </a:p>
          <a:p>
            <a:pPr algn="ctr"/>
            <a:endParaRPr lang="en-US" sz="2000">
              <a:cs typeface="Calibri"/>
            </a:endParaRPr>
          </a:p>
          <a:p>
            <a:pPr algn="ctr"/>
            <a:r>
              <a:rPr lang="en-US" sz="2000">
                <a:cs typeface="Calibri"/>
              </a:rPr>
              <a:t>ILPQC reviewed feedback and incorporated into the data forms.</a:t>
            </a:r>
          </a:p>
        </p:txBody>
      </p:sp>
      <p:sp>
        <p:nvSpPr>
          <p:cNvPr id="5" name="Rectangle 4">
            <a:extLst>
              <a:ext uri="{FF2B5EF4-FFF2-40B4-BE49-F238E27FC236}">
                <a16:creationId xmlns:a16="http://schemas.microsoft.com/office/drawing/2014/main" id="{19C1D751-08DD-BD76-1181-C434C9849C27}"/>
              </a:ext>
            </a:extLst>
          </p:cNvPr>
          <p:cNvSpPr/>
          <p:nvPr/>
        </p:nvSpPr>
        <p:spPr>
          <a:xfrm>
            <a:off x="1039898" y="1845620"/>
            <a:ext cx="4290163" cy="532356"/>
          </a:xfrm>
          <a:prstGeom prst="rect">
            <a:avLst/>
          </a:prstGeom>
          <a:solidFill>
            <a:srgbClr val="F5668F"/>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800" b="1">
                <a:cs typeface="Calibri"/>
              </a:rPr>
              <a:t>Wave 1 Teams</a:t>
            </a:r>
          </a:p>
        </p:txBody>
      </p:sp>
    </p:spTree>
    <p:extLst>
      <p:ext uri="{BB962C8B-B14F-4D97-AF65-F5344CB8AC3E}">
        <p14:creationId xmlns:p14="http://schemas.microsoft.com/office/powerpoint/2010/main" val="7736966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E91DC736-0EF8-4F87-9146-EBF1D2EE4D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Long exposure of lights">
            <a:extLst>
              <a:ext uri="{FF2B5EF4-FFF2-40B4-BE49-F238E27FC236}">
                <a16:creationId xmlns:a16="http://schemas.microsoft.com/office/drawing/2014/main" id="{9E0544A9-5CC0-A8B3-0447-4C7A5380BF18}"/>
              </a:ext>
            </a:extLst>
          </p:cNvPr>
          <p:cNvPicPr>
            <a:picLocks noChangeAspect="1"/>
          </p:cNvPicPr>
          <p:nvPr/>
        </p:nvPicPr>
        <p:blipFill rotWithShape="1">
          <a:blip r:embed="rId2"/>
          <a:srcRect l="8908" t="9091" r="14390"/>
          <a:stretch/>
        </p:blipFill>
        <p:spPr>
          <a:xfrm>
            <a:off x="3523488" y="10"/>
            <a:ext cx="8668512" cy="6857990"/>
          </a:xfrm>
          <a:prstGeom prst="rect">
            <a:avLst/>
          </a:prstGeom>
        </p:spPr>
      </p:pic>
      <p:sp>
        <p:nvSpPr>
          <p:cNvPr id="11" name="Rectangle 10">
            <a:extLst>
              <a:ext uri="{FF2B5EF4-FFF2-40B4-BE49-F238E27FC236}">
                <a16:creationId xmlns:a16="http://schemas.microsoft.com/office/drawing/2014/main" id="{097CD68E-23E3-4007-8847-CD0944C4F7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756601" cy="6858000"/>
          </a:xfrm>
          <a:prstGeom prst="rect">
            <a:avLst/>
          </a:prstGeom>
          <a:gradFill>
            <a:gsLst>
              <a:gs pos="58000">
                <a:schemeClr val="bg1"/>
              </a:gs>
              <a:gs pos="35000">
                <a:schemeClr val="bg1">
                  <a:alpha val="79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E16CF5-47C8-BEAD-25F8-81514DC0AF8B}"/>
              </a:ext>
            </a:extLst>
          </p:cNvPr>
          <p:cNvSpPr>
            <a:spLocks noGrp="1"/>
          </p:cNvSpPr>
          <p:nvPr>
            <p:ph type="title"/>
          </p:nvPr>
        </p:nvSpPr>
        <p:spPr>
          <a:xfrm>
            <a:off x="477981" y="1122363"/>
            <a:ext cx="4023360" cy="3204134"/>
          </a:xfrm>
        </p:spPr>
        <p:txBody>
          <a:bodyPr vert="horz" lIns="91440" tIns="45720" rIns="91440" bIns="45720" rtlCol="0" anchor="b">
            <a:normAutofit/>
          </a:bodyPr>
          <a:lstStyle/>
          <a:p>
            <a:pPr>
              <a:lnSpc>
                <a:spcPct val="90000"/>
              </a:lnSpc>
            </a:pPr>
            <a:r>
              <a:rPr lang="en-US" sz="4800" dirty="0">
                <a:solidFill>
                  <a:schemeClr val="tx1"/>
                </a:solidFill>
                <a:ea typeface="+mj-ea"/>
                <a:cs typeface="+mj-cs"/>
              </a:rPr>
              <a:t>ESSI Key Driver Diagram</a:t>
            </a:r>
            <a:endParaRPr lang="en-US" sz="4800" dirty="0">
              <a:solidFill>
                <a:schemeClr val="tx1"/>
              </a:solidFill>
              <a:ea typeface="+mj-ea"/>
              <a:cs typeface="Calibri"/>
            </a:endParaRPr>
          </a:p>
        </p:txBody>
      </p:sp>
      <p:sp>
        <p:nvSpPr>
          <p:cNvPr id="3" name="Subtitle 2">
            <a:extLst>
              <a:ext uri="{FF2B5EF4-FFF2-40B4-BE49-F238E27FC236}">
                <a16:creationId xmlns:a16="http://schemas.microsoft.com/office/drawing/2014/main" id="{BACE41BD-1CAE-1299-918F-5B1678DE12B4}"/>
              </a:ext>
            </a:extLst>
          </p:cNvPr>
          <p:cNvSpPr>
            <a:spLocks noGrp="1"/>
          </p:cNvSpPr>
          <p:nvPr>
            <p:ph type="subTitle" idx="1"/>
          </p:nvPr>
        </p:nvSpPr>
        <p:spPr>
          <a:xfrm>
            <a:off x="477980" y="4872922"/>
            <a:ext cx="4023359" cy="1208141"/>
          </a:xfrm>
        </p:spPr>
        <p:txBody>
          <a:bodyPr vert="horz" lIns="91440" tIns="45720" rIns="91440" bIns="45720" rtlCol="0" anchor="t">
            <a:normAutofit/>
          </a:bodyPr>
          <a:lstStyle/>
          <a:p>
            <a:pPr>
              <a:lnSpc>
                <a:spcPct val="90000"/>
              </a:lnSpc>
            </a:pPr>
            <a:endParaRPr lang="en-US" sz="3600" dirty="0">
              <a:ea typeface="+mn-ea"/>
              <a:cs typeface="Calibri"/>
            </a:endParaRPr>
          </a:p>
        </p:txBody>
      </p:sp>
      <p:sp>
        <p:nvSpPr>
          <p:cNvPr id="13" name="Rectangle 12">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5" name="Rectangle 14">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60432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1500"/>
                                  </p:stCondLst>
                                  <p:endCondLst>
                                    <p:cond evt="begin" delay="0">
                                      <p:tn val="5"/>
                                    </p:cond>
                                  </p:endCondLst>
                                  <p:iterate>
                                    <p:tmPct val="10000"/>
                                  </p:iterate>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700"/>
                                        <p:tgtEl>
                                          <p:spTgt spid="3">
                                            <p:txEl>
                                              <p:pRg st="0" end="0"/>
                                            </p:txEl>
                                          </p:spTgt>
                                        </p:tgtEl>
                                      </p:cBhvr>
                                    </p:animEffect>
                                  </p:childTnLst>
                                </p:cTn>
                              </p:par>
                              <p:par>
                                <p:cTn id="8" presetID="10" presetClass="entr" presetSubtype="0" fill="hold" grpId="0" nodeType="withEffect">
                                  <p:stCondLst>
                                    <p:cond delay="1000"/>
                                  </p:stCondLst>
                                  <p:iterate>
                                    <p:tmPct val="10000"/>
                                  </p:iterate>
                                  <p:childTnLst>
                                    <p:set>
                                      <p:cBhvr>
                                        <p:cTn id="9" dur="1" fill="hold">
                                          <p:stCondLst>
                                            <p:cond delay="0"/>
                                          </p:stCondLst>
                                        </p:cTn>
                                        <p:tgtEl>
                                          <p:spTgt spid="2"/>
                                        </p:tgtEl>
                                        <p:attrNameLst>
                                          <p:attrName>style.visibility</p:attrName>
                                        </p:attrNameLst>
                                      </p:cBhvr>
                                      <p:to>
                                        <p:strVal val="visible"/>
                                      </p:to>
                                    </p:set>
                                    <p:animEffect transition="in" filter="fade">
                                      <p:cBhvr>
                                        <p:cTn id="10"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3265198" y="592654"/>
            <a:ext cx="5661604" cy="948978"/>
          </a:xfrm>
          <a:prstGeom prst="rect">
            <a:avLst/>
          </a:prstGeom>
        </p:spPr>
        <p:txBody>
          <a:bodyPr lIns="0" tIns="0" rIns="0" bIns="0" rtlCol="0" anchor="t">
            <a:spAutoFit/>
          </a:bodyPr>
          <a:lstStyle/>
          <a:p>
            <a:pPr algn="ctr">
              <a:lnSpc>
                <a:spcPts val="3733"/>
              </a:lnSpc>
            </a:pPr>
            <a:r>
              <a:rPr lang="en-US" sz="3200" b="1" spc="111">
                <a:solidFill>
                  <a:schemeClr val="tx2"/>
                </a:solidFill>
                <a:latin typeface="Barlow Bold"/>
              </a:rPr>
              <a:t>QI ROADMAP</a:t>
            </a:r>
            <a:r>
              <a:rPr lang="en-US" sz="3200" spc="111">
                <a:solidFill>
                  <a:srgbClr val="000000"/>
                </a:solidFill>
                <a:latin typeface="Barlow Bold"/>
              </a:rPr>
              <a:t> </a:t>
            </a:r>
          </a:p>
          <a:p>
            <a:pPr algn="ctr">
              <a:lnSpc>
                <a:spcPts val="3733"/>
              </a:lnSpc>
            </a:pPr>
            <a:r>
              <a:rPr lang="en-US" sz="3200" b="1" spc="111">
                <a:solidFill>
                  <a:srgbClr val="094C90"/>
                </a:solidFill>
                <a:latin typeface="Barlow Bold"/>
              </a:rPr>
              <a:t>KEY DRIVER DIAGRAM</a:t>
            </a:r>
          </a:p>
        </p:txBody>
      </p:sp>
      <p:grpSp>
        <p:nvGrpSpPr>
          <p:cNvPr id="3" name="Group 3"/>
          <p:cNvGrpSpPr/>
          <p:nvPr/>
        </p:nvGrpSpPr>
        <p:grpSpPr>
          <a:xfrm rot="16200000">
            <a:off x="3395086" y="1758231"/>
            <a:ext cx="1386957" cy="3353536"/>
            <a:chOff x="0" y="0"/>
            <a:chExt cx="635000" cy="1535372"/>
          </a:xfrm>
        </p:grpSpPr>
        <p:sp>
          <p:nvSpPr>
            <p:cNvPr id="4" name="Freeform 4"/>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53BF9D"/>
              </a:solidFill>
              <a:prstDash val="solid"/>
              <a:miter/>
            </a:ln>
          </p:spPr>
        </p:sp>
        <p:sp>
          <p:nvSpPr>
            <p:cNvPr id="5" name="TextBox 5"/>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6" name="Group 6"/>
          <p:cNvGrpSpPr/>
          <p:nvPr/>
        </p:nvGrpSpPr>
        <p:grpSpPr>
          <a:xfrm rot="16200000">
            <a:off x="3468529" y="1476914"/>
            <a:ext cx="1372580" cy="3727347"/>
            <a:chOff x="0" y="0"/>
            <a:chExt cx="635000" cy="1535372"/>
          </a:xfrm>
        </p:grpSpPr>
        <p:sp>
          <p:nvSpPr>
            <p:cNvPr id="7" name="Freeform 7"/>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53BF9D"/>
            </a:solidFill>
          </p:spPr>
        </p:sp>
        <p:sp>
          <p:nvSpPr>
            <p:cNvPr id="8" name="TextBox 8"/>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9" name="Group 9"/>
          <p:cNvGrpSpPr>
            <a:grpSpLocks noChangeAspect="1"/>
          </p:cNvGrpSpPr>
          <p:nvPr/>
        </p:nvGrpSpPr>
        <p:grpSpPr>
          <a:xfrm>
            <a:off x="1711722" y="2903686"/>
            <a:ext cx="859425" cy="859425"/>
            <a:chOff x="0" y="0"/>
            <a:chExt cx="495300" cy="495300"/>
          </a:xfrm>
        </p:grpSpPr>
        <p:sp>
          <p:nvSpPr>
            <p:cNvPr id="10" name="Freeform 10"/>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53BF9D"/>
            </a:solidFill>
          </p:spPr>
        </p:sp>
        <p:sp>
          <p:nvSpPr>
            <p:cNvPr id="11" name="Freeform 11"/>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sp>
      </p:grpSp>
      <p:sp>
        <p:nvSpPr>
          <p:cNvPr id="12" name="TextBox 12"/>
          <p:cNvSpPr txBox="1"/>
          <p:nvPr/>
        </p:nvSpPr>
        <p:spPr>
          <a:xfrm>
            <a:off x="2651930" y="2819397"/>
            <a:ext cx="2693165" cy="292837"/>
          </a:xfrm>
          <a:prstGeom prst="rect">
            <a:avLst/>
          </a:prstGeom>
        </p:spPr>
        <p:txBody>
          <a:bodyPr lIns="0" tIns="0" rIns="0" bIns="0" rtlCol="0" anchor="t">
            <a:spAutoFit/>
          </a:bodyPr>
          <a:lstStyle/>
          <a:p>
            <a:pPr marL="0" lvl="1">
              <a:lnSpc>
                <a:spcPts val="2169"/>
              </a:lnSpc>
              <a:spcBef>
                <a:spcPct val="0"/>
              </a:spcBef>
            </a:pPr>
            <a:r>
              <a:rPr lang="en-US" sz="2400" spc="49">
                <a:solidFill>
                  <a:srgbClr val="FFFFFF"/>
                </a:solidFill>
                <a:latin typeface="Barlow Semi-Bold"/>
              </a:rPr>
              <a:t>aim statement</a:t>
            </a:r>
          </a:p>
        </p:txBody>
      </p:sp>
      <p:sp>
        <p:nvSpPr>
          <p:cNvPr id="13" name="TextBox 13"/>
          <p:cNvSpPr txBox="1"/>
          <p:nvPr/>
        </p:nvSpPr>
        <p:spPr>
          <a:xfrm>
            <a:off x="2651930" y="3085017"/>
            <a:ext cx="2995090" cy="959187"/>
          </a:xfrm>
          <a:prstGeom prst="rect">
            <a:avLst/>
          </a:prstGeom>
        </p:spPr>
        <p:txBody>
          <a:bodyPr wrap="square" lIns="0" tIns="0" rIns="0" bIns="0" rtlCol="0" anchor="t">
            <a:spAutoFit/>
          </a:bodyPr>
          <a:lstStyle/>
          <a:p>
            <a:pPr>
              <a:lnSpc>
                <a:spcPts val="2799"/>
              </a:lnSpc>
            </a:pPr>
            <a:r>
              <a:rPr lang="en-US" sz="2000" spc="97">
                <a:solidFill>
                  <a:srgbClr val="FFFFFF"/>
                </a:solidFill>
                <a:latin typeface="Barlow SemiCondensed"/>
              </a:rPr>
              <a:t> what are we trying to accomplish?</a:t>
            </a:r>
          </a:p>
          <a:p>
            <a:pPr>
              <a:lnSpc>
                <a:spcPts val="1691"/>
              </a:lnSpc>
              <a:spcBef>
                <a:spcPct val="0"/>
              </a:spcBef>
            </a:pPr>
            <a:endParaRPr lang="en-US" sz="1866" spc="97">
              <a:solidFill>
                <a:srgbClr val="FFFFFF"/>
              </a:solidFill>
              <a:latin typeface="Barlow SemiCondensed"/>
            </a:endParaRPr>
          </a:p>
        </p:txBody>
      </p:sp>
      <p:sp>
        <p:nvSpPr>
          <p:cNvPr id="14" name="TextBox 14"/>
          <p:cNvSpPr txBox="1"/>
          <p:nvPr/>
        </p:nvSpPr>
        <p:spPr>
          <a:xfrm>
            <a:off x="1855956" y="3059809"/>
            <a:ext cx="570957" cy="457626"/>
          </a:xfrm>
          <a:prstGeom prst="rect">
            <a:avLst/>
          </a:prstGeom>
        </p:spPr>
        <p:txBody>
          <a:bodyPr lIns="0" tIns="0" rIns="0" bIns="0" rtlCol="0" anchor="t">
            <a:spAutoFit/>
          </a:bodyPr>
          <a:lstStyle/>
          <a:p>
            <a:pPr algn="ctr">
              <a:lnSpc>
                <a:spcPts val="3981"/>
              </a:lnSpc>
            </a:pPr>
            <a:r>
              <a:rPr lang="en-US" sz="2843" spc="119">
                <a:solidFill>
                  <a:srgbClr val="53BF9D"/>
                </a:solidFill>
                <a:latin typeface="Barlow Bold"/>
              </a:rPr>
              <a:t>01</a:t>
            </a:r>
          </a:p>
        </p:txBody>
      </p:sp>
      <p:grpSp>
        <p:nvGrpSpPr>
          <p:cNvPr id="15" name="Group 15"/>
          <p:cNvGrpSpPr/>
          <p:nvPr/>
        </p:nvGrpSpPr>
        <p:grpSpPr>
          <a:xfrm rot="16200000">
            <a:off x="8200184" y="1758231"/>
            <a:ext cx="1386957" cy="3353536"/>
            <a:chOff x="0" y="0"/>
            <a:chExt cx="635000" cy="1535372"/>
          </a:xfrm>
        </p:grpSpPr>
        <p:sp>
          <p:nvSpPr>
            <p:cNvPr id="16" name="Freeform 16"/>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BD4291"/>
              </a:solidFill>
              <a:prstDash val="solid"/>
              <a:miter/>
            </a:ln>
          </p:spPr>
        </p:sp>
        <p:sp>
          <p:nvSpPr>
            <p:cNvPr id="17" name="TextBox 17"/>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18" name="Group 18"/>
          <p:cNvGrpSpPr/>
          <p:nvPr/>
        </p:nvGrpSpPr>
        <p:grpSpPr>
          <a:xfrm rot="16200000">
            <a:off x="8200184" y="3658708"/>
            <a:ext cx="1386957" cy="3353536"/>
            <a:chOff x="0" y="0"/>
            <a:chExt cx="635000" cy="1535372"/>
          </a:xfrm>
        </p:grpSpPr>
        <p:sp>
          <p:nvSpPr>
            <p:cNvPr id="19" name="Freeform 19"/>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FFC54D"/>
              </a:solidFill>
              <a:prstDash val="solid"/>
              <a:miter/>
            </a:ln>
          </p:spPr>
        </p:sp>
        <p:sp>
          <p:nvSpPr>
            <p:cNvPr id="20" name="TextBox 20"/>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21" name="Group 21"/>
          <p:cNvGrpSpPr/>
          <p:nvPr/>
        </p:nvGrpSpPr>
        <p:grpSpPr>
          <a:xfrm rot="16200000">
            <a:off x="8056454" y="1656631"/>
            <a:ext cx="1386957" cy="3353536"/>
            <a:chOff x="0" y="0"/>
            <a:chExt cx="635000" cy="1535372"/>
          </a:xfrm>
        </p:grpSpPr>
        <p:sp>
          <p:nvSpPr>
            <p:cNvPr id="22" name="Freeform 22"/>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BD4291"/>
            </a:solidFill>
          </p:spPr>
        </p:sp>
        <p:sp>
          <p:nvSpPr>
            <p:cNvPr id="23" name="TextBox 23"/>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24" name="Group 24"/>
          <p:cNvGrpSpPr>
            <a:grpSpLocks noChangeAspect="1"/>
          </p:cNvGrpSpPr>
          <p:nvPr/>
        </p:nvGrpSpPr>
        <p:grpSpPr>
          <a:xfrm>
            <a:off x="6493739" y="2903686"/>
            <a:ext cx="859425" cy="859425"/>
            <a:chOff x="0" y="0"/>
            <a:chExt cx="495300" cy="495300"/>
          </a:xfrm>
        </p:grpSpPr>
        <p:sp>
          <p:nvSpPr>
            <p:cNvPr id="25" name="Freeform 25"/>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BD4291"/>
            </a:solidFill>
          </p:spPr>
        </p:sp>
        <p:sp>
          <p:nvSpPr>
            <p:cNvPr id="26" name="Freeform 26"/>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sp>
      </p:grpSp>
      <p:sp>
        <p:nvSpPr>
          <p:cNvPr id="27" name="TextBox 27"/>
          <p:cNvSpPr txBox="1"/>
          <p:nvPr/>
        </p:nvSpPr>
        <p:spPr>
          <a:xfrm>
            <a:off x="7553430" y="2819397"/>
            <a:ext cx="2693165" cy="292837"/>
          </a:xfrm>
          <a:prstGeom prst="rect">
            <a:avLst/>
          </a:prstGeom>
        </p:spPr>
        <p:txBody>
          <a:bodyPr lIns="0" tIns="0" rIns="0" bIns="0" rtlCol="0" anchor="t">
            <a:spAutoFit/>
          </a:bodyPr>
          <a:lstStyle/>
          <a:p>
            <a:pPr marL="0" lvl="1">
              <a:lnSpc>
                <a:spcPts val="2169"/>
              </a:lnSpc>
              <a:spcBef>
                <a:spcPct val="0"/>
              </a:spcBef>
            </a:pPr>
            <a:r>
              <a:rPr lang="en-US" sz="2400" spc="49">
                <a:solidFill>
                  <a:srgbClr val="FFFFFF"/>
                </a:solidFill>
                <a:latin typeface="Barlow Semi-Bold"/>
              </a:rPr>
              <a:t>primary drivers </a:t>
            </a:r>
          </a:p>
        </p:txBody>
      </p:sp>
      <p:sp>
        <p:nvSpPr>
          <p:cNvPr id="28" name="TextBox 28"/>
          <p:cNvSpPr txBox="1"/>
          <p:nvPr/>
        </p:nvSpPr>
        <p:spPr>
          <a:xfrm>
            <a:off x="7424034" y="3113772"/>
            <a:ext cx="2822561" cy="696088"/>
          </a:xfrm>
          <a:prstGeom prst="rect">
            <a:avLst/>
          </a:prstGeom>
        </p:spPr>
        <p:txBody>
          <a:bodyPr wrap="square" lIns="0" tIns="0" rIns="0" bIns="0" rtlCol="0" anchor="t">
            <a:spAutoFit/>
          </a:bodyPr>
          <a:lstStyle/>
          <a:p>
            <a:pPr>
              <a:lnSpc>
                <a:spcPts val="2799"/>
              </a:lnSpc>
              <a:spcBef>
                <a:spcPct val="0"/>
              </a:spcBef>
            </a:pPr>
            <a:r>
              <a:rPr lang="en-US" sz="2000" spc="97">
                <a:solidFill>
                  <a:srgbClr val="FFFFFF"/>
                </a:solidFill>
                <a:latin typeface="Barlow SemiCondensed"/>
              </a:rPr>
              <a:t>the “what” we need to accomplish the aim.</a:t>
            </a:r>
          </a:p>
        </p:txBody>
      </p:sp>
      <p:sp>
        <p:nvSpPr>
          <p:cNvPr id="29" name="TextBox 29"/>
          <p:cNvSpPr txBox="1"/>
          <p:nvPr/>
        </p:nvSpPr>
        <p:spPr>
          <a:xfrm>
            <a:off x="6637973" y="3059809"/>
            <a:ext cx="570957" cy="457626"/>
          </a:xfrm>
          <a:prstGeom prst="rect">
            <a:avLst/>
          </a:prstGeom>
        </p:spPr>
        <p:txBody>
          <a:bodyPr lIns="0" tIns="0" rIns="0" bIns="0" rtlCol="0" anchor="t">
            <a:spAutoFit/>
          </a:bodyPr>
          <a:lstStyle/>
          <a:p>
            <a:pPr algn="ctr">
              <a:lnSpc>
                <a:spcPts val="3981"/>
              </a:lnSpc>
            </a:pPr>
            <a:r>
              <a:rPr lang="en-US" sz="2843" spc="119">
                <a:solidFill>
                  <a:srgbClr val="BD4291"/>
                </a:solidFill>
                <a:latin typeface="Barlow Bold"/>
              </a:rPr>
              <a:t>02</a:t>
            </a:r>
          </a:p>
        </p:txBody>
      </p:sp>
      <p:grpSp>
        <p:nvGrpSpPr>
          <p:cNvPr id="30" name="Group 30"/>
          <p:cNvGrpSpPr/>
          <p:nvPr/>
        </p:nvGrpSpPr>
        <p:grpSpPr>
          <a:xfrm rot="16200000">
            <a:off x="3395086" y="3658708"/>
            <a:ext cx="1386957" cy="3353536"/>
            <a:chOff x="0" y="0"/>
            <a:chExt cx="635000" cy="1535372"/>
          </a:xfrm>
        </p:grpSpPr>
        <p:sp>
          <p:nvSpPr>
            <p:cNvPr id="31" name="Freeform 31"/>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F94C66"/>
              </a:solidFill>
              <a:prstDash val="solid"/>
              <a:miter/>
            </a:ln>
          </p:spPr>
        </p:sp>
        <p:sp>
          <p:nvSpPr>
            <p:cNvPr id="32" name="TextBox 32"/>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33" name="Group 33"/>
          <p:cNvGrpSpPr/>
          <p:nvPr/>
        </p:nvGrpSpPr>
        <p:grpSpPr>
          <a:xfrm rot="16200000">
            <a:off x="3418209" y="3384610"/>
            <a:ext cx="1473221" cy="3727347"/>
            <a:chOff x="0" y="0"/>
            <a:chExt cx="635000" cy="1535372"/>
          </a:xfrm>
        </p:grpSpPr>
        <p:sp>
          <p:nvSpPr>
            <p:cNvPr id="34" name="Freeform 34"/>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94C66"/>
            </a:solidFill>
          </p:spPr>
        </p:sp>
        <p:sp>
          <p:nvSpPr>
            <p:cNvPr id="35" name="TextBox 35"/>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36" name="Group 36"/>
          <p:cNvGrpSpPr>
            <a:grpSpLocks noChangeAspect="1"/>
          </p:cNvGrpSpPr>
          <p:nvPr/>
        </p:nvGrpSpPr>
        <p:grpSpPr>
          <a:xfrm>
            <a:off x="1711722" y="4775438"/>
            <a:ext cx="859425" cy="859425"/>
            <a:chOff x="0" y="0"/>
            <a:chExt cx="495300" cy="495300"/>
          </a:xfrm>
        </p:grpSpPr>
        <p:sp>
          <p:nvSpPr>
            <p:cNvPr id="37" name="Freeform 37"/>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F94C66"/>
            </a:solidFill>
          </p:spPr>
        </p:sp>
        <p:sp>
          <p:nvSpPr>
            <p:cNvPr id="38" name="Freeform 38"/>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sp>
      </p:grpSp>
      <p:sp>
        <p:nvSpPr>
          <p:cNvPr id="39" name="TextBox 39"/>
          <p:cNvSpPr txBox="1"/>
          <p:nvPr/>
        </p:nvSpPr>
        <p:spPr>
          <a:xfrm>
            <a:off x="2651930" y="4691149"/>
            <a:ext cx="2693165" cy="292837"/>
          </a:xfrm>
          <a:prstGeom prst="rect">
            <a:avLst/>
          </a:prstGeom>
        </p:spPr>
        <p:txBody>
          <a:bodyPr lIns="0" tIns="0" rIns="0" bIns="0" rtlCol="0" anchor="t">
            <a:spAutoFit/>
          </a:bodyPr>
          <a:lstStyle/>
          <a:p>
            <a:pPr marL="0" lvl="1">
              <a:lnSpc>
                <a:spcPts val="2169"/>
              </a:lnSpc>
              <a:spcBef>
                <a:spcPct val="0"/>
              </a:spcBef>
            </a:pPr>
            <a:r>
              <a:rPr lang="en-US" sz="2400" spc="49">
                <a:solidFill>
                  <a:srgbClr val="FFFFFF"/>
                </a:solidFill>
                <a:latin typeface="Barlow Semi-Bold"/>
              </a:rPr>
              <a:t>secondary drivers </a:t>
            </a:r>
            <a:endParaRPr lang="en-US" sz="1549" spc="49">
              <a:solidFill>
                <a:srgbClr val="FFFFFF"/>
              </a:solidFill>
              <a:latin typeface="Barlow Semi-Bold"/>
            </a:endParaRPr>
          </a:p>
        </p:txBody>
      </p:sp>
      <p:sp>
        <p:nvSpPr>
          <p:cNvPr id="40" name="TextBox 40"/>
          <p:cNvSpPr txBox="1"/>
          <p:nvPr/>
        </p:nvSpPr>
        <p:spPr>
          <a:xfrm>
            <a:off x="2580044" y="4988331"/>
            <a:ext cx="3563381" cy="696088"/>
          </a:xfrm>
          <a:prstGeom prst="rect">
            <a:avLst/>
          </a:prstGeom>
        </p:spPr>
        <p:txBody>
          <a:bodyPr wrap="square" lIns="0" tIns="0" rIns="0" bIns="0" rtlCol="0" anchor="t">
            <a:spAutoFit/>
          </a:bodyPr>
          <a:lstStyle/>
          <a:p>
            <a:pPr>
              <a:lnSpc>
                <a:spcPts val="2799"/>
              </a:lnSpc>
              <a:spcBef>
                <a:spcPct val="0"/>
              </a:spcBef>
            </a:pPr>
            <a:r>
              <a:rPr lang="en-US" sz="2000" spc="97">
                <a:solidFill>
                  <a:srgbClr val="FFFFFF"/>
                </a:solidFill>
                <a:latin typeface="Barlow SemiCondensed"/>
              </a:rPr>
              <a:t>the ”what” we need to accomplish the primary driver.</a:t>
            </a:r>
          </a:p>
        </p:txBody>
      </p:sp>
      <p:sp>
        <p:nvSpPr>
          <p:cNvPr id="41" name="TextBox 41"/>
          <p:cNvSpPr txBox="1"/>
          <p:nvPr/>
        </p:nvSpPr>
        <p:spPr>
          <a:xfrm>
            <a:off x="1855956" y="4931561"/>
            <a:ext cx="570957" cy="457626"/>
          </a:xfrm>
          <a:prstGeom prst="rect">
            <a:avLst/>
          </a:prstGeom>
        </p:spPr>
        <p:txBody>
          <a:bodyPr lIns="0" tIns="0" rIns="0" bIns="0" rtlCol="0" anchor="t">
            <a:spAutoFit/>
          </a:bodyPr>
          <a:lstStyle/>
          <a:p>
            <a:pPr algn="ctr">
              <a:lnSpc>
                <a:spcPts val="3981"/>
              </a:lnSpc>
            </a:pPr>
            <a:r>
              <a:rPr lang="en-US" sz="2843" spc="119">
                <a:solidFill>
                  <a:srgbClr val="F94C66"/>
                </a:solidFill>
                <a:latin typeface="Barlow Bold"/>
              </a:rPr>
              <a:t>03</a:t>
            </a:r>
          </a:p>
        </p:txBody>
      </p:sp>
      <p:grpSp>
        <p:nvGrpSpPr>
          <p:cNvPr id="42" name="Group 42"/>
          <p:cNvGrpSpPr/>
          <p:nvPr/>
        </p:nvGrpSpPr>
        <p:grpSpPr>
          <a:xfrm rot="16200000">
            <a:off x="8056454" y="3528383"/>
            <a:ext cx="1386957" cy="3353536"/>
            <a:chOff x="0" y="0"/>
            <a:chExt cx="635000" cy="1535372"/>
          </a:xfrm>
        </p:grpSpPr>
        <p:sp>
          <p:nvSpPr>
            <p:cNvPr id="43" name="Freeform 43"/>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4B03D"/>
            </a:solidFill>
          </p:spPr>
        </p:sp>
        <p:sp>
          <p:nvSpPr>
            <p:cNvPr id="44" name="TextBox 44"/>
            <p:cNvSpPr txBox="1"/>
            <p:nvPr/>
          </p:nvSpPr>
          <p:spPr>
            <a:xfrm>
              <a:off x="0" y="-38100"/>
              <a:ext cx="635000" cy="1459172"/>
            </a:xfrm>
            <a:prstGeom prst="rect">
              <a:avLst/>
            </a:prstGeom>
            <a:solidFill>
              <a:srgbClr val="F4B03D"/>
            </a:solidFill>
          </p:spPr>
          <p:txBody>
            <a:bodyPr lIns="33867" tIns="33867" rIns="33867" bIns="33867" rtlCol="0" anchor="ctr"/>
            <a:lstStyle/>
            <a:p>
              <a:pPr algn="ctr">
                <a:lnSpc>
                  <a:spcPts val="1882"/>
                </a:lnSpc>
              </a:pPr>
              <a:endParaRPr sz="800"/>
            </a:p>
          </p:txBody>
        </p:sp>
      </p:grpSp>
      <p:grpSp>
        <p:nvGrpSpPr>
          <p:cNvPr id="45" name="Group 45"/>
          <p:cNvGrpSpPr>
            <a:grpSpLocks noChangeAspect="1"/>
          </p:cNvGrpSpPr>
          <p:nvPr/>
        </p:nvGrpSpPr>
        <p:grpSpPr>
          <a:xfrm>
            <a:off x="6493739" y="4775438"/>
            <a:ext cx="859425" cy="859425"/>
            <a:chOff x="0" y="0"/>
            <a:chExt cx="495300" cy="495300"/>
          </a:xfrm>
        </p:grpSpPr>
        <p:sp>
          <p:nvSpPr>
            <p:cNvPr id="46" name="Freeform 46"/>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FFC54D"/>
            </a:solidFill>
          </p:spPr>
        </p:sp>
        <p:sp>
          <p:nvSpPr>
            <p:cNvPr id="47" name="Freeform 47"/>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sp>
      </p:grpSp>
      <p:sp>
        <p:nvSpPr>
          <p:cNvPr id="48" name="TextBox 48"/>
          <p:cNvSpPr txBox="1"/>
          <p:nvPr/>
        </p:nvSpPr>
        <p:spPr>
          <a:xfrm>
            <a:off x="7553430" y="4691149"/>
            <a:ext cx="2693165" cy="292837"/>
          </a:xfrm>
          <a:prstGeom prst="rect">
            <a:avLst/>
          </a:prstGeom>
        </p:spPr>
        <p:txBody>
          <a:bodyPr lIns="0" tIns="0" rIns="0" bIns="0" rtlCol="0" anchor="t">
            <a:spAutoFit/>
          </a:bodyPr>
          <a:lstStyle/>
          <a:p>
            <a:pPr marL="0" lvl="1">
              <a:lnSpc>
                <a:spcPts val="2169"/>
              </a:lnSpc>
              <a:spcBef>
                <a:spcPct val="0"/>
              </a:spcBef>
            </a:pPr>
            <a:r>
              <a:rPr lang="en-US" sz="2400" spc="49">
                <a:solidFill>
                  <a:srgbClr val="FFFFFF"/>
                </a:solidFill>
                <a:latin typeface="Barlow Semi-Bold"/>
              </a:rPr>
              <a:t>change ideas</a:t>
            </a:r>
          </a:p>
        </p:txBody>
      </p:sp>
      <p:sp>
        <p:nvSpPr>
          <p:cNvPr id="49" name="TextBox 49"/>
          <p:cNvSpPr txBox="1"/>
          <p:nvPr/>
        </p:nvSpPr>
        <p:spPr>
          <a:xfrm>
            <a:off x="7556364" y="5050974"/>
            <a:ext cx="3031378" cy="696088"/>
          </a:xfrm>
          <a:prstGeom prst="rect">
            <a:avLst/>
          </a:prstGeom>
        </p:spPr>
        <p:txBody>
          <a:bodyPr wrap="square" lIns="0" tIns="0" rIns="0" bIns="0" rtlCol="0" anchor="t">
            <a:spAutoFit/>
          </a:bodyPr>
          <a:lstStyle/>
          <a:p>
            <a:pPr>
              <a:lnSpc>
                <a:spcPts val="2799"/>
              </a:lnSpc>
              <a:spcBef>
                <a:spcPct val="0"/>
              </a:spcBef>
            </a:pPr>
            <a:r>
              <a:rPr lang="en-US" sz="2000" spc="97">
                <a:solidFill>
                  <a:srgbClr val="FFFFFF"/>
                </a:solidFill>
                <a:latin typeface="Barlow SemiCondensed"/>
              </a:rPr>
              <a:t>the “how” we will </a:t>
            </a:r>
          </a:p>
          <a:p>
            <a:pPr>
              <a:lnSpc>
                <a:spcPts val="2799"/>
              </a:lnSpc>
              <a:spcBef>
                <a:spcPct val="0"/>
              </a:spcBef>
            </a:pPr>
            <a:r>
              <a:rPr lang="en-US" sz="2000" spc="97">
                <a:solidFill>
                  <a:srgbClr val="FFFFFF"/>
                </a:solidFill>
                <a:latin typeface="Barlow SemiCondensed"/>
              </a:rPr>
              <a:t>accomplish the aim. </a:t>
            </a:r>
          </a:p>
        </p:txBody>
      </p:sp>
      <p:sp>
        <p:nvSpPr>
          <p:cNvPr id="50" name="TextBox 50"/>
          <p:cNvSpPr txBox="1"/>
          <p:nvPr/>
        </p:nvSpPr>
        <p:spPr>
          <a:xfrm>
            <a:off x="6637973" y="4931561"/>
            <a:ext cx="570957" cy="457626"/>
          </a:xfrm>
          <a:prstGeom prst="rect">
            <a:avLst/>
          </a:prstGeom>
        </p:spPr>
        <p:txBody>
          <a:bodyPr lIns="0" tIns="0" rIns="0" bIns="0" rtlCol="0" anchor="t">
            <a:spAutoFit/>
          </a:bodyPr>
          <a:lstStyle/>
          <a:p>
            <a:pPr algn="ctr">
              <a:lnSpc>
                <a:spcPts val="3981"/>
              </a:lnSpc>
            </a:pPr>
            <a:r>
              <a:rPr lang="en-US" sz="2843" spc="119">
                <a:solidFill>
                  <a:srgbClr val="FFC54D"/>
                </a:solidFill>
                <a:latin typeface="Barlow Bold"/>
              </a:rPr>
              <a:t>04</a:t>
            </a:r>
          </a:p>
        </p:txBody>
      </p:sp>
      <p:sp>
        <p:nvSpPr>
          <p:cNvPr id="51" name="TextBox 51"/>
          <p:cNvSpPr txBox="1"/>
          <p:nvPr/>
        </p:nvSpPr>
        <p:spPr>
          <a:xfrm>
            <a:off x="3011078" y="1597250"/>
            <a:ext cx="6169846" cy="839717"/>
          </a:xfrm>
          <a:prstGeom prst="rect">
            <a:avLst/>
          </a:prstGeom>
        </p:spPr>
        <p:txBody>
          <a:bodyPr lIns="0" tIns="0" rIns="0" bIns="0" rtlCol="0" anchor="t">
            <a:spAutoFit/>
          </a:bodyPr>
          <a:lstStyle/>
          <a:p>
            <a:pPr algn="ctr">
              <a:lnSpc>
                <a:spcPts val="3400"/>
              </a:lnSpc>
            </a:pPr>
            <a:r>
              <a:rPr lang="en-US" sz="2250" spc="117">
                <a:solidFill>
                  <a:srgbClr val="094C90"/>
                </a:solidFill>
                <a:latin typeface="Barlow SemiCondensed"/>
              </a:rPr>
              <a:t>Displays the Initiative in Manageable Tasks</a:t>
            </a:r>
          </a:p>
          <a:p>
            <a:pPr algn="ctr">
              <a:lnSpc>
                <a:spcPts val="3400"/>
              </a:lnSpc>
              <a:spcBef>
                <a:spcPct val="0"/>
              </a:spcBef>
            </a:pPr>
            <a:endParaRPr lang="en-US" sz="2266" spc="117">
              <a:solidFill>
                <a:srgbClr val="094C90"/>
              </a:solidFill>
              <a:latin typeface="Barlow SemiCondensed"/>
            </a:endParaRPr>
          </a:p>
        </p:txBody>
      </p:sp>
      <p:grpSp>
        <p:nvGrpSpPr>
          <p:cNvPr id="52" name="Group 52"/>
          <p:cNvGrpSpPr/>
          <p:nvPr/>
        </p:nvGrpSpPr>
        <p:grpSpPr>
          <a:xfrm>
            <a:off x="-846965" y="5061977"/>
            <a:ext cx="1368800" cy="1368800"/>
            <a:chOff x="0" y="0"/>
            <a:chExt cx="812800" cy="812800"/>
          </a:xfrm>
        </p:grpSpPr>
        <p:sp>
          <p:nvSpPr>
            <p:cNvPr id="53" name="Freeform 5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54" name="TextBox 54"/>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55" name="Group 55"/>
          <p:cNvGrpSpPr/>
          <p:nvPr/>
        </p:nvGrpSpPr>
        <p:grpSpPr>
          <a:xfrm>
            <a:off x="874339" y="-746500"/>
            <a:ext cx="1368800" cy="1368800"/>
            <a:chOff x="0" y="0"/>
            <a:chExt cx="812800" cy="812800"/>
          </a:xfrm>
        </p:grpSpPr>
        <p:sp>
          <p:nvSpPr>
            <p:cNvPr id="56" name="Freeform 5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57" name="TextBox 57"/>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58" name="Group 58"/>
          <p:cNvGrpSpPr/>
          <p:nvPr/>
        </p:nvGrpSpPr>
        <p:grpSpPr>
          <a:xfrm>
            <a:off x="11571100" y="464807"/>
            <a:ext cx="1368800" cy="1368800"/>
            <a:chOff x="0" y="0"/>
            <a:chExt cx="812800" cy="812800"/>
          </a:xfrm>
        </p:grpSpPr>
        <p:sp>
          <p:nvSpPr>
            <p:cNvPr id="59" name="Freeform 5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60" name="TextBox 60"/>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
        <p:nvSpPr>
          <p:cNvPr id="61" name="Freeform 61"/>
          <p:cNvSpPr/>
          <p:nvPr/>
        </p:nvSpPr>
        <p:spPr>
          <a:xfrm>
            <a:off x="-746067" y="-285762"/>
            <a:ext cx="1167003" cy="2743200"/>
          </a:xfrm>
          <a:custGeom>
            <a:avLst/>
            <a:gdLst/>
            <a:ahLst/>
            <a:cxnLst/>
            <a:rect l="l" t="t" r="r" b="b"/>
            <a:pathLst>
              <a:path w="1750504" h="4114800">
                <a:moveTo>
                  <a:pt x="0" y="0"/>
                </a:moveTo>
                <a:lnTo>
                  <a:pt x="1750504" y="0"/>
                </a:lnTo>
                <a:lnTo>
                  <a:pt x="1750504" y="4114800"/>
                </a:lnTo>
                <a:lnTo>
                  <a:pt x="0" y="411480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62" name="Freeform 62"/>
          <p:cNvSpPr/>
          <p:nvPr/>
        </p:nvSpPr>
        <p:spPr>
          <a:xfrm>
            <a:off x="11772898" y="5051674"/>
            <a:ext cx="1167003" cy="2743200"/>
          </a:xfrm>
          <a:custGeom>
            <a:avLst/>
            <a:gdLst/>
            <a:ahLst/>
            <a:cxnLst/>
            <a:rect l="l" t="t" r="r" b="b"/>
            <a:pathLst>
              <a:path w="1750505" h="4114800">
                <a:moveTo>
                  <a:pt x="0" y="0"/>
                </a:moveTo>
                <a:lnTo>
                  <a:pt x="1750504" y="0"/>
                </a:lnTo>
                <a:lnTo>
                  <a:pt x="1750504" y="4114800"/>
                </a:lnTo>
                <a:lnTo>
                  <a:pt x="0" y="411480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63" name="TextBox 63"/>
          <p:cNvSpPr txBox="1"/>
          <p:nvPr/>
        </p:nvSpPr>
        <p:spPr>
          <a:xfrm>
            <a:off x="7979073" y="6397874"/>
            <a:ext cx="3527127" cy="228268"/>
          </a:xfrm>
          <a:prstGeom prst="rect">
            <a:avLst/>
          </a:prstGeom>
        </p:spPr>
        <p:txBody>
          <a:bodyPr lIns="0" tIns="0" rIns="0" bIns="0" rtlCol="0" anchor="t">
            <a:spAutoFit/>
          </a:bodyPr>
          <a:lstStyle/>
          <a:p>
            <a:pPr algn="ctr">
              <a:lnSpc>
                <a:spcPts val="1882"/>
              </a:lnSpc>
              <a:spcBef>
                <a:spcPct val="0"/>
              </a:spcBef>
            </a:pPr>
            <a:r>
              <a:rPr lang="en-US" sz="1344" spc="43">
                <a:solidFill>
                  <a:srgbClr val="000000"/>
                </a:solidFill>
                <a:latin typeface="Barlow Semi-Bold"/>
              </a:rPr>
              <a:t> 2023 Institute for Healthcare Improvement.</a:t>
            </a:r>
          </a:p>
        </p:txBody>
      </p:sp>
    </p:spTree>
    <p:extLst>
      <p:ext uri="{BB962C8B-B14F-4D97-AF65-F5344CB8AC3E}">
        <p14:creationId xmlns:p14="http://schemas.microsoft.com/office/powerpoint/2010/main" val="3850125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5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AA70D-3B97-AAF4-599A-5BEF539C23CA}"/>
              </a:ext>
            </a:extLst>
          </p:cNvPr>
          <p:cNvSpPr>
            <a:spLocks noGrp="1"/>
          </p:cNvSpPr>
          <p:nvPr>
            <p:ph type="title" idx="4294967295"/>
          </p:nvPr>
        </p:nvSpPr>
        <p:spPr>
          <a:xfrm>
            <a:off x="168088" y="1844301"/>
            <a:ext cx="2803712" cy="1347974"/>
          </a:xfrm>
        </p:spPr>
        <p:txBody>
          <a:bodyPr/>
          <a:lstStyle/>
          <a:p>
            <a:pPr algn="ctr"/>
            <a:r>
              <a:rPr lang="en-US" sz="4000">
                <a:ea typeface="Lato Medium"/>
                <a:cs typeface="Lato Medium"/>
              </a:rPr>
              <a:t>Key Driver Diagram</a:t>
            </a:r>
            <a:endParaRPr lang="en-US" sz="4000"/>
          </a:p>
        </p:txBody>
      </p:sp>
      <p:sp>
        <p:nvSpPr>
          <p:cNvPr id="4" name="Slide Number Placeholder 3">
            <a:extLst>
              <a:ext uri="{FF2B5EF4-FFF2-40B4-BE49-F238E27FC236}">
                <a16:creationId xmlns:a16="http://schemas.microsoft.com/office/drawing/2014/main" id="{DB148D1D-0EE2-FC94-7AFE-82D9E9F0BFFD}"/>
              </a:ext>
            </a:extLst>
          </p:cNvPr>
          <p:cNvSpPr>
            <a:spLocks noGrp="1"/>
          </p:cNvSpPr>
          <p:nvPr>
            <p:ph type="sldNum" sz="quarter" idx="4294967295"/>
          </p:nvPr>
        </p:nvSpPr>
        <p:spPr>
          <a:xfrm>
            <a:off x="9403976" y="6042585"/>
            <a:ext cx="2743200" cy="365125"/>
          </a:xfrm>
        </p:spPr>
        <p:txBody>
          <a:bodyPr/>
          <a:lstStyle/>
          <a:p>
            <a:fld id="{97033E4B-E3EB-3D46-B2D8-3159663620FA}" type="slidenum">
              <a:rPr lang="en-US" smtClean="0"/>
              <a:pPr/>
              <a:t>28</a:t>
            </a:fld>
            <a:endParaRPr lang="en-US"/>
          </a:p>
        </p:txBody>
      </p:sp>
      <p:sp>
        <p:nvSpPr>
          <p:cNvPr id="5" name="Footer Placeholder 4">
            <a:extLst>
              <a:ext uri="{FF2B5EF4-FFF2-40B4-BE49-F238E27FC236}">
                <a16:creationId xmlns:a16="http://schemas.microsoft.com/office/drawing/2014/main" id="{AE74FBFB-1843-9ED4-705E-449C6A1AC847}"/>
              </a:ext>
            </a:extLst>
          </p:cNvPr>
          <p:cNvSpPr>
            <a:spLocks noGrp="1"/>
          </p:cNvSpPr>
          <p:nvPr>
            <p:ph type="ftr" sz="quarter" idx="4294967295"/>
          </p:nvPr>
        </p:nvSpPr>
        <p:spPr>
          <a:xfrm>
            <a:off x="0" y="6356350"/>
            <a:ext cx="4114800" cy="365125"/>
          </a:xfrm>
        </p:spPr>
        <p:txBody>
          <a:bodyPr/>
          <a:lstStyle/>
          <a:p>
            <a:pPr algn="l"/>
            <a:r>
              <a:rPr lang="en-US"/>
              <a:t>Illinois Perinatal Quality Collaborative</a:t>
            </a:r>
          </a:p>
        </p:txBody>
      </p:sp>
      <p:sp>
        <p:nvSpPr>
          <p:cNvPr id="8" name="Rectangle 7">
            <a:extLst>
              <a:ext uri="{FF2B5EF4-FFF2-40B4-BE49-F238E27FC236}">
                <a16:creationId xmlns:a16="http://schemas.microsoft.com/office/drawing/2014/main" id="{4B08BEB2-2B67-CEC7-F7A5-CA6255803980}"/>
              </a:ext>
            </a:extLst>
          </p:cNvPr>
          <p:cNvSpPr/>
          <p:nvPr/>
        </p:nvSpPr>
        <p:spPr>
          <a:xfrm>
            <a:off x="2857500" y="5654009"/>
            <a:ext cx="9144000" cy="890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6">
            <a:extLst>
              <a:ext uri="{FF2B5EF4-FFF2-40B4-BE49-F238E27FC236}">
                <a16:creationId xmlns:a16="http://schemas.microsoft.com/office/drawing/2014/main" id="{EB9283BE-051A-06BD-CAA6-184C9D686C2F}"/>
              </a:ext>
            </a:extLst>
          </p:cNvPr>
          <p:cNvSpPr/>
          <p:nvPr/>
        </p:nvSpPr>
        <p:spPr>
          <a:xfrm>
            <a:off x="2804105" y="646630"/>
            <a:ext cx="1922145" cy="476250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r>
              <a:rPr lang="en-US" sz="1500"/>
              <a:t>By December 2025: </a:t>
            </a:r>
            <a:endParaRPr lang="en-US" sz="1500">
              <a:ea typeface="Calibri"/>
              <a:cs typeface="Calibri"/>
            </a:endParaRPr>
          </a:p>
          <a:p>
            <a:endParaRPr lang="en-US" sz="1500">
              <a:ea typeface="Calibri"/>
              <a:cs typeface="Calibri"/>
            </a:endParaRPr>
          </a:p>
          <a:p>
            <a:r>
              <a:rPr lang="en-US" sz="1500"/>
              <a:t>1. Greater than 70% of Illinois birthing and children’s hospitals will address disparities and promote neonatal equity by actively participating in the ESSI initiative.</a:t>
            </a:r>
            <a:endParaRPr lang="en-US" sz="1500">
              <a:ea typeface="Calibri"/>
              <a:cs typeface="Calibri"/>
            </a:endParaRPr>
          </a:p>
          <a:p>
            <a:pPr marL="342900" indent="-342900">
              <a:buAutoNum type="arabicParenR"/>
            </a:pPr>
            <a:endParaRPr lang="en-US" sz="1500">
              <a:ea typeface="Calibri"/>
              <a:cs typeface="Calibri"/>
            </a:endParaRPr>
          </a:p>
          <a:p>
            <a:r>
              <a:rPr lang="en-US" sz="1500"/>
              <a:t>2. Greater than 80% of infants will be discharged from ILPQC hospitals with a completed ESSI bundle.  </a:t>
            </a:r>
            <a:endParaRPr lang="en-US" sz="1500">
              <a:ea typeface="Calibri"/>
              <a:cs typeface="Calibri"/>
            </a:endParaRPr>
          </a:p>
        </p:txBody>
      </p:sp>
      <p:sp>
        <p:nvSpPr>
          <p:cNvPr id="14" name="TextBox 13">
            <a:extLst>
              <a:ext uri="{FF2B5EF4-FFF2-40B4-BE49-F238E27FC236}">
                <a16:creationId xmlns:a16="http://schemas.microsoft.com/office/drawing/2014/main" id="{D180EE81-4D08-B0DE-D216-FE8E15396519}"/>
              </a:ext>
            </a:extLst>
          </p:cNvPr>
          <p:cNvSpPr txBox="1"/>
          <p:nvPr/>
        </p:nvSpPr>
        <p:spPr>
          <a:xfrm>
            <a:off x="3247926" y="273053"/>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Aims</a:t>
            </a:r>
            <a:endParaRPr lang="en-US" b="1">
              <a:solidFill>
                <a:schemeClr val="accent1"/>
              </a:solidFill>
              <a:cs typeface="Calibri"/>
            </a:endParaRPr>
          </a:p>
        </p:txBody>
      </p:sp>
      <p:sp>
        <p:nvSpPr>
          <p:cNvPr id="16" name="TextBox 15">
            <a:extLst>
              <a:ext uri="{FF2B5EF4-FFF2-40B4-BE49-F238E27FC236}">
                <a16:creationId xmlns:a16="http://schemas.microsoft.com/office/drawing/2014/main" id="{058A4033-3B68-E3F4-A3B5-A12C5ED59569}"/>
              </a:ext>
            </a:extLst>
          </p:cNvPr>
          <p:cNvSpPr txBox="1"/>
          <p:nvPr/>
        </p:nvSpPr>
        <p:spPr>
          <a:xfrm>
            <a:off x="4717812" y="276098"/>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Primary Drivers</a:t>
            </a:r>
          </a:p>
        </p:txBody>
      </p:sp>
      <p:sp>
        <p:nvSpPr>
          <p:cNvPr id="18" name="Rounded Rectangle 22">
            <a:extLst>
              <a:ext uri="{FF2B5EF4-FFF2-40B4-BE49-F238E27FC236}">
                <a16:creationId xmlns:a16="http://schemas.microsoft.com/office/drawing/2014/main" id="{C3730C62-AFAC-21AA-3E7A-7AEAD34CE3BE}"/>
              </a:ext>
            </a:extLst>
          </p:cNvPr>
          <p:cNvSpPr/>
          <p:nvPr/>
        </p:nvSpPr>
        <p:spPr>
          <a:xfrm>
            <a:off x="4785239" y="800214"/>
            <a:ext cx="1661844" cy="69979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a:t>Healthcare Professional Commitment</a:t>
            </a:r>
          </a:p>
        </p:txBody>
      </p:sp>
      <p:sp>
        <p:nvSpPr>
          <p:cNvPr id="20" name="Rounded Rectangle 76">
            <a:extLst>
              <a:ext uri="{FF2B5EF4-FFF2-40B4-BE49-F238E27FC236}">
                <a16:creationId xmlns:a16="http://schemas.microsoft.com/office/drawing/2014/main" id="{B73A5A2B-E8B2-3A4D-6254-3A3DB1483B77}"/>
              </a:ext>
            </a:extLst>
          </p:cNvPr>
          <p:cNvSpPr/>
          <p:nvPr/>
        </p:nvSpPr>
        <p:spPr>
          <a:xfrm>
            <a:off x="4785172" y="1778930"/>
            <a:ext cx="1661844" cy="58977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a:t>Inclusive Clinical Environment</a:t>
            </a:r>
          </a:p>
        </p:txBody>
      </p:sp>
      <p:sp>
        <p:nvSpPr>
          <p:cNvPr id="22" name="Rounded Rectangle 83">
            <a:extLst>
              <a:ext uri="{FF2B5EF4-FFF2-40B4-BE49-F238E27FC236}">
                <a16:creationId xmlns:a16="http://schemas.microsoft.com/office/drawing/2014/main" id="{DCD883C2-E6A5-6751-C6D1-3BC19BAEBB65}"/>
              </a:ext>
            </a:extLst>
          </p:cNvPr>
          <p:cNvSpPr/>
          <p:nvPr/>
        </p:nvSpPr>
        <p:spPr>
          <a:xfrm>
            <a:off x="4789674" y="2711059"/>
            <a:ext cx="1674544" cy="7929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Parent and Caregiver Empowerment</a:t>
            </a:r>
            <a:endParaRPr lang="en-US" sz="1600">
              <a:ea typeface="Calibri"/>
              <a:cs typeface="Calibri"/>
            </a:endParaRPr>
          </a:p>
        </p:txBody>
      </p:sp>
      <p:sp>
        <p:nvSpPr>
          <p:cNvPr id="24" name="Rounded Rectangle 84">
            <a:extLst>
              <a:ext uri="{FF2B5EF4-FFF2-40B4-BE49-F238E27FC236}">
                <a16:creationId xmlns:a16="http://schemas.microsoft.com/office/drawing/2014/main" id="{C9EDA1B8-B2B5-4AB7-BE28-FD2E702400CA}"/>
              </a:ext>
            </a:extLst>
          </p:cNvPr>
          <p:cNvSpPr/>
          <p:nvPr/>
        </p:nvSpPr>
        <p:spPr>
          <a:xfrm>
            <a:off x="4789268" y="3771300"/>
            <a:ext cx="1674544" cy="681461"/>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Community </a:t>
            </a:r>
            <a:r>
              <a:rPr lang="en-US" sz="1600">
                <a:solidFill>
                  <a:srgbClr val="FF0000"/>
                </a:solidFill>
              </a:rPr>
              <a:t> </a:t>
            </a:r>
            <a:r>
              <a:rPr lang="en-US" sz="1600">
                <a:solidFill>
                  <a:schemeClr val="tx1"/>
                </a:solidFill>
              </a:rPr>
              <a:t>Partnerships</a:t>
            </a:r>
            <a:endParaRPr lang="en-US" sz="1600">
              <a:solidFill>
                <a:schemeClr val="tx1"/>
              </a:solidFill>
              <a:ea typeface="Calibri"/>
              <a:cs typeface="Calibri"/>
            </a:endParaRPr>
          </a:p>
        </p:txBody>
      </p:sp>
      <p:sp>
        <p:nvSpPr>
          <p:cNvPr id="26" name="Rounded Rectangle 85">
            <a:extLst>
              <a:ext uri="{FF2B5EF4-FFF2-40B4-BE49-F238E27FC236}">
                <a16:creationId xmlns:a16="http://schemas.microsoft.com/office/drawing/2014/main" id="{78A60644-0FDA-E9A5-A8A9-AB39830E7D17}"/>
              </a:ext>
            </a:extLst>
          </p:cNvPr>
          <p:cNvSpPr/>
          <p:nvPr/>
        </p:nvSpPr>
        <p:spPr>
          <a:xfrm>
            <a:off x="4795447" y="4698068"/>
            <a:ext cx="1687244" cy="5897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Healthcare Data Utilization</a:t>
            </a:r>
          </a:p>
        </p:txBody>
      </p:sp>
      <p:sp>
        <p:nvSpPr>
          <p:cNvPr id="28" name="Rounded Rectangle 87">
            <a:extLst>
              <a:ext uri="{FF2B5EF4-FFF2-40B4-BE49-F238E27FC236}">
                <a16:creationId xmlns:a16="http://schemas.microsoft.com/office/drawing/2014/main" id="{4DD97BA5-B3EA-9953-A828-AC4406353BE4}"/>
              </a:ext>
            </a:extLst>
          </p:cNvPr>
          <p:cNvSpPr/>
          <p:nvPr/>
        </p:nvSpPr>
        <p:spPr>
          <a:xfrm>
            <a:off x="6543427" y="858378"/>
            <a:ext cx="5529655" cy="58977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Arial" panose="020B0604020202020204" pitchFamily="34" charset="0"/>
              <a:buChar char="•"/>
            </a:pPr>
            <a:r>
              <a:rPr lang="en-US" sz="1400"/>
              <a:t>Equitable and Respectful Care Education and Implementation</a:t>
            </a:r>
          </a:p>
          <a:p>
            <a:pPr marL="285750" indent="-285750">
              <a:buFont typeface="Arial" panose="020B0604020202020204" pitchFamily="34" charset="0"/>
              <a:buChar char="•"/>
            </a:pPr>
            <a:r>
              <a:rPr lang="en-US" sz="1400"/>
              <a:t>Safe Sleep Environment Education and Implementation</a:t>
            </a:r>
          </a:p>
        </p:txBody>
      </p:sp>
      <p:sp>
        <p:nvSpPr>
          <p:cNvPr id="30" name="TextBox 29">
            <a:extLst>
              <a:ext uri="{FF2B5EF4-FFF2-40B4-BE49-F238E27FC236}">
                <a16:creationId xmlns:a16="http://schemas.microsoft.com/office/drawing/2014/main" id="{F6297887-83BD-82E8-1C79-F8E9E0836828}"/>
              </a:ext>
            </a:extLst>
          </p:cNvPr>
          <p:cNvSpPr txBox="1"/>
          <p:nvPr/>
        </p:nvSpPr>
        <p:spPr>
          <a:xfrm>
            <a:off x="7972721" y="274352"/>
            <a:ext cx="2667520"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Secondary Drivers</a:t>
            </a:r>
          </a:p>
        </p:txBody>
      </p:sp>
      <p:sp>
        <p:nvSpPr>
          <p:cNvPr id="32" name="Rounded Rectangle 89">
            <a:extLst>
              <a:ext uri="{FF2B5EF4-FFF2-40B4-BE49-F238E27FC236}">
                <a16:creationId xmlns:a16="http://schemas.microsoft.com/office/drawing/2014/main" id="{8449D5CB-7C16-EDDA-3100-9116410AABE0}"/>
              </a:ext>
            </a:extLst>
          </p:cNvPr>
          <p:cNvSpPr/>
          <p:nvPr/>
        </p:nvSpPr>
        <p:spPr>
          <a:xfrm>
            <a:off x="6602417" y="1710625"/>
            <a:ext cx="5480760" cy="73908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Organizational Leadership Commitment</a:t>
            </a:r>
          </a:p>
          <a:p>
            <a:pPr marL="285750" indent="-285750">
              <a:buFont typeface="Arial" panose="020B0604020202020204" pitchFamily="34" charset="0"/>
              <a:buChar char="•"/>
            </a:pPr>
            <a:r>
              <a:rPr lang="en-US" sz="1400"/>
              <a:t>Equitable and Inclusive Unit Policies</a:t>
            </a:r>
          </a:p>
          <a:p>
            <a:pPr marL="285750" indent="-285750">
              <a:buFont typeface="Arial" panose="020B0604020202020204" pitchFamily="34" charset="0"/>
              <a:buChar char="•"/>
            </a:pPr>
            <a:r>
              <a:rPr lang="en-US" sz="1400"/>
              <a:t>Parent and Caregiver Experience Prioritization</a:t>
            </a:r>
            <a:endParaRPr lang="en-US" sz="1400" err="1">
              <a:ea typeface="Calibri"/>
              <a:cs typeface="Calibri"/>
            </a:endParaRPr>
          </a:p>
        </p:txBody>
      </p:sp>
      <p:sp>
        <p:nvSpPr>
          <p:cNvPr id="34" name="Rounded Rectangle 90">
            <a:extLst>
              <a:ext uri="{FF2B5EF4-FFF2-40B4-BE49-F238E27FC236}">
                <a16:creationId xmlns:a16="http://schemas.microsoft.com/office/drawing/2014/main" id="{CB726A25-CFF2-A633-BB75-01000B742058}"/>
              </a:ext>
            </a:extLst>
          </p:cNvPr>
          <p:cNvSpPr/>
          <p:nvPr/>
        </p:nvSpPr>
        <p:spPr>
          <a:xfrm>
            <a:off x="6611873" y="2704406"/>
            <a:ext cx="5476926" cy="788843"/>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Respectful Parent and Caregiver Partnerships</a:t>
            </a:r>
            <a:endParaRPr lang="en-US" sz="1400">
              <a:solidFill>
                <a:srgbClr val="FF0000"/>
              </a:solidFill>
              <a:ea typeface="Calibri"/>
              <a:cs typeface="Calibri"/>
            </a:endParaRPr>
          </a:p>
          <a:p>
            <a:pPr marL="285750" indent="-285750">
              <a:buFont typeface="Arial" panose="020B0604020202020204" pitchFamily="34" charset="0"/>
              <a:buChar char="•"/>
            </a:pPr>
            <a:r>
              <a:rPr lang="en-US" sz="1400"/>
              <a:t>Safe Sleep Awareness</a:t>
            </a:r>
            <a:endParaRPr lang="en-US" sz="1400">
              <a:cs typeface="Calibri"/>
            </a:endParaRPr>
          </a:p>
          <a:p>
            <a:pPr marL="285750" indent="-285750">
              <a:buFont typeface="Arial" panose="020B0604020202020204" pitchFamily="34" charset="0"/>
              <a:buChar char="•"/>
            </a:pPr>
            <a:r>
              <a:rPr lang="en-US" sz="1400">
                <a:solidFill>
                  <a:schemeClr val="tx1"/>
                </a:solidFill>
              </a:rPr>
              <a:t>Transition to Home, including </a:t>
            </a:r>
            <a:r>
              <a:rPr lang="en-US" sz="1400" err="1">
                <a:solidFill>
                  <a:schemeClr val="tx1"/>
                </a:solidFill>
              </a:rPr>
              <a:t>SDoH</a:t>
            </a:r>
            <a:r>
              <a:rPr lang="en-US" sz="1400">
                <a:solidFill>
                  <a:schemeClr val="tx1"/>
                </a:solidFill>
              </a:rPr>
              <a:t> </a:t>
            </a:r>
            <a:r>
              <a:rPr lang="en-US" sz="1400">
                <a:solidFill>
                  <a:schemeClr val="tx1"/>
                </a:solidFill>
                <a:ea typeface="+mn-lt"/>
                <a:cs typeface="+mn-lt"/>
              </a:rPr>
              <a:t>Screening and Resource Linkage</a:t>
            </a:r>
            <a:endParaRPr lang="en-US" sz="1400">
              <a:solidFill>
                <a:schemeClr val="tx1"/>
              </a:solidFill>
              <a:ea typeface="Calibri"/>
              <a:cs typeface="Calibri"/>
            </a:endParaRPr>
          </a:p>
        </p:txBody>
      </p:sp>
      <p:sp>
        <p:nvSpPr>
          <p:cNvPr id="36" name="Rounded Rectangle 91">
            <a:extLst>
              <a:ext uri="{FF2B5EF4-FFF2-40B4-BE49-F238E27FC236}">
                <a16:creationId xmlns:a16="http://schemas.microsoft.com/office/drawing/2014/main" id="{C5BA209B-6AD7-115B-8383-D8382814ACEE}"/>
              </a:ext>
            </a:extLst>
          </p:cNvPr>
          <p:cNvSpPr/>
          <p:nvPr/>
        </p:nvSpPr>
        <p:spPr>
          <a:xfrm>
            <a:off x="6606479" y="3667823"/>
            <a:ext cx="5474238" cy="78537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Resource Mapping</a:t>
            </a:r>
          </a:p>
          <a:p>
            <a:pPr marL="285750" indent="-285750">
              <a:buFont typeface="Arial" panose="020B0604020202020204" pitchFamily="34" charset="0"/>
              <a:buChar char="•"/>
            </a:pPr>
            <a:r>
              <a:rPr lang="en-US" sz="1400"/>
              <a:t>Building Relationships with Community Organizations</a:t>
            </a:r>
          </a:p>
          <a:p>
            <a:pPr marL="285750" indent="-285750">
              <a:buFont typeface="Arial" panose="020B0604020202020204" pitchFamily="34" charset="0"/>
              <a:buChar char="•"/>
            </a:pPr>
            <a:r>
              <a:rPr lang="en-US" sz="1400">
                <a:solidFill>
                  <a:schemeClr val="tx1"/>
                </a:solidFill>
                <a:ea typeface="Calibri"/>
                <a:cs typeface="Calibri"/>
              </a:rPr>
              <a:t>Transfer of Care to Community Providers</a:t>
            </a:r>
          </a:p>
        </p:txBody>
      </p:sp>
      <p:sp>
        <p:nvSpPr>
          <p:cNvPr id="38" name="Rounded Rectangle 92">
            <a:extLst>
              <a:ext uri="{FF2B5EF4-FFF2-40B4-BE49-F238E27FC236}">
                <a16:creationId xmlns:a16="http://schemas.microsoft.com/office/drawing/2014/main" id="{DD496E2B-129D-7877-3471-A97FA7218225}"/>
              </a:ext>
            </a:extLst>
          </p:cNvPr>
          <p:cNvSpPr/>
          <p:nvPr/>
        </p:nvSpPr>
        <p:spPr>
          <a:xfrm>
            <a:off x="6606981" y="4625513"/>
            <a:ext cx="5474238" cy="736472"/>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Collection of Accurate Race and Ethnicity Data</a:t>
            </a:r>
          </a:p>
          <a:p>
            <a:pPr marL="285750" indent="-285750">
              <a:buFont typeface="Arial" panose="020B0604020202020204" pitchFamily="34" charset="0"/>
              <a:buChar char="•"/>
            </a:pPr>
            <a:r>
              <a:rPr lang="en-US" sz="1400"/>
              <a:t>Dissemination of Stratified Data</a:t>
            </a:r>
            <a:endParaRPr lang="en-US" sz="1400">
              <a:ea typeface="Calibri"/>
              <a:cs typeface="Calibri"/>
            </a:endParaRPr>
          </a:p>
          <a:p>
            <a:pPr marL="285750" indent="-285750">
              <a:buFont typeface="Arial" panose="020B0604020202020204" pitchFamily="34" charset="0"/>
              <a:buChar char="•"/>
            </a:pPr>
            <a:r>
              <a:rPr lang="en-US" sz="1400"/>
              <a:t>Application of Data to Address Inequities</a:t>
            </a:r>
            <a:endParaRPr lang="en-US" sz="1400">
              <a:ea typeface="Calibri"/>
              <a:cs typeface="Calibri"/>
            </a:endParaRPr>
          </a:p>
        </p:txBody>
      </p:sp>
      <p:sp>
        <p:nvSpPr>
          <p:cNvPr id="40" name="Rounded Rectangle 93">
            <a:extLst>
              <a:ext uri="{FF2B5EF4-FFF2-40B4-BE49-F238E27FC236}">
                <a16:creationId xmlns:a16="http://schemas.microsoft.com/office/drawing/2014/main" id="{BDCA2154-1309-1ECE-3338-3B699831342F}"/>
              </a:ext>
            </a:extLst>
          </p:cNvPr>
          <p:cNvSpPr/>
          <p:nvPr/>
        </p:nvSpPr>
        <p:spPr>
          <a:xfrm>
            <a:off x="2978110" y="5811228"/>
            <a:ext cx="1058563" cy="59595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b="1"/>
              <a:t>ESSI Bundle</a:t>
            </a:r>
            <a:r>
              <a:rPr lang="en-US" sz="1400"/>
              <a:t>:</a:t>
            </a:r>
          </a:p>
        </p:txBody>
      </p:sp>
      <p:sp>
        <p:nvSpPr>
          <p:cNvPr id="42" name="Rounded Rectangle 96">
            <a:extLst>
              <a:ext uri="{FF2B5EF4-FFF2-40B4-BE49-F238E27FC236}">
                <a16:creationId xmlns:a16="http://schemas.microsoft.com/office/drawing/2014/main" id="{E9E3C6CF-96AA-68D8-0977-EC06066DAB15}"/>
              </a:ext>
            </a:extLst>
          </p:cNvPr>
          <p:cNvSpPr/>
          <p:nvPr/>
        </p:nvSpPr>
        <p:spPr>
          <a:xfrm>
            <a:off x="4190069" y="5500950"/>
            <a:ext cx="7906627" cy="1217038"/>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b="1"/>
              <a:t>Awareness</a:t>
            </a:r>
            <a:r>
              <a:rPr lang="en-US" sz="1400"/>
              <a:t>: Parents or caregivers report an understanding of a safe sleep environment, including navigating challenges to safe sleep at home</a:t>
            </a:r>
          </a:p>
          <a:p>
            <a:pPr marL="285750" indent="-285750">
              <a:buFont typeface="Arial" panose="020B0604020202020204" pitchFamily="34" charset="0"/>
              <a:buChar char="•"/>
            </a:pPr>
            <a:r>
              <a:rPr lang="en-US" sz="1400" b="1"/>
              <a:t>Readiness</a:t>
            </a:r>
            <a:r>
              <a:rPr lang="en-US" sz="1400"/>
              <a:t>: </a:t>
            </a:r>
            <a:r>
              <a:rPr lang="en-US" sz="1400">
                <a:solidFill>
                  <a:schemeClr val="tx1"/>
                </a:solidFill>
                <a:ea typeface="+mn-lt"/>
                <a:cs typeface="+mn-lt"/>
              </a:rPr>
              <a:t>Family is prepared for a transition to home, including </a:t>
            </a:r>
            <a:r>
              <a:rPr lang="en-US" sz="1400" err="1">
                <a:solidFill>
                  <a:schemeClr val="tx1"/>
                </a:solidFill>
                <a:ea typeface="+mn-lt"/>
                <a:cs typeface="+mn-lt"/>
              </a:rPr>
              <a:t>SDoH</a:t>
            </a:r>
            <a:r>
              <a:rPr lang="en-US" sz="1400">
                <a:solidFill>
                  <a:schemeClr val="tx1"/>
                </a:solidFill>
                <a:ea typeface="+mn-lt"/>
                <a:cs typeface="+mn-lt"/>
              </a:rPr>
              <a:t> screening and resource linkage</a:t>
            </a:r>
            <a:endParaRPr lang="en-US" sz="1400">
              <a:solidFill>
                <a:schemeClr val="tx1"/>
              </a:solidFill>
              <a:cs typeface="Calibri"/>
            </a:endParaRPr>
          </a:p>
          <a:p>
            <a:pPr marL="285750" indent="-285750">
              <a:buFont typeface="Arial" panose="020B0604020202020204" pitchFamily="34" charset="0"/>
              <a:buChar char="•"/>
            </a:pPr>
            <a:r>
              <a:rPr lang="en-US" sz="1400" b="1"/>
              <a:t>Transfer of Care</a:t>
            </a:r>
            <a:r>
              <a:rPr lang="en-US" sz="1400"/>
              <a:t>: ESSI Newborn Care Plan (Awareness &amp; Readiness) documented in the discharge </a:t>
            </a:r>
            <a:endParaRPr lang="en-US" sz="1400">
              <a:cs typeface="Calibri"/>
            </a:endParaRPr>
          </a:p>
        </p:txBody>
      </p:sp>
    </p:spTree>
    <p:extLst>
      <p:ext uri="{BB962C8B-B14F-4D97-AF65-F5344CB8AC3E}">
        <p14:creationId xmlns:p14="http://schemas.microsoft.com/office/powerpoint/2010/main" val="35739472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5938142" y="5123272"/>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a:alphaModFix amt="40000"/>
              <a:extLst>
                <a:ext uri="{96DAC541-7B7A-43D3-8B79-37D633B846F1}">
                  <asvg:svgBlip xmlns:asvg="http://schemas.microsoft.com/office/drawing/2016/SVG/main" r:embed="rId3"/>
                </a:ext>
              </a:extLst>
            </a:blip>
            <a:stretch>
              <a:fillRect t="-154842"/>
            </a:stretch>
          </a:blipFill>
        </p:spPr>
      </p:sp>
      <p:grpSp>
        <p:nvGrpSpPr>
          <p:cNvPr id="3" name="Group 3"/>
          <p:cNvGrpSpPr/>
          <p:nvPr/>
        </p:nvGrpSpPr>
        <p:grpSpPr>
          <a:xfrm>
            <a:off x="5781680" y="5498672"/>
            <a:ext cx="5457846" cy="1085844"/>
            <a:chOff x="0" y="0"/>
            <a:chExt cx="2156186" cy="428975"/>
          </a:xfrm>
        </p:grpSpPr>
        <p:sp>
          <p:nvSpPr>
            <p:cNvPr id="4" name="Freeform 4"/>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FFC54D"/>
            </a:solidFill>
          </p:spPr>
        </p:sp>
        <p:sp>
          <p:nvSpPr>
            <p:cNvPr id="5" name="TextBox 5"/>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6" name="Freeform 6"/>
          <p:cNvSpPr/>
          <p:nvPr/>
        </p:nvSpPr>
        <p:spPr>
          <a:xfrm>
            <a:off x="5938142" y="3743335"/>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a:alphaModFix amt="40000"/>
              <a:extLst>
                <a:ext uri="{96DAC541-7B7A-43D3-8B79-37D633B846F1}">
                  <asvg:svgBlip xmlns:asvg="http://schemas.microsoft.com/office/drawing/2016/SVG/main" r:embed="rId3"/>
                </a:ext>
              </a:extLst>
            </a:blip>
            <a:stretch>
              <a:fillRect t="-154842"/>
            </a:stretch>
          </a:blipFill>
        </p:spPr>
      </p:sp>
      <p:grpSp>
        <p:nvGrpSpPr>
          <p:cNvPr id="7" name="Group 7"/>
          <p:cNvGrpSpPr/>
          <p:nvPr/>
        </p:nvGrpSpPr>
        <p:grpSpPr>
          <a:xfrm>
            <a:off x="5781680" y="4325711"/>
            <a:ext cx="5457846" cy="1085844"/>
            <a:chOff x="0" y="0"/>
            <a:chExt cx="2156186" cy="428975"/>
          </a:xfrm>
        </p:grpSpPr>
        <p:sp>
          <p:nvSpPr>
            <p:cNvPr id="8" name="Freeform 8"/>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BD4291"/>
            </a:solidFill>
          </p:spPr>
        </p:sp>
        <p:sp>
          <p:nvSpPr>
            <p:cNvPr id="9" name="TextBox 9"/>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10" name="Freeform 10"/>
          <p:cNvSpPr/>
          <p:nvPr/>
        </p:nvSpPr>
        <p:spPr>
          <a:xfrm>
            <a:off x="5938142" y="2359430"/>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a:alphaModFix amt="40000"/>
              <a:extLst>
                <a:ext uri="{96DAC541-7B7A-43D3-8B79-37D633B846F1}">
                  <asvg:svgBlip xmlns:asvg="http://schemas.microsoft.com/office/drawing/2016/SVG/main" r:embed="rId3"/>
                </a:ext>
              </a:extLst>
            </a:blip>
            <a:stretch>
              <a:fillRect t="-154842"/>
            </a:stretch>
          </a:blipFill>
        </p:spPr>
      </p:sp>
      <p:grpSp>
        <p:nvGrpSpPr>
          <p:cNvPr id="11" name="Group 11"/>
          <p:cNvGrpSpPr/>
          <p:nvPr/>
        </p:nvGrpSpPr>
        <p:grpSpPr>
          <a:xfrm>
            <a:off x="5704980" y="1524486"/>
            <a:ext cx="5457846" cy="1085844"/>
            <a:chOff x="0" y="0"/>
            <a:chExt cx="2156186" cy="428975"/>
          </a:xfrm>
        </p:grpSpPr>
        <p:sp>
          <p:nvSpPr>
            <p:cNvPr id="12" name="Freeform 12"/>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53BF9D"/>
            </a:solidFill>
          </p:spPr>
        </p:sp>
        <p:sp>
          <p:nvSpPr>
            <p:cNvPr id="13" name="TextBox 13"/>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grpSp>
        <p:nvGrpSpPr>
          <p:cNvPr id="14" name="Group 14"/>
          <p:cNvGrpSpPr/>
          <p:nvPr/>
        </p:nvGrpSpPr>
        <p:grpSpPr>
          <a:xfrm>
            <a:off x="5704980" y="298942"/>
            <a:ext cx="5457846" cy="1085844"/>
            <a:chOff x="0" y="0"/>
            <a:chExt cx="2156186" cy="428975"/>
          </a:xfrm>
        </p:grpSpPr>
        <p:sp>
          <p:nvSpPr>
            <p:cNvPr id="15" name="Freeform 15"/>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F94C66"/>
            </a:solidFill>
          </p:spPr>
        </p:sp>
        <p:sp>
          <p:nvSpPr>
            <p:cNvPr id="16" name="TextBox 16"/>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17" name="AutoShape 17"/>
          <p:cNvSpPr/>
          <p:nvPr/>
        </p:nvSpPr>
        <p:spPr>
          <a:xfrm flipV="1">
            <a:off x="6862805" y="543941"/>
            <a:ext cx="0" cy="570703"/>
          </a:xfrm>
          <a:prstGeom prst="line">
            <a:avLst/>
          </a:prstGeom>
          <a:ln w="38100" cap="flat">
            <a:solidFill>
              <a:srgbClr val="FFFFFF"/>
            </a:solidFill>
            <a:prstDash val="solid"/>
            <a:headEnd type="none" w="sm" len="sm"/>
            <a:tailEnd type="none" w="sm" len="sm"/>
          </a:ln>
        </p:spPr>
      </p:sp>
      <p:sp>
        <p:nvSpPr>
          <p:cNvPr id="18" name="AutoShape 18"/>
          <p:cNvSpPr/>
          <p:nvPr/>
        </p:nvSpPr>
        <p:spPr>
          <a:xfrm flipV="1">
            <a:off x="6875505" y="1699242"/>
            <a:ext cx="0" cy="570703"/>
          </a:xfrm>
          <a:prstGeom prst="line">
            <a:avLst/>
          </a:prstGeom>
          <a:ln w="38100" cap="flat">
            <a:solidFill>
              <a:srgbClr val="FFFFFF"/>
            </a:solidFill>
            <a:prstDash val="solid"/>
            <a:headEnd type="none" w="sm" len="sm"/>
            <a:tailEnd type="none" w="sm" len="sm"/>
          </a:ln>
        </p:spPr>
      </p:sp>
      <p:sp>
        <p:nvSpPr>
          <p:cNvPr id="19" name="AutoShape 19"/>
          <p:cNvSpPr/>
          <p:nvPr/>
        </p:nvSpPr>
        <p:spPr>
          <a:xfrm flipV="1">
            <a:off x="6888205" y="4606691"/>
            <a:ext cx="0" cy="570703"/>
          </a:xfrm>
          <a:prstGeom prst="line">
            <a:avLst/>
          </a:prstGeom>
          <a:ln w="38100" cap="flat">
            <a:solidFill>
              <a:srgbClr val="FFFFFF"/>
            </a:solidFill>
            <a:prstDash val="solid"/>
            <a:headEnd type="none" w="sm" len="sm"/>
            <a:tailEnd type="none" w="sm" len="sm"/>
          </a:ln>
        </p:spPr>
      </p:sp>
      <p:sp>
        <p:nvSpPr>
          <p:cNvPr id="20" name="AutoShape 20"/>
          <p:cNvSpPr/>
          <p:nvPr/>
        </p:nvSpPr>
        <p:spPr>
          <a:xfrm flipV="1">
            <a:off x="6888205" y="5756243"/>
            <a:ext cx="0" cy="570703"/>
          </a:xfrm>
          <a:prstGeom prst="line">
            <a:avLst/>
          </a:prstGeom>
          <a:ln w="38100" cap="flat">
            <a:solidFill>
              <a:srgbClr val="FFFFFF"/>
            </a:solidFill>
            <a:prstDash val="solid"/>
            <a:headEnd type="none" w="sm" len="sm"/>
            <a:tailEnd type="none" w="sm" len="sm"/>
          </a:ln>
        </p:spPr>
      </p:sp>
      <p:sp>
        <p:nvSpPr>
          <p:cNvPr id="21" name="AutoShape 21"/>
          <p:cNvSpPr/>
          <p:nvPr/>
        </p:nvSpPr>
        <p:spPr>
          <a:xfrm>
            <a:off x="5781679" y="2884983"/>
            <a:ext cx="1488295" cy="0"/>
          </a:xfrm>
          <a:prstGeom prst="line">
            <a:avLst/>
          </a:prstGeom>
          <a:ln w="38100" cap="flat">
            <a:solidFill>
              <a:srgbClr val="000000"/>
            </a:solidFill>
            <a:prstDash val="solid"/>
            <a:headEnd type="none" w="sm" len="sm"/>
            <a:tailEnd type="none" w="sm" len="sm"/>
          </a:ln>
        </p:spPr>
      </p:sp>
      <p:sp>
        <p:nvSpPr>
          <p:cNvPr id="22" name="Freeform 22"/>
          <p:cNvSpPr/>
          <p:nvPr/>
        </p:nvSpPr>
        <p:spPr>
          <a:xfrm>
            <a:off x="-846965" y="4892042"/>
            <a:ext cx="1116149" cy="2426412"/>
          </a:xfrm>
          <a:custGeom>
            <a:avLst/>
            <a:gdLst/>
            <a:ahLst/>
            <a:cxnLst/>
            <a:rect l="l" t="t" r="r" b="b"/>
            <a:pathLst>
              <a:path w="1674224" h="3639618">
                <a:moveTo>
                  <a:pt x="0" y="0"/>
                </a:moveTo>
                <a:lnTo>
                  <a:pt x="1674224" y="0"/>
                </a:lnTo>
                <a:lnTo>
                  <a:pt x="1674224" y="3639618"/>
                </a:lnTo>
                <a:lnTo>
                  <a:pt x="0" y="3639618"/>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23" name="Freeform 23"/>
          <p:cNvSpPr/>
          <p:nvPr/>
        </p:nvSpPr>
        <p:spPr>
          <a:xfrm flipV="1">
            <a:off x="11549785" y="-576427"/>
            <a:ext cx="1116149" cy="2426412"/>
          </a:xfrm>
          <a:custGeom>
            <a:avLst/>
            <a:gdLst/>
            <a:ahLst/>
            <a:cxnLst/>
            <a:rect l="l" t="t" r="r" b="b"/>
            <a:pathLst>
              <a:path w="1674224" h="3639618">
                <a:moveTo>
                  <a:pt x="0" y="3639618"/>
                </a:moveTo>
                <a:lnTo>
                  <a:pt x="1674224" y="3639618"/>
                </a:lnTo>
                <a:lnTo>
                  <a:pt x="1674224" y="0"/>
                </a:lnTo>
                <a:lnTo>
                  <a:pt x="0" y="0"/>
                </a:lnTo>
                <a:lnTo>
                  <a:pt x="0" y="3639618"/>
                </a:lnTo>
                <a:close/>
              </a:path>
            </a:pathLst>
          </a:custGeom>
          <a:blipFill>
            <a:blip r:embed="rId4">
              <a:extLst>
                <a:ext uri="{96DAC541-7B7A-43D3-8B79-37D633B846F1}">
                  <asvg:svgBlip xmlns:asvg="http://schemas.microsoft.com/office/drawing/2016/SVG/main" r:embed="rId5"/>
                </a:ext>
              </a:extLst>
            </a:blip>
            <a:stretch>
              <a:fillRect/>
            </a:stretch>
          </a:blipFill>
        </p:spPr>
      </p:sp>
      <p:grpSp>
        <p:nvGrpSpPr>
          <p:cNvPr id="24" name="Group 24"/>
          <p:cNvGrpSpPr/>
          <p:nvPr/>
        </p:nvGrpSpPr>
        <p:grpSpPr>
          <a:xfrm>
            <a:off x="11377921" y="6168748"/>
            <a:ext cx="1368800" cy="1368800"/>
            <a:chOff x="0" y="0"/>
            <a:chExt cx="812800" cy="812800"/>
          </a:xfrm>
        </p:grpSpPr>
        <p:sp>
          <p:nvSpPr>
            <p:cNvPr id="25" name="Freeform 25"/>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26" name="TextBox 26"/>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27" name="Group 27"/>
          <p:cNvGrpSpPr/>
          <p:nvPr/>
        </p:nvGrpSpPr>
        <p:grpSpPr>
          <a:xfrm>
            <a:off x="-415216" y="-654827"/>
            <a:ext cx="1368800" cy="1368800"/>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29" name="TextBox 29"/>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
        <p:nvSpPr>
          <p:cNvPr id="30" name="Freeform 30"/>
          <p:cNvSpPr/>
          <p:nvPr/>
        </p:nvSpPr>
        <p:spPr>
          <a:xfrm>
            <a:off x="3087435" y="6270053"/>
            <a:ext cx="1227815" cy="385227"/>
          </a:xfrm>
          <a:custGeom>
            <a:avLst/>
            <a:gdLst/>
            <a:ahLst/>
            <a:cxnLst/>
            <a:rect l="l" t="t" r="r" b="b"/>
            <a:pathLst>
              <a:path w="1841723" h="577841">
                <a:moveTo>
                  <a:pt x="0" y="0"/>
                </a:moveTo>
                <a:lnTo>
                  <a:pt x="1841723" y="0"/>
                </a:lnTo>
                <a:lnTo>
                  <a:pt x="1841723" y="577841"/>
                </a:lnTo>
                <a:lnTo>
                  <a:pt x="0" y="577841"/>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31" name="Freeform 31"/>
          <p:cNvSpPr/>
          <p:nvPr/>
        </p:nvSpPr>
        <p:spPr>
          <a:xfrm rot="16200000">
            <a:off x="6317404" y="5809543"/>
            <a:ext cx="1167003" cy="2743200"/>
          </a:xfrm>
          <a:custGeom>
            <a:avLst/>
            <a:gdLst/>
            <a:ahLst/>
            <a:cxnLst/>
            <a:rect l="l" t="t" r="r" b="b"/>
            <a:pathLst>
              <a:path w="1750505" h="4114800">
                <a:moveTo>
                  <a:pt x="0" y="0"/>
                </a:moveTo>
                <a:lnTo>
                  <a:pt x="1750504" y="0"/>
                </a:lnTo>
                <a:lnTo>
                  <a:pt x="1750504" y="4114800"/>
                </a:lnTo>
                <a:lnTo>
                  <a:pt x="0" y="41148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32" name="Freeform 32"/>
          <p:cNvSpPr/>
          <p:nvPr/>
        </p:nvSpPr>
        <p:spPr>
          <a:xfrm rot="16200000">
            <a:off x="5472130" y="-1701101"/>
            <a:ext cx="1167003" cy="2743200"/>
          </a:xfrm>
          <a:custGeom>
            <a:avLst/>
            <a:gdLst/>
            <a:ahLst/>
            <a:cxnLst/>
            <a:rect l="l" t="t" r="r" b="b"/>
            <a:pathLst>
              <a:path w="1750505" h="4114800">
                <a:moveTo>
                  <a:pt x="0" y="0"/>
                </a:moveTo>
                <a:lnTo>
                  <a:pt x="1750505" y="0"/>
                </a:lnTo>
                <a:lnTo>
                  <a:pt x="1750505" y="4114800"/>
                </a:lnTo>
                <a:lnTo>
                  <a:pt x="0" y="41148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33" name="Freeform 33"/>
          <p:cNvSpPr/>
          <p:nvPr/>
        </p:nvSpPr>
        <p:spPr>
          <a:xfrm>
            <a:off x="396776" y="5994227"/>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0"/>
            <a:stretch>
              <a:fillRect/>
            </a:stretch>
          </a:blipFill>
        </p:spPr>
      </p:sp>
      <p:sp>
        <p:nvSpPr>
          <p:cNvPr id="34" name="TextBox 34"/>
          <p:cNvSpPr txBox="1"/>
          <p:nvPr/>
        </p:nvSpPr>
        <p:spPr>
          <a:xfrm>
            <a:off x="896976" y="2086999"/>
            <a:ext cx="4632329" cy="1857175"/>
          </a:xfrm>
          <a:prstGeom prst="rect">
            <a:avLst/>
          </a:prstGeom>
        </p:spPr>
        <p:txBody>
          <a:bodyPr lIns="0" tIns="0" rIns="0" bIns="0" rtlCol="0" anchor="t">
            <a:spAutoFit/>
          </a:bodyPr>
          <a:lstStyle/>
          <a:p>
            <a:pPr>
              <a:lnSpc>
                <a:spcPts val="3733"/>
              </a:lnSpc>
            </a:pPr>
            <a:r>
              <a:rPr lang="en-US" sz="2666" spc="111">
                <a:solidFill>
                  <a:srgbClr val="000000"/>
                </a:solidFill>
                <a:latin typeface="Barlow Bold"/>
              </a:rPr>
              <a:t>DRIVER 1: </a:t>
            </a:r>
          </a:p>
          <a:p>
            <a:pPr>
              <a:lnSpc>
                <a:spcPts val="3733"/>
              </a:lnSpc>
            </a:pPr>
            <a:r>
              <a:rPr lang="en-US" sz="2666" spc="111">
                <a:solidFill>
                  <a:srgbClr val="000000"/>
                </a:solidFill>
                <a:latin typeface="Barlow Bold"/>
              </a:rPr>
              <a:t>HEALTHCARE PROFESSIONAL COMMITMENT​</a:t>
            </a:r>
          </a:p>
        </p:txBody>
      </p:sp>
      <p:grpSp>
        <p:nvGrpSpPr>
          <p:cNvPr id="35" name="Group 35"/>
          <p:cNvGrpSpPr/>
          <p:nvPr/>
        </p:nvGrpSpPr>
        <p:grpSpPr>
          <a:xfrm>
            <a:off x="685801" y="685800"/>
            <a:ext cx="3816499" cy="1229323"/>
            <a:chOff x="0" y="0"/>
            <a:chExt cx="1300650" cy="418949"/>
          </a:xfrm>
        </p:grpSpPr>
        <p:sp>
          <p:nvSpPr>
            <p:cNvPr id="36" name="Freeform 36"/>
            <p:cNvSpPr/>
            <p:nvPr/>
          </p:nvSpPr>
          <p:spPr>
            <a:xfrm>
              <a:off x="0" y="0"/>
              <a:ext cx="1300650" cy="418949"/>
            </a:xfrm>
            <a:custGeom>
              <a:avLst/>
              <a:gdLst/>
              <a:ahLst/>
              <a:cxnLst/>
              <a:rect l="l" t="t" r="r" b="b"/>
              <a:pathLst>
                <a:path w="1300650" h="418949">
                  <a:moveTo>
                    <a:pt x="27047" y="0"/>
                  </a:moveTo>
                  <a:lnTo>
                    <a:pt x="1273603" y="0"/>
                  </a:lnTo>
                  <a:cubicBezTo>
                    <a:pt x="1288541" y="0"/>
                    <a:pt x="1300650" y="12109"/>
                    <a:pt x="1300650" y="27047"/>
                  </a:cubicBezTo>
                  <a:lnTo>
                    <a:pt x="1300650" y="391902"/>
                  </a:lnTo>
                  <a:cubicBezTo>
                    <a:pt x="1300650" y="399075"/>
                    <a:pt x="1297800" y="405955"/>
                    <a:pt x="1292728" y="411027"/>
                  </a:cubicBezTo>
                  <a:cubicBezTo>
                    <a:pt x="1287656" y="416099"/>
                    <a:pt x="1280776" y="418949"/>
                    <a:pt x="1273603" y="418949"/>
                  </a:cubicBezTo>
                  <a:lnTo>
                    <a:pt x="27047" y="418949"/>
                  </a:lnTo>
                  <a:cubicBezTo>
                    <a:pt x="19874" y="418949"/>
                    <a:pt x="12994" y="416099"/>
                    <a:pt x="7922" y="411027"/>
                  </a:cubicBezTo>
                  <a:cubicBezTo>
                    <a:pt x="2850" y="405955"/>
                    <a:pt x="0" y="399075"/>
                    <a:pt x="0" y="391902"/>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53BF9D"/>
              </a:solidFill>
              <a:prstDash val="solid"/>
              <a:miter/>
            </a:ln>
          </p:spPr>
        </p:sp>
        <p:sp>
          <p:nvSpPr>
            <p:cNvPr id="37" name="TextBox 37"/>
            <p:cNvSpPr txBox="1"/>
            <p:nvPr/>
          </p:nvSpPr>
          <p:spPr>
            <a:xfrm>
              <a:off x="0" y="-38100"/>
              <a:ext cx="1300650" cy="457049"/>
            </a:xfrm>
            <a:prstGeom prst="rect">
              <a:avLst/>
            </a:prstGeom>
          </p:spPr>
          <p:txBody>
            <a:bodyPr lIns="33867" tIns="33867" rIns="33867" bIns="33867" rtlCol="0" anchor="ctr"/>
            <a:lstStyle/>
            <a:p>
              <a:pPr algn="ctr">
                <a:lnSpc>
                  <a:spcPts val="1882"/>
                </a:lnSpc>
              </a:pPr>
              <a:endParaRPr sz="800"/>
            </a:p>
          </p:txBody>
        </p:sp>
      </p:grpSp>
      <p:sp>
        <p:nvSpPr>
          <p:cNvPr id="38" name="Freeform 38"/>
          <p:cNvSpPr/>
          <p:nvPr/>
        </p:nvSpPr>
        <p:spPr>
          <a:xfrm>
            <a:off x="3590492" y="2438686"/>
            <a:ext cx="1242138" cy="1438075"/>
          </a:xfrm>
          <a:custGeom>
            <a:avLst/>
            <a:gdLst/>
            <a:ahLst/>
            <a:cxnLst/>
            <a:rect l="l" t="t" r="r" b="b"/>
            <a:pathLst>
              <a:path w="1863207" h="2157113">
                <a:moveTo>
                  <a:pt x="0" y="0"/>
                </a:moveTo>
                <a:lnTo>
                  <a:pt x="1863206" y="0"/>
                </a:lnTo>
                <a:lnTo>
                  <a:pt x="1863206" y="2157113"/>
                </a:lnTo>
                <a:lnTo>
                  <a:pt x="0" y="2157113"/>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grpSp>
        <p:nvGrpSpPr>
          <p:cNvPr id="39" name="Group 39"/>
          <p:cNvGrpSpPr/>
          <p:nvPr/>
        </p:nvGrpSpPr>
        <p:grpSpPr>
          <a:xfrm>
            <a:off x="685800" y="4281327"/>
            <a:ext cx="3787056" cy="1387588"/>
            <a:chOff x="0" y="0"/>
            <a:chExt cx="1290616" cy="472885"/>
          </a:xfrm>
        </p:grpSpPr>
        <p:sp>
          <p:nvSpPr>
            <p:cNvPr id="40" name="Freeform 40"/>
            <p:cNvSpPr/>
            <p:nvPr/>
          </p:nvSpPr>
          <p:spPr>
            <a:xfrm>
              <a:off x="0" y="0"/>
              <a:ext cx="1290616" cy="472885"/>
            </a:xfrm>
            <a:custGeom>
              <a:avLst/>
              <a:gdLst/>
              <a:ahLst/>
              <a:cxnLst/>
              <a:rect l="l" t="t" r="r" b="b"/>
              <a:pathLst>
                <a:path w="1290616" h="472885">
                  <a:moveTo>
                    <a:pt x="27257" y="0"/>
                  </a:moveTo>
                  <a:lnTo>
                    <a:pt x="1263358" y="0"/>
                  </a:lnTo>
                  <a:cubicBezTo>
                    <a:pt x="1270587" y="0"/>
                    <a:pt x="1277520" y="2872"/>
                    <a:pt x="1282632" y="7984"/>
                  </a:cubicBezTo>
                  <a:cubicBezTo>
                    <a:pt x="1287744" y="13095"/>
                    <a:pt x="1290616" y="20028"/>
                    <a:pt x="1290616" y="27257"/>
                  </a:cubicBezTo>
                  <a:lnTo>
                    <a:pt x="1290616" y="445628"/>
                  </a:lnTo>
                  <a:cubicBezTo>
                    <a:pt x="1290616" y="460682"/>
                    <a:pt x="1278412" y="472885"/>
                    <a:pt x="1263358" y="472885"/>
                  </a:cubicBezTo>
                  <a:lnTo>
                    <a:pt x="27257" y="472885"/>
                  </a:lnTo>
                  <a:cubicBezTo>
                    <a:pt x="12204" y="472885"/>
                    <a:pt x="0" y="460682"/>
                    <a:pt x="0" y="445628"/>
                  </a:cubicBezTo>
                  <a:lnTo>
                    <a:pt x="0" y="27257"/>
                  </a:lnTo>
                  <a:cubicBezTo>
                    <a:pt x="0" y="12204"/>
                    <a:pt x="12204" y="0"/>
                    <a:pt x="27257" y="0"/>
                  </a:cubicBezTo>
                  <a:close/>
                </a:path>
              </a:pathLst>
            </a:custGeom>
            <a:solidFill>
              <a:srgbClr val="FFFFFF"/>
            </a:solidFill>
            <a:ln w="57150" cap="sq">
              <a:solidFill>
                <a:srgbClr val="BD4291"/>
              </a:solidFill>
              <a:prstDash val="solid"/>
              <a:miter/>
            </a:ln>
          </p:spPr>
        </p:sp>
        <p:sp>
          <p:nvSpPr>
            <p:cNvPr id="41" name="TextBox 41"/>
            <p:cNvSpPr txBox="1"/>
            <p:nvPr/>
          </p:nvSpPr>
          <p:spPr>
            <a:xfrm>
              <a:off x="0" y="-38100"/>
              <a:ext cx="1290616" cy="510985"/>
            </a:xfrm>
            <a:prstGeom prst="rect">
              <a:avLst/>
            </a:prstGeom>
          </p:spPr>
          <p:txBody>
            <a:bodyPr lIns="33867" tIns="33867" rIns="33867" bIns="33867" rtlCol="0" anchor="ctr"/>
            <a:lstStyle/>
            <a:p>
              <a:pPr algn="ctr">
                <a:lnSpc>
                  <a:spcPts val="1882"/>
                </a:lnSpc>
              </a:pPr>
              <a:endParaRPr sz="800"/>
            </a:p>
          </p:txBody>
        </p:sp>
      </p:grpSp>
      <p:sp>
        <p:nvSpPr>
          <p:cNvPr id="42" name="Freeform 42"/>
          <p:cNvSpPr/>
          <p:nvPr/>
        </p:nvSpPr>
        <p:spPr>
          <a:xfrm>
            <a:off x="5912498" y="478995"/>
            <a:ext cx="862781" cy="670812"/>
          </a:xfrm>
          <a:custGeom>
            <a:avLst/>
            <a:gdLst/>
            <a:ahLst/>
            <a:cxnLst/>
            <a:rect l="l" t="t" r="r" b="b"/>
            <a:pathLst>
              <a:path w="1294171" h="1006218">
                <a:moveTo>
                  <a:pt x="0" y="0"/>
                </a:moveTo>
                <a:lnTo>
                  <a:pt x="1294171" y="0"/>
                </a:lnTo>
                <a:lnTo>
                  <a:pt x="1294171" y="1006218"/>
                </a:lnTo>
                <a:lnTo>
                  <a:pt x="0" y="1006218"/>
                </a:lnTo>
                <a:lnTo>
                  <a:pt x="0" y="0"/>
                </a:lnTo>
                <a:close/>
              </a:path>
            </a:pathLst>
          </a:custGeom>
          <a:blipFill>
            <a:blip r:embed="rId13"/>
            <a:stretch>
              <a:fillRect/>
            </a:stretch>
          </a:blipFill>
        </p:spPr>
      </p:sp>
      <p:grpSp>
        <p:nvGrpSpPr>
          <p:cNvPr id="43" name="Group 43"/>
          <p:cNvGrpSpPr/>
          <p:nvPr/>
        </p:nvGrpSpPr>
        <p:grpSpPr>
          <a:xfrm>
            <a:off x="5781680" y="3050083"/>
            <a:ext cx="5457846" cy="1085844"/>
            <a:chOff x="0" y="0"/>
            <a:chExt cx="2156186" cy="428975"/>
          </a:xfrm>
        </p:grpSpPr>
        <p:sp>
          <p:nvSpPr>
            <p:cNvPr id="44" name="Freeform 44"/>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4373A4"/>
            </a:solidFill>
          </p:spPr>
        </p:sp>
        <p:sp>
          <p:nvSpPr>
            <p:cNvPr id="45" name="TextBox 45"/>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46" name="AutoShape 46"/>
          <p:cNvSpPr/>
          <p:nvPr/>
        </p:nvSpPr>
        <p:spPr>
          <a:xfrm flipV="1">
            <a:off x="6900905" y="3257183"/>
            <a:ext cx="0" cy="570703"/>
          </a:xfrm>
          <a:prstGeom prst="line">
            <a:avLst/>
          </a:prstGeom>
          <a:ln w="38100" cap="flat">
            <a:solidFill>
              <a:srgbClr val="FFFFFF"/>
            </a:solidFill>
            <a:prstDash val="solid"/>
            <a:headEnd type="none" w="sm" len="sm"/>
            <a:tailEnd type="none" w="sm" len="sm"/>
          </a:ln>
        </p:spPr>
      </p:sp>
      <p:sp>
        <p:nvSpPr>
          <p:cNvPr id="47" name="Freeform 47"/>
          <p:cNvSpPr/>
          <p:nvPr/>
        </p:nvSpPr>
        <p:spPr>
          <a:xfrm>
            <a:off x="5950259" y="1651425"/>
            <a:ext cx="787260" cy="787260"/>
          </a:xfrm>
          <a:custGeom>
            <a:avLst/>
            <a:gdLst/>
            <a:ahLst/>
            <a:cxnLst/>
            <a:rect l="l" t="t" r="r" b="b"/>
            <a:pathLst>
              <a:path w="1180890" h="1180890">
                <a:moveTo>
                  <a:pt x="0" y="0"/>
                </a:moveTo>
                <a:lnTo>
                  <a:pt x="1180890" y="0"/>
                </a:lnTo>
                <a:lnTo>
                  <a:pt x="1180890" y="1180890"/>
                </a:lnTo>
                <a:lnTo>
                  <a:pt x="0" y="1180890"/>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sp>
      <p:sp>
        <p:nvSpPr>
          <p:cNvPr id="48" name="Freeform 48"/>
          <p:cNvSpPr/>
          <p:nvPr/>
        </p:nvSpPr>
        <p:spPr>
          <a:xfrm>
            <a:off x="5912498" y="3234543"/>
            <a:ext cx="897608" cy="615983"/>
          </a:xfrm>
          <a:custGeom>
            <a:avLst/>
            <a:gdLst/>
            <a:ahLst/>
            <a:cxnLst/>
            <a:rect l="l" t="t" r="r" b="b"/>
            <a:pathLst>
              <a:path w="1346412" h="923975">
                <a:moveTo>
                  <a:pt x="0" y="0"/>
                </a:moveTo>
                <a:lnTo>
                  <a:pt x="1346412" y="0"/>
                </a:lnTo>
                <a:lnTo>
                  <a:pt x="1346412" y="923975"/>
                </a:lnTo>
                <a:lnTo>
                  <a:pt x="0" y="923975"/>
                </a:lnTo>
                <a:lnTo>
                  <a:pt x="0" y="0"/>
                </a:lnTo>
                <a:close/>
              </a:path>
            </a:pathLst>
          </a:custGeom>
          <a:blipFill>
            <a:blip r:embed="rId16">
              <a:extLst>
                <a:ext uri="{96DAC541-7B7A-43D3-8B79-37D633B846F1}">
                  <asvg:svgBlip xmlns:asvg="http://schemas.microsoft.com/office/drawing/2016/SVG/main" r:embed="rId17"/>
                </a:ext>
              </a:extLst>
            </a:blip>
            <a:stretch>
              <a:fillRect/>
            </a:stretch>
          </a:blipFill>
        </p:spPr>
      </p:sp>
      <p:sp>
        <p:nvSpPr>
          <p:cNvPr id="49" name="Freeform 49"/>
          <p:cNvSpPr/>
          <p:nvPr/>
        </p:nvSpPr>
        <p:spPr>
          <a:xfrm>
            <a:off x="6022040" y="4501721"/>
            <a:ext cx="715479" cy="733824"/>
          </a:xfrm>
          <a:custGeom>
            <a:avLst/>
            <a:gdLst/>
            <a:ahLst/>
            <a:cxnLst/>
            <a:rect l="l" t="t" r="r" b="b"/>
            <a:pathLst>
              <a:path w="1073218" h="1100736">
                <a:moveTo>
                  <a:pt x="0" y="0"/>
                </a:moveTo>
                <a:lnTo>
                  <a:pt x="1073218" y="0"/>
                </a:lnTo>
                <a:lnTo>
                  <a:pt x="1073218" y="1100736"/>
                </a:lnTo>
                <a:lnTo>
                  <a:pt x="0" y="1100736"/>
                </a:lnTo>
                <a:lnTo>
                  <a:pt x="0" y="0"/>
                </a:lnTo>
                <a:close/>
              </a:path>
            </a:pathLst>
          </a:custGeom>
          <a:blipFill>
            <a:blip r:embed="rId18">
              <a:extLst>
                <a:ext uri="{96DAC541-7B7A-43D3-8B79-37D633B846F1}">
                  <asvg:svgBlip xmlns:asvg="http://schemas.microsoft.com/office/drawing/2016/SVG/main" r:embed="rId19"/>
                </a:ext>
              </a:extLst>
            </a:blip>
            <a:stretch>
              <a:fillRect/>
            </a:stretch>
          </a:blipFill>
        </p:spPr>
      </p:sp>
      <p:sp>
        <p:nvSpPr>
          <p:cNvPr id="50" name="Freeform 50"/>
          <p:cNvSpPr/>
          <p:nvPr/>
        </p:nvSpPr>
        <p:spPr>
          <a:xfrm>
            <a:off x="6061891" y="5658876"/>
            <a:ext cx="598823" cy="803790"/>
          </a:xfrm>
          <a:custGeom>
            <a:avLst/>
            <a:gdLst/>
            <a:ahLst/>
            <a:cxnLst/>
            <a:rect l="l" t="t" r="r" b="b"/>
            <a:pathLst>
              <a:path w="898235" h="1205685">
                <a:moveTo>
                  <a:pt x="0" y="0"/>
                </a:moveTo>
                <a:lnTo>
                  <a:pt x="898235" y="0"/>
                </a:lnTo>
                <a:lnTo>
                  <a:pt x="898235" y="1205685"/>
                </a:lnTo>
                <a:lnTo>
                  <a:pt x="0" y="1205685"/>
                </a:lnTo>
                <a:lnTo>
                  <a:pt x="0" y="0"/>
                </a:lnTo>
                <a:close/>
              </a:path>
            </a:pathLst>
          </a:custGeom>
          <a:blipFill>
            <a:blip r:embed="rId20">
              <a:extLst>
                <a:ext uri="{96DAC541-7B7A-43D3-8B79-37D633B846F1}">
                  <asvg:svgBlip xmlns:asvg="http://schemas.microsoft.com/office/drawing/2016/SVG/main" r:embed="rId21"/>
                </a:ext>
              </a:extLst>
            </a:blip>
            <a:stretch>
              <a:fillRect/>
            </a:stretch>
          </a:blipFill>
        </p:spPr>
      </p:sp>
      <p:sp>
        <p:nvSpPr>
          <p:cNvPr id="51" name="TextBox 51"/>
          <p:cNvSpPr txBox="1"/>
          <p:nvPr/>
        </p:nvSpPr>
        <p:spPr>
          <a:xfrm>
            <a:off x="7002505" y="369410"/>
            <a:ext cx="4084512" cy="959237"/>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Educate providers, nurses, and other staff about listening to families, providing respectful care and building trust, and addressing implicit bias and engaging in anti-racism </a:t>
            </a:r>
            <a:endParaRPr lang="en-US" sz="1344" spc="43">
              <a:solidFill>
                <a:srgbClr val="FFFFFF"/>
              </a:solidFill>
              <a:latin typeface="Barlow Semi-Bold"/>
            </a:endParaRPr>
          </a:p>
        </p:txBody>
      </p:sp>
      <p:sp>
        <p:nvSpPr>
          <p:cNvPr id="52" name="TextBox 52"/>
          <p:cNvSpPr txBox="1"/>
          <p:nvPr/>
        </p:nvSpPr>
        <p:spPr>
          <a:xfrm>
            <a:off x="7002505" y="1741317"/>
            <a:ext cx="3456530" cy="471924"/>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Encourage open discussions about equitable and respectful care </a:t>
            </a:r>
            <a:endParaRPr lang="en-US" sz="1344" b="1" spc="43">
              <a:solidFill>
                <a:srgbClr val="FFFFFF"/>
              </a:solidFill>
              <a:latin typeface="Barlow Semi-Bold"/>
            </a:endParaRPr>
          </a:p>
        </p:txBody>
      </p:sp>
      <p:sp>
        <p:nvSpPr>
          <p:cNvPr id="53" name="TextBox 53"/>
          <p:cNvSpPr txBox="1"/>
          <p:nvPr/>
        </p:nvSpPr>
        <p:spPr>
          <a:xfrm>
            <a:off x="7006459" y="3238168"/>
            <a:ext cx="4080559" cy="715581"/>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Educate providers, nurses, and other staff about the importance of a safe sleep environment for every sleep during hospitalization and at home  </a:t>
            </a:r>
            <a:endParaRPr lang="en-US" sz="1344" spc="43">
              <a:solidFill>
                <a:srgbClr val="FFFFFF"/>
              </a:solidFill>
              <a:latin typeface="Barlow Semi-Bold"/>
            </a:endParaRPr>
          </a:p>
        </p:txBody>
      </p:sp>
      <p:sp>
        <p:nvSpPr>
          <p:cNvPr id="54" name="TextBox 54"/>
          <p:cNvSpPr txBox="1"/>
          <p:nvPr/>
        </p:nvSpPr>
        <p:spPr>
          <a:xfrm>
            <a:off x="6999151" y="5662230"/>
            <a:ext cx="4086822" cy="714042"/>
          </a:xfrm>
          <a:prstGeom prst="rect">
            <a:avLst/>
          </a:prstGeom>
        </p:spPr>
        <p:txBody>
          <a:bodyPr wrap="square" lIns="0" tIns="0" rIns="0" bIns="0" rtlCol="0" anchor="t">
            <a:spAutoFit/>
          </a:bodyPr>
          <a:lstStyle/>
          <a:p>
            <a:pPr marL="0" lvl="1">
              <a:lnSpc>
                <a:spcPts val="1882"/>
              </a:lnSpc>
              <a:spcBef>
                <a:spcPct val="0"/>
              </a:spcBef>
            </a:pPr>
            <a:r>
              <a:rPr lang="en-US" sz="1300" b="1" spc="43">
                <a:solidFill>
                  <a:srgbClr val="FFFFFF"/>
                </a:solidFill>
                <a:latin typeface="Barlow Semi-Bold"/>
              </a:rPr>
              <a:t>Endorse and model a safe sleep environment for every sleep during the hospitalization, including correcting unsafe behaviors  </a:t>
            </a:r>
            <a:endParaRPr lang="en-US" sz="1344" spc="43">
              <a:solidFill>
                <a:srgbClr val="FFFFFF"/>
              </a:solidFill>
              <a:latin typeface="Barlow Semi-Bold"/>
            </a:endParaRPr>
          </a:p>
        </p:txBody>
      </p:sp>
      <p:sp>
        <p:nvSpPr>
          <p:cNvPr id="55" name="TextBox 55"/>
          <p:cNvSpPr txBox="1"/>
          <p:nvPr/>
        </p:nvSpPr>
        <p:spPr>
          <a:xfrm>
            <a:off x="896975" y="863581"/>
            <a:ext cx="3454879" cy="829971"/>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1: Equitable and Respectful Care Education and Implementation </a:t>
            </a:r>
          </a:p>
        </p:txBody>
      </p:sp>
      <p:sp>
        <p:nvSpPr>
          <p:cNvPr id="56" name="TextBox 56"/>
          <p:cNvSpPr txBox="1"/>
          <p:nvPr/>
        </p:nvSpPr>
        <p:spPr>
          <a:xfrm>
            <a:off x="685800" y="4538241"/>
            <a:ext cx="3787056" cy="829971"/>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2: Safe Sleep Environment Education and Implementation</a:t>
            </a:r>
          </a:p>
        </p:txBody>
      </p:sp>
      <p:sp>
        <p:nvSpPr>
          <p:cNvPr id="57" name="TextBox 57"/>
          <p:cNvSpPr txBox="1"/>
          <p:nvPr/>
        </p:nvSpPr>
        <p:spPr>
          <a:xfrm>
            <a:off x="7002505" y="4421678"/>
            <a:ext cx="4324974" cy="957698"/>
          </a:xfrm>
          <a:prstGeom prst="rect">
            <a:avLst/>
          </a:prstGeom>
        </p:spPr>
        <p:txBody>
          <a:bodyPr wrap="square" lIns="0" tIns="0" rIns="0" bIns="0" rtlCol="0" anchor="t">
            <a:spAutoFit/>
          </a:bodyPr>
          <a:lstStyle/>
          <a:p>
            <a:pPr marL="0" lvl="1">
              <a:lnSpc>
                <a:spcPts val="1882"/>
              </a:lnSpc>
              <a:spcBef>
                <a:spcPct val="0"/>
              </a:spcBef>
            </a:pPr>
            <a:r>
              <a:rPr lang="en-US" sz="1300" b="1" spc="43">
                <a:solidFill>
                  <a:srgbClr val="FFFFFF"/>
                </a:solidFill>
                <a:latin typeface="Barlow Semi-Bold"/>
              </a:rPr>
              <a:t>Encourage meaningful, culturally appropriate, respectful, nonjudgmental conversations between providers, nurses, and other staff and parents and caregivers about a safe sleep environment </a:t>
            </a:r>
            <a:endParaRPr lang="en-US" sz="1344" spc="43">
              <a:solidFill>
                <a:srgbClr val="FFFFFF"/>
              </a:solidFill>
              <a:latin typeface="Barlow Semi-Bold"/>
            </a:endParaRPr>
          </a:p>
        </p:txBody>
      </p:sp>
      <p:cxnSp>
        <p:nvCxnSpPr>
          <p:cNvPr id="58" name="Straight Arrow Connector 57">
            <a:extLst>
              <a:ext uri="{FF2B5EF4-FFF2-40B4-BE49-F238E27FC236}">
                <a16:creationId xmlns:a16="http://schemas.microsoft.com/office/drawing/2014/main" id="{7FE085C4-0A4D-D525-BEFC-A58C8B262908}"/>
              </a:ext>
            </a:extLst>
          </p:cNvPr>
          <p:cNvCxnSpPr/>
          <p:nvPr/>
        </p:nvCxnSpPr>
        <p:spPr>
          <a:xfrm>
            <a:off x="4516003" y="1366228"/>
            <a:ext cx="1149483" cy="856890"/>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4AB05664-6AAD-B37F-B42B-F3BE57FF4B64}"/>
              </a:ext>
            </a:extLst>
          </p:cNvPr>
          <p:cNvCxnSpPr>
            <a:cxnSpLocks/>
          </p:cNvCxnSpPr>
          <p:nvPr/>
        </p:nvCxnSpPr>
        <p:spPr>
          <a:xfrm flipV="1">
            <a:off x="4492293" y="843899"/>
            <a:ext cx="1173194" cy="537713"/>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0780975F-40AC-4431-7277-8634D267BA1E}"/>
              </a:ext>
            </a:extLst>
          </p:cNvPr>
          <p:cNvCxnSpPr>
            <a:cxnSpLocks/>
          </p:cNvCxnSpPr>
          <p:nvPr/>
        </p:nvCxnSpPr>
        <p:spPr>
          <a:xfrm>
            <a:off x="4449161" y="4842018"/>
            <a:ext cx="1426731" cy="1284096"/>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E6E294E1-60D1-93D5-F703-4C8CA9125137}"/>
              </a:ext>
            </a:extLst>
          </p:cNvPr>
          <p:cNvCxnSpPr>
            <a:cxnSpLocks/>
          </p:cNvCxnSpPr>
          <p:nvPr/>
        </p:nvCxnSpPr>
        <p:spPr>
          <a:xfrm flipV="1">
            <a:off x="4475896" y="4856696"/>
            <a:ext cx="1269798" cy="25426"/>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533F86FB-67E8-46C0-0C13-6B8ABD7D4C87}"/>
              </a:ext>
            </a:extLst>
          </p:cNvPr>
          <p:cNvCxnSpPr>
            <a:cxnSpLocks/>
          </p:cNvCxnSpPr>
          <p:nvPr/>
        </p:nvCxnSpPr>
        <p:spPr>
          <a:xfrm flipV="1">
            <a:off x="4449160" y="3586696"/>
            <a:ext cx="1283167" cy="1322162"/>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CE06DA76-2516-7530-74D6-38D1B1FC6BFE}"/>
              </a:ext>
            </a:extLst>
          </p:cNvPr>
          <p:cNvSpPr txBox="1"/>
          <p:nvPr/>
        </p:nvSpPr>
        <p:spPr>
          <a:xfrm>
            <a:off x="7656419" y="2632239"/>
            <a:ext cx="2667520" cy="430887"/>
          </a:xfrm>
          <a:prstGeom prst="rect">
            <a:avLst/>
          </a:prstGeom>
          <a:noFill/>
        </p:spPr>
        <p:txBody>
          <a:bodyPr wrap="square" lIns="91440" tIns="45720" rIns="91440" bIns="45720" rtlCol="0" anchor="t">
            <a:spAutoFit/>
          </a:bodyPr>
          <a:lstStyle/>
          <a:p>
            <a:endParaRPr lang="en-US" sz="2200" b="1">
              <a:latin typeface="Arial"/>
              <a:ea typeface="MS PGothic"/>
              <a:cs typeface="Arial"/>
            </a:endParaRPr>
          </a:p>
        </p:txBody>
      </p:sp>
      <p:sp>
        <p:nvSpPr>
          <p:cNvPr id="65" name="TextBox 64">
            <a:extLst>
              <a:ext uri="{FF2B5EF4-FFF2-40B4-BE49-F238E27FC236}">
                <a16:creationId xmlns:a16="http://schemas.microsoft.com/office/drawing/2014/main" id="{28CD4543-B35F-C7BE-C5DB-7DF0067C551A}"/>
              </a:ext>
            </a:extLst>
          </p:cNvPr>
          <p:cNvSpPr txBox="1"/>
          <p:nvPr/>
        </p:nvSpPr>
        <p:spPr>
          <a:xfrm>
            <a:off x="7843325" y="-85082"/>
            <a:ext cx="2667520" cy="461665"/>
          </a:xfrm>
          <a:prstGeom prst="rect">
            <a:avLst/>
          </a:prstGeom>
          <a:noFill/>
        </p:spPr>
        <p:txBody>
          <a:bodyPr wrap="square" lIns="91440" tIns="45720" rIns="91440" bIns="45720" rtlCol="0" anchor="t">
            <a:spAutoFit/>
          </a:bodyPr>
          <a:lstStyle/>
          <a:p>
            <a:r>
              <a:rPr lang="en-US" sz="2400" b="1">
                <a:latin typeface="Arial"/>
                <a:ea typeface="MS PGothic"/>
                <a:cs typeface="Arial"/>
              </a:rPr>
              <a:t>Change Ideas</a:t>
            </a:r>
          </a:p>
        </p:txBody>
      </p:sp>
    </p:spTree>
    <p:extLst>
      <p:ext uri="{BB962C8B-B14F-4D97-AF65-F5344CB8AC3E}">
        <p14:creationId xmlns:p14="http://schemas.microsoft.com/office/powerpoint/2010/main" val="34199574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AB3FF-760A-B654-5F1B-78AD5BEB6B57}"/>
              </a:ext>
            </a:extLst>
          </p:cNvPr>
          <p:cNvSpPr>
            <a:spLocks noGrp="1"/>
          </p:cNvSpPr>
          <p:nvPr>
            <p:ph type="title"/>
          </p:nvPr>
        </p:nvSpPr>
        <p:spPr/>
        <p:txBody>
          <a:bodyPr/>
          <a:lstStyle/>
          <a:p>
            <a:r>
              <a:rPr lang="en-US">
                <a:ea typeface="Lato Medium"/>
                <a:cs typeface="Lato Medium"/>
              </a:rPr>
              <a:t>ILPQC Background</a:t>
            </a:r>
            <a:endParaRPr lang="en-US"/>
          </a:p>
        </p:txBody>
      </p:sp>
      <p:sp>
        <p:nvSpPr>
          <p:cNvPr id="3" name="Subtitle 2">
            <a:extLst>
              <a:ext uri="{FF2B5EF4-FFF2-40B4-BE49-F238E27FC236}">
                <a16:creationId xmlns:a16="http://schemas.microsoft.com/office/drawing/2014/main" id="{BFE56240-A306-0E11-425A-7323821A42F2}"/>
              </a:ext>
            </a:extLst>
          </p:cNvPr>
          <p:cNvSpPr>
            <a:spLocks noGrp="1"/>
          </p:cNvSpPr>
          <p:nvPr>
            <p:ph type="subTitle" idx="1"/>
          </p:nvPr>
        </p:nvSpPr>
        <p:spPr/>
        <p:txBody>
          <a:bodyPr vert="horz" lIns="91440" tIns="45720" rIns="91440" bIns="45720" rtlCol="0" anchor="t">
            <a:noAutofit/>
          </a:bodyPr>
          <a:lstStyle/>
          <a:p>
            <a:r>
              <a:rPr lang="en-US">
                <a:ea typeface="Lato"/>
                <a:cs typeface="Lato"/>
              </a:rPr>
              <a:t>Who and What is the Illinois Perinatal Quality Collaborative? </a:t>
            </a:r>
            <a:endParaRPr lang="en-US"/>
          </a:p>
        </p:txBody>
      </p:sp>
      <p:sp>
        <p:nvSpPr>
          <p:cNvPr id="4" name="TextBox 3">
            <a:extLst>
              <a:ext uri="{FF2B5EF4-FFF2-40B4-BE49-F238E27FC236}">
                <a16:creationId xmlns:a16="http://schemas.microsoft.com/office/drawing/2014/main" id="{91340450-CC8B-5BE3-0AD9-268F626BA220}"/>
              </a:ext>
            </a:extLst>
          </p:cNvPr>
          <p:cNvSpPr txBox="1"/>
          <p:nvPr/>
        </p:nvSpPr>
        <p:spPr>
          <a:xfrm>
            <a:off x="4724400" y="3200400"/>
            <a:ext cx="274320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1000">
              <a:latin typeface="Arial"/>
              <a:cs typeface="Arial"/>
            </a:endParaRPr>
          </a:p>
        </p:txBody>
      </p:sp>
    </p:spTree>
    <p:extLst>
      <p:ext uri="{BB962C8B-B14F-4D97-AF65-F5344CB8AC3E}">
        <p14:creationId xmlns:p14="http://schemas.microsoft.com/office/powerpoint/2010/main" val="31398743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0" name="Straight Arrow Connector 79">
            <a:extLst>
              <a:ext uri="{FF2B5EF4-FFF2-40B4-BE49-F238E27FC236}">
                <a16:creationId xmlns:a16="http://schemas.microsoft.com/office/drawing/2014/main" id="{CAF7AEDC-38D6-4104-8736-1AFA4E6298B5}"/>
              </a:ext>
            </a:extLst>
          </p:cNvPr>
          <p:cNvCxnSpPr>
            <a:cxnSpLocks/>
          </p:cNvCxnSpPr>
          <p:nvPr/>
        </p:nvCxnSpPr>
        <p:spPr>
          <a:xfrm flipV="1">
            <a:off x="4591684" y="4278421"/>
            <a:ext cx="1117977" cy="394147"/>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EB8EE064-ABA2-EBF9-9A28-B95446D8989F}"/>
              </a:ext>
            </a:extLst>
          </p:cNvPr>
          <p:cNvCxnSpPr>
            <a:cxnSpLocks/>
          </p:cNvCxnSpPr>
          <p:nvPr/>
        </p:nvCxnSpPr>
        <p:spPr>
          <a:xfrm>
            <a:off x="4668988" y="4694655"/>
            <a:ext cx="1073804" cy="57767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 name="Freeform 2"/>
          <p:cNvSpPr/>
          <p:nvPr/>
        </p:nvSpPr>
        <p:spPr>
          <a:xfrm>
            <a:off x="5938142" y="5123272"/>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a:alphaModFix amt="40000"/>
              <a:extLst>
                <a:ext uri="{96DAC541-7B7A-43D3-8B79-37D633B846F1}">
                  <asvg:svgBlip xmlns:asvg="http://schemas.microsoft.com/office/drawing/2016/SVG/main" r:embed="rId3"/>
                </a:ext>
              </a:extLst>
            </a:blip>
            <a:stretch>
              <a:fillRect t="-154842"/>
            </a:stretch>
          </a:blipFill>
        </p:spPr>
      </p:sp>
      <p:grpSp>
        <p:nvGrpSpPr>
          <p:cNvPr id="3" name="Group 3"/>
          <p:cNvGrpSpPr/>
          <p:nvPr/>
        </p:nvGrpSpPr>
        <p:grpSpPr>
          <a:xfrm>
            <a:off x="5704980" y="3954518"/>
            <a:ext cx="5457846" cy="690737"/>
            <a:chOff x="0" y="0"/>
            <a:chExt cx="2156186" cy="272884"/>
          </a:xfrm>
        </p:grpSpPr>
        <p:sp>
          <p:nvSpPr>
            <p:cNvPr id="4" name="Freeform 4"/>
            <p:cNvSpPr/>
            <p:nvPr/>
          </p:nvSpPr>
          <p:spPr>
            <a:xfrm>
              <a:off x="0" y="0"/>
              <a:ext cx="2156186" cy="272884"/>
            </a:xfrm>
            <a:custGeom>
              <a:avLst/>
              <a:gdLst/>
              <a:ahLst/>
              <a:cxnLst/>
              <a:rect l="l" t="t" r="r" b="b"/>
              <a:pathLst>
                <a:path w="2156186" h="272884">
                  <a:moveTo>
                    <a:pt x="28370" y="0"/>
                  </a:moveTo>
                  <a:lnTo>
                    <a:pt x="2127816" y="0"/>
                  </a:lnTo>
                  <a:cubicBezTo>
                    <a:pt x="2143484" y="0"/>
                    <a:pt x="2156186" y="12702"/>
                    <a:pt x="2156186" y="28370"/>
                  </a:cubicBezTo>
                  <a:lnTo>
                    <a:pt x="2156186" y="244514"/>
                  </a:lnTo>
                  <a:cubicBezTo>
                    <a:pt x="2156186" y="260182"/>
                    <a:pt x="2143484" y="272884"/>
                    <a:pt x="2127816" y="272884"/>
                  </a:cubicBezTo>
                  <a:lnTo>
                    <a:pt x="28370" y="272884"/>
                  </a:lnTo>
                  <a:cubicBezTo>
                    <a:pt x="12702" y="272884"/>
                    <a:pt x="0" y="260182"/>
                    <a:pt x="0" y="244514"/>
                  </a:cubicBezTo>
                  <a:lnTo>
                    <a:pt x="0" y="28370"/>
                  </a:lnTo>
                  <a:cubicBezTo>
                    <a:pt x="0" y="12702"/>
                    <a:pt x="12702" y="0"/>
                    <a:pt x="28370" y="0"/>
                  </a:cubicBezTo>
                  <a:close/>
                </a:path>
              </a:pathLst>
            </a:custGeom>
            <a:solidFill>
              <a:srgbClr val="F4B03D"/>
            </a:solidFill>
          </p:spPr>
        </p:sp>
        <p:sp>
          <p:nvSpPr>
            <p:cNvPr id="5" name="TextBox 5"/>
            <p:cNvSpPr txBox="1"/>
            <p:nvPr/>
          </p:nvSpPr>
          <p:spPr>
            <a:xfrm>
              <a:off x="0" y="-38100"/>
              <a:ext cx="2156186" cy="310984"/>
            </a:xfrm>
            <a:prstGeom prst="rect">
              <a:avLst/>
            </a:prstGeom>
            <a:solidFill>
              <a:srgbClr val="F4B03D"/>
            </a:solidFill>
          </p:spPr>
          <p:txBody>
            <a:bodyPr lIns="33867" tIns="33867" rIns="33867" bIns="33867" rtlCol="0" anchor="ctr"/>
            <a:lstStyle/>
            <a:p>
              <a:pPr algn="ctr">
                <a:lnSpc>
                  <a:spcPts val="1882"/>
                </a:lnSpc>
              </a:pPr>
              <a:endParaRPr sz="800"/>
            </a:p>
          </p:txBody>
        </p:sp>
      </p:grpSp>
      <p:grpSp>
        <p:nvGrpSpPr>
          <p:cNvPr id="6" name="Group 6"/>
          <p:cNvGrpSpPr/>
          <p:nvPr/>
        </p:nvGrpSpPr>
        <p:grpSpPr>
          <a:xfrm>
            <a:off x="5704980" y="3105991"/>
            <a:ext cx="5457846" cy="690737"/>
            <a:chOff x="0" y="0"/>
            <a:chExt cx="2156186" cy="272884"/>
          </a:xfrm>
        </p:grpSpPr>
        <p:sp>
          <p:nvSpPr>
            <p:cNvPr id="7" name="Freeform 7"/>
            <p:cNvSpPr/>
            <p:nvPr/>
          </p:nvSpPr>
          <p:spPr>
            <a:xfrm>
              <a:off x="0" y="0"/>
              <a:ext cx="2156186" cy="272884"/>
            </a:xfrm>
            <a:custGeom>
              <a:avLst/>
              <a:gdLst/>
              <a:ahLst/>
              <a:cxnLst/>
              <a:rect l="l" t="t" r="r" b="b"/>
              <a:pathLst>
                <a:path w="2156186" h="272884">
                  <a:moveTo>
                    <a:pt x="28370" y="0"/>
                  </a:moveTo>
                  <a:lnTo>
                    <a:pt x="2127816" y="0"/>
                  </a:lnTo>
                  <a:cubicBezTo>
                    <a:pt x="2143484" y="0"/>
                    <a:pt x="2156186" y="12702"/>
                    <a:pt x="2156186" y="28370"/>
                  </a:cubicBezTo>
                  <a:lnTo>
                    <a:pt x="2156186" y="244514"/>
                  </a:lnTo>
                  <a:cubicBezTo>
                    <a:pt x="2156186" y="260182"/>
                    <a:pt x="2143484" y="272884"/>
                    <a:pt x="2127816" y="272884"/>
                  </a:cubicBezTo>
                  <a:lnTo>
                    <a:pt x="28370" y="272884"/>
                  </a:lnTo>
                  <a:cubicBezTo>
                    <a:pt x="12702" y="272884"/>
                    <a:pt x="0" y="260182"/>
                    <a:pt x="0" y="244514"/>
                  </a:cubicBezTo>
                  <a:lnTo>
                    <a:pt x="0" y="28370"/>
                  </a:lnTo>
                  <a:cubicBezTo>
                    <a:pt x="0" y="12702"/>
                    <a:pt x="12702" y="0"/>
                    <a:pt x="28370" y="0"/>
                  </a:cubicBezTo>
                  <a:close/>
                </a:path>
              </a:pathLst>
            </a:custGeom>
            <a:solidFill>
              <a:srgbClr val="BD4291"/>
            </a:solidFill>
          </p:spPr>
        </p:sp>
        <p:sp>
          <p:nvSpPr>
            <p:cNvPr id="8" name="TextBox 8"/>
            <p:cNvSpPr txBox="1"/>
            <p:nvPr/>
          </p:nvSpPr>
          <p:spPr>
            <a:xfrm>
              <a:off x="0" y="-38100"/>
              <a:ext cx="2156186" cy="310984"/>
            </a:xfrm>
            <a:prstGeom prst="rect">
              <a:avLst/>
            </a:prstGeom>
          </p:spPr>
          <p:txBody>
            <a:bodyPr lIns="33867" tIns="33867" rIns="33867" bIns="33867" rtlCol="0" anchor="ctr"/>
            <a:lstStyle/>
            <a:p>
              <a:pPr algn="ctr">
                <a:lnSpc>
                  <a:spcPts val="1882"/>
                </a:lnSpc>
              </a:pPr>
              <a:endParaRPr sz="800"/>
            </a:p>
          </p:txBody>
        </p:sp>
      </p:grpSp>
      <p:grpSp>
        <p:nvGrpSpPr>
          <p:cNvPr id="9" name="Group 9"/>
          <p:cNvGrpSpPr/>
          <p:nvPr/>
        </p:nvGrpSpPr>
        <p:grpSpPr>
          <a:xfrm>
            <a:off x="5704980" y="1384498"/>
            <a:ext cx="5457846" cy="712690"/>
            <a:chOff x="0" y="0"/>
            <a:chExt cx="2156186" cy="281557"/>
          </a:xfrm>
        </p:grpSpPr>
        <p:sp>
          <p:nvSpPr>
            <p:cNvPr id="10" name="Freeform 10"/>
            <p:cNvSpPr/>
            <p:nvPr/>
          </p:nvSpPr>
          <p:spPr>
            <a:xfrm>
              <a:off x="0" y="0"/>
              <a:ext cx="2156186" cy="281557"/>
            </a:xfrm>
            <a:custGeom>
              <a:avLst/>
              <a:gdLst/>
              <a:ahLst/>
              <a:cxnLst/>
              <a:rect l="l" t="t" r="r" b="b"/>
              <a:pathLst>
                <a:path w="2156186" h="281557">
                  <a:moveTo>
                    <a:pt x="28370" y="0"/>
                  </a:moveTo>
                  <a:lnTo>
                    <a:pt x="2127816" y="0"/>
                  </a:lnTo>
                  <a:cubicBezTo>
                    <a:pt x="2143484" y="0"/>
                    <a:pt x="2156186" y="12702"/>
                    <a:pt x="2156186" y="28370"/>
                  </a:cubicBezTo>
                  <a:lnTo>
                    <a:pt x="2156186" y="253187"/>
                  </a:lnTo>
                  <a:cubicBezTo>
                    <a:pt x="2156186" y="268855"/>
                    <a:pt x="2143484" y="281557"/>
                    <a:pt x="2127816" y="281557"/>
                  </a:cubicBezTo>
                  <a:lnTo>
                    <a:pt x="28370" y="281557"/>
                  </a:lnTo>
                  <a:cubicBezTo>
                    <a:pt x="20846" y="281557"/>
                    <a:pt x="13630" y="278568"/>
                    <a:pt x="8309" y="273247"/>
                  </a:cubicBezTo>
                  <a:cubicBezTo>
                    <a:pt x="2989" y="267927"/>
                    <a:pt x="0" y="260711"/>
                    <a:pt x="0" y="253187"/>
                  </a:cubicBezTo>
                  <a:lnTo>
                    <a:pt x="0" y="28370"/>
                  </a:lnTo>
                  <a:cubicBezTo>
                    <a:pt x="0" y="12702"/>
                    <a:pt x="12702" y="0"/>
                    <a:pt x="28370" y="0"/>
                  </a:cubicBezTo>
                  <a:close/>
                </a:path>
              </a:pathLst>
            </a:custGeom>
            <a:solidFill>
              <a:srgbClr val="53BF9D"/>
            </a:solidFill>
          </p:spPr>
        </p:sp>
        <p:sp>
          <p:nvSpPr>
            <p:cNvPr id="11" name="TextBox 11"/>
            <p:cNvSpPr txBox="1"/>
            <p:nvPr/>
          </p:nvSpPr>
          <p:spPr>
            <a:xfrm>
              <a:off x="0" y="-38100"/>
              <a:ext cx="2156186" cy="319657"/>
            </a:xfrm>
            <a:prstGeom prst="rect">
              <a:avLst/>
            </a:prstGeom>
          </p:spPr>
          <p:txBody>
            <a:bodyPr lIns="33867" tIns="33867" rIns="33867" bIns="33867" rtlCol="0" anchor="ctr"/>
            <a:lstStyle/>
            <a:p>
              <a:pPr algn="ctr">
                <a:lnSpc>
                  <a:spcPts val="1882"/>
                </a:lnSpc>
              </a:pPr>
              <a:endParaRPr sz="800"/>
            </a:p>
          </p:txBody>
        </p:sp>
      </p:grpSp>
      <p:grpSp>
        <p:nvGrpSpPr>
          <p:cNvPr id="12" name="Group 12"/>
          <p:cNvGrpSpPr/>
          <p:nvPr/>
        </p:nvGrpSpPr>
        <p:grpSpPr>
          <a:xfrm>
            <a:off x="5704980" y="312642"/>
            <a:ext cx="5457846" cy="802002"/>
            <a:chOff x="0" y="0"/>
            <a:chExt cx="2156186" cy="316840"/>
          </a:xfrm>
        </p:grpSpPr>
        <p:sp>
          <p:nvSpPr>
            <p:cNvPr id="13" name="Freeform 13"/>
            <p:cNvSpPr/>
            <p:nvPr/>
          </p:nvSpPr>
          <p:spPr>
            <a:xfrm>
              <a:off x="0" y="0"/>
              <a:ext cx="2156186" cy="316840"/>
            </a:xfrm>
            <a:custGeom>
              <a:avLst/>
              <a:gdLst/>
              <a:ahLst/>
              <a:cxnLst/>
              <a:rect l="l" t="t" r="r" b="b"/>
              <a:pathLst>
                <a:path w="2156186" h="316840">
                  <a:moveTo>
                    <a:pt x="28370" y="0"/>
                  </a:moveTo>
                  <a:lnTo>
                    <a:pt x="2127816" y="0"/>
                  </a:lnTo>
                  <a:cubicBezTo>
                    <a:pt x="2143484" y="0"/>
                    <a:pt x="2156186" y="12702"/>
                    <a:pt x="2156186" y="28370"/>
                  </a:cubicBezTo>
                  <a:lnTo>
                    <a:pt x="2156186" y="288470"/>
                  </a:lnTo>
                  <a:cubicBezTo>
                    <a:pt x="2156186" y="304139"/>
                    <a:pt x="2143484" y="316840"/>
                    <a:pt x="2127816" y="316840"/>
                  </a:cubicBezTo>
                  <a:lnTo>
                    <a:pt x="28370" y="316840"/>
                  </a:lnTo>
                  <a:cubicBezTo>
                    <a:pt x="12702" y="316840"/>
                    <a:pt x="0" y="304139"/>
                    <a:pt x="0" y="288470"/>
                  </a:cubicBezTo>
                  <a:lnTo>
                    <a:pt x="0" y="28370"/>
                  </a:lnTo>
                  <a:cubicBezTo>
                    <a:pt x="0" y="12702"/>
                    <a:pt x="12702" y="0"/>
                    <a:pt x="28370" y="0"/>
                  </a:cubicBezTo>
                  <a:close/>
                </a:path>
              </a:pathLst>
            </a:custGeom>
            <a:solidFill>
              <a:srgbClr val="F94C66"/>
            </a:solidFill>
          </p:spPr>
        </p:sp>
        <p:sp>
          <p:nvSpPr>
            <p:cNvPr id="14" name="TextBox 14"/>
            <p:cNvSpPr txBox="1"/>
            <p:nvPr/>
          </p:nvSpPr>
          <p:spPr>
            <a:xfrm>
              <a:off x="0" y="-38100"/>
              <a:ext cx="2156186" cy="354940"/>
            </a:xfrm>
            <a:prstGeom prst="rect">
              <a:avLst/>
            </a:prstGeom>
          </p:spPr>
          <p:txBody>
            <a:bodyPr lIns="33867" tIns="33867" rIns="33867" bIns="33867" rtlCol="0" anchor="ctr"/>
            <a:lstStyle/>
            <a:p>
              <a:pPr algn="ctr">
                <a:lnSpc>
                  <a:spcPts val="1882"/>
                </a:lnSpc>
              </a:pPr>
              <a:endParaRPr sz="800"/>
            </a:p>
          </p:txBody>
        </p:sp>
      </p:grpSp>
      <p:sp>
        <p:nvSpPr>
          <p:cNvPr id="15" name="AutoShape 15"/>
          <p:cNvSpPr/>
          <p:nvPr/>
        </p:nvSpPr>
        <p:spPr>
          <a:xfrm flipV="1">
            <a:off x="6822806" y="386555"/>
            <a:ext cx="0" cy="570703"/>
          </a:xfrm>
          <a:prstGeom prst="line">
            <a:avLst/>
          </a:prstGeom>
          <a:ln w="38100" cap="flat">
            <a:solidFill>
              <a:srgbClr val="FFFFFF"/>
            </a:solidFill>
            <a:prstDash val="solid"/>
            <a:headEnd type="none" w="sm" len="sm"/>
            <a:tailEnd type="none" w="sm" len="sm"/>
          </a:ln>
        </p:spPr>
      </p:sp>
      <p:sp>
        <p:nvSpPr>
          <p:cNvPr id="16" name="AutoShape 16"/>
          <p:cNvSpPr/>
          <p:nvPr/>
        </p:nvSpPr>
        <p:spPr>
          <a:xfrm flipV="1">
            <a:off x="6822806" y="2327850"/>
            <a:ext cx="0" cy="570703"/>
          </a:xfrm>
          <a:prstGeom prst="line">
            <a:avLst/>
          </a:prstGeom>
          <a:ln w="38100" cap="flat">
            <a:solidFill>
              <a:srgbClr val="FFFFFF"/>
            </a:solidFill>
            <a:prstDash val="solid"/>
            <a:headEnd type="none" w="sm" len="sm"/>
            <a:tailEnd type="none" w="sm" len="sm"/>
          </a:ln>
        </p:spPr>
      </p:sp>
      <p:sp>
        <p:nvSpPr>
          <p:cNvPr id="17" name="AutoShape 17"/>
          <p:cNvSpPr/>
          <p:nvPr/>
        </p:nvSpPr>
        <p:spPr>
          <a:xfrm flipV="1">
            <a:off x="6873606" y="3266649"/>
            <a:ext cx="0" cy="570703"/>
          </a:xfrm>
          <a:prstGeom prst="line">
            <a:avLst/>
          </a:prstGeom>
          <a:ln w="38100" cap="flat">
            <a:solidFill>
              <a:srgbClr val="FFFFFF"/>
            </a:solidFill>
            <a:prstDash val="solid"/>
            <a:headEnd type="none" w="sm" len="sm"/>
            <a:tailEnd type="none" w="sm" len="sm"/>
          </a:ln>
        </p:spPr>
      </p:sp>
      <p:sp>
        <p:nvSpPr>
          <p:cNvPr id="18" name="AutoShape 18"/>
          <p:cNvSpPr/>
          <p:nvPr/>
        </p:nvSpPr>
        <p:spPr>
          <a:xfrm flipV="1">
            <a:off x="6860906" y="4019521"/>
            <a:ext cx="0" cy="570703"/>
          </a:xfrm>
          <a:prstGeom prst="line">
            <a:avLst/>
          </a:prstGeom>
          <a:ln w="38100" cap="flat">
            <a:solidFill>
              <a:srgbClr val="FFFFFF"/>
            </a:solidFill>
            <a:prstDash val="solid"/>
            <a:headEnd type="none" w="sm" len="sm"/>
            <a:tailEnd type="none" w="sm" len="sm"/>
          </a:ln>
        </p:spPr>
      </p:sp>
      <p:sp>
        <p:nvSpPr>
          <p:cNvPr id="19" name="AutoShape 19"/>
          <p:cNvSpPr/>
          <p:nvPr/>
        </p:nvSpPr>
        <p:spPr>
          <a:xfrm>
            <a:off x="5781679" y="1251147"/>
            <a:ext cx="1488295" cy="0"/>
          </a:xfrm>
          <a:prstGeom prst="line">
            <a:avLst/>
          </a:prstGeom>
          <a:ln w="38100" cap="flat">
            <a:solidFill>
              <a:srgbClr val="000000"/>
            </a:solidFill>
            <a:prstDash val="solid"/>
            <a:headEnd type="none" w="sm" len="sm"/>
            <a:tailEnd type="none" w="sm" len="sm"/>
          </a:ln>
        </p:spPr>
      </p:sp>
      <p:sp>
        <p:nvSpPr>
          <p:cNvPr id="20" name="Freeform 20"/>
          <p:cNvSpPr/>
          <p:nvPr/>
        </p:nvSpPr>
        <p:spPr>
          <a:xfrm>
            <a:off x="-846965" y="4892042"/>
            <a:ext cx="1116149" cy="2426412"/>
          </a:xfrm>
          <a:custGeom>
            <a:avLst/>
            <a:gdLst/>
            <a:ahLst/>
            <a:cxnLst/>
            <a:rect l="l" t="t" r="r" b="b"/>
            <a:pathLst>
              <a:path w="1674224" h="3639618">
                <a:moveTo>
                  <a:pt x="0" y="0"/>
                </a:moveTo>
                <a:lnTo>
                  <a:pt x="1674224" y="0"/>
                </a:lnTo>
                <a:lnTo>
                  <a:pt x="1674224" y="3639618"/>
                </a:lnTo>
                <a:lnTo>
                  <a:pt x="0" y="3639618"/>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21" name="Freeform 21"/>
          <p:cNvSpPr/>
          <p:nvPr/>
        </p:nvSpPr>
        <p:spPr>
          <a:xfrm flipV="1">
            <a:off x="11924327" y="-98563"/>
            <a:ext cx="1116149" cy="2426412"/>
          </a:xfrm>
          <a:custGeom>
            <a:avLst/>
            <a:gdLst/>
            <a:ahLst/>
            <a:cxnLst/>
            <a:rect l="l" t="t" r="r" b="b"/>
            <a:pathLst>
              <a:path w="1674224" h="3639618">
                <a:moveTo>
                  <a:pt x="0" y="3639618"/>
                </a:moveTo>
                <a:lnTo>
                  <a:pt x="1674224" y="3639618"/>
                </a:lnTo>
                <a:lnTo>
                  <a:pt x="1674224" y="0"/>
                </a:lnTo>
                <a:lnTo>
                  <a:pt x="0" y="0"/>
                </a:lnTo>
                <a:lnTo>
                  <a:pt x="0" y="3639618"/>
                </a:lnTo>
                <a:close/>
              </a:path>
            </a:pathLst>
          </a:custGeom>
          <a:blipFill>
            <a:blip r:embed="rId4">
              <a:extLst>
                <a:ext uri="{96DAC541-7B7A-43D3-8B79-37D633B846F1}">
                  <asvg:svgBlip xmlns:asvg="http://schemas.microsoft.com/office/drawing/2016/SVG/main" r:embed="rId5"/>
                </a:ext>
              </a:extLst>
            </a:blip>
            <a:stretch>
              <a:fillRect/>
            </a:stretch>
          </a:blipFill>
        </p:spPr>
      </p:sp>
      <p:grpSp>
        <p:nvGrpSpPr>
          <p:cNvPr id="22" name="Group 22"/>
          <p:cNvGrpSpPr/>
          <p:nvPr/>
        </p:nvGrpSpPr>
        <p:grpSpPr>
          <a:xfrm>
            <a:off x="11377921" y="6168748"/>
            <a:ext cx="1368800" cy="1368800"/>
            <a:chOff x="0" y="0"/>
            <a:chExt cx="812800" cy="812800"/>
          </a:xfrm>
        </p:grpSpPr>
        <p:sp>
          <p:nvSpPr>
            <p:cNvPr id="23" name="Freeform 2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24" name="TextBox 24"/>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25" name="Group 25"/>
          <p:cNvGrpSpPr/>
          <p:nvPr/>
        </p:nvGrpSpPr>
        <p:grpSpPr>
          <a:xfrm>
            <a:off x="-415216" y="-654827"/>
            <a:ext cx="1368800" cy="1368800"/>
            <a:chOff x="0" y="0"/>
            <a:chExt cx="812800" cy="812800"/>
          </a:xfrm>
        </p:grpSpPr>
        <p:sp>
          <p:nvSpPr>
            <p:cNvPr id="26" name="Freeform 2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27" name="TextBox 27"/>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
        <p:nvSpPr>
          <p:cNvPr id="28" name="Freeform 28"/>
          <p:cNvSpPr/>
          <p:nvPr/>
        </p:nvSpPr>
        <p:spPr>
          <a:xfrm>
            <a:off x="3087435" y="6270053"/>
            <a:ext cx="1227815" cy="385227"/>
          </a:xfrm>
          <a:custGeom>
            <a:avLst/>
            <a:gdLst/>
            <a:ahLst/>
            <a:cxnLst/>
            <a:rect l="l" t="t" r="r" b="b"/>
            <a:pathLst>
              <a:path w="1841723" h="577841">
                <a:moveTo>
                  <a:pt x="0" y="0"/>
                </a:moveTo>
                <a:lnTo>
                  <a:pt x="1841723" y="0"/>
                </a:lnTo>
                <a:lnTo>
                  <a:pt x="1841723" y="577841"/>
                </a:lnTo>
                <a:lnTo>
                  <a:pt x="0" y="577841"/>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29" name="Freeform 29"/>
          <p:cNvSpPr/>
          <p:nvPr/>
        </p:nvSpPr>
        <p:spPr>
          <a:xfrm rot="16200000">
            <a:off x="6317404" y="5809543"/>
            <a:ext cx="1167003" cy="2743200"/>
          </a:xfrm>
          <a:custGeom>
            <a:avLst/>
            <a:gdLst/>
            <a:ahLst/>
            <a:cxnLst/>
            <a:rect l="l" t="t" r="r" b="b"/>
            <a:pathLst>
              <a:path w="1750505" h="4114800">
                <a:moveTo>
                  <a:pt x="0" y="0"/>
                </a:moveTo>
                <a:lnTo>
                  <a:pt x="1750504" y="0"/>
                </a:lnTo>
                <a:lnTo>
                  <a:pt x="1750504" y="4114800"/>
                </a:lnTo>
                <a:lnTo>
                  <a:pt x="0" y="41148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30" name="Freeform 30"/>
          <p:cNvSpPr/>
          <p:nvPr/>
        </p:nvSpPr>
        <p:spPr>
          <a:xfrm rot="16200000">
            <a:off x="5472130" y="-1701101"/>
            <a:ext cx="1167003" cy="2743200"/>
          </a:xfrm>
          <a:custGeom>
            <a:avLst/>
            <a:gdLst/>
            <a:ahLst/>
            <a:cxnLst/>
            <a:rect l="l" t="t" r="r" b="b"/>
            <a:pathLst>
              <a:path w="1750505" h="4114800">
                <a:moveTo>
                  <a:pt x="0" y="0"/>
                </a:moveTo>
                <a:lnTo>
                  <a:pt x="1750505" y="0"/>
                </a:lnTo>
                <a:lnTo>
                  <a:pt x="1750505" y="4114800"/>
                </a:lnTo>
                <a:lnTo>
                  <a:pt x="0" y="41148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31" name="Freeform 31"/>
          <p:cNvSpPr/>
          <p:nvPr/>
        </p:nvSpPr>
        <p:spPr>
          <a:xfrm>
            <a:off x="10379742" y="5896323"/>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0"/>
            <a:stretch>
              <a:fillRect/>
            </a:stretch>
          </a:blipFill>
        </p:spPr>
      </p:sp>
      <p:grpSp>
        <p:nvGrpSpPr>
          <p:cNvPr id="32" name="Group 32"/>
          <p:cNvGrpSpPr/>
          <p:nvPr/>
        </p:nvGrpSpPr>
        <p:grpSpPr>
          <a:xfrm>
            <a:off x="685801" y="311578"/>
            <a:ext cx="3816499" cy="803066"/>
            <a:chOff x="0" y="0"/>
            <a:chExt cx="1300650" cy="273682"/>
          </a:xfrm>
        </p:grpSpPr>
        <p:sp>
          <p:nvSpPr>
            <p:cNvPr id="33" name="Freeform 33"/>
            <p:cNvSpPr/>
            <p:nvPr/>
          </p:nvSpPr>
          <p:spPr>
            <a:xfrm>
              <a:off x="0" y="0"/>
              <a:ext cx="1300650" cy="273682"/>
            </a:xfrm>
            <a:custGeom>
              <a:avLst/>
              <a:gdLst/>
              <a:ahLst/>
              <a:cxnLst/>
              <a:rect l="l" t="t" r="r" b="b"/>
              <a:pathLst>
                <a:path w="1300650" h="273682">
                  <a:moveTo>
                    <a:pt x="27047" y="0"/>
                  </a:moveTo>
                  <a:lnTo>
                    <a:pt x="1273603" y="0"/>
                  </a:lnTo>
                  <a:cubicBezTo>
                    <a:pt x="1288541" y="0"/>
                    <a:pt x="1300650" y="12109"/>
                    <a:pt x="1300650" y="27047"/>
                  </a:cubicBezTo>
                  <a:lnTo>
                    <a:pt x="1300650" y="246635"/>
                  </a:lnTo>
                  <a:cubicBezTo>
                    <a:pt x="1300650" y="253808"/>
                    <a:pt x="1297800" y="260688"/>
                    <a:pt x="1292728" y="265760"/>
                  </a:cubicBezTo>
                  <a:cubicBezTo>
                    <a:pt x="1287656" y="270833"/>
                    <a:pt x="1280776" y="273682"/>
                    <a:pt x="1273603" y="273682"/>
                  </a:cubicBezTo>
                  <a:lnTo>
                    <a:pt x="27047" y="273682"/>
                  </a:lnTo>
                  <a:cubicBezTo>
                    <a:pt x="19874" y="273682"/>
                    <a:pt x="12994" y="270833"/>
                    <a:pt x="7922" y="265760"/>
                  </a:cubicBezTo>
                  <a:cubicBezTo>
                    <a:pt x="2850" y="260688"/>
                    <a:pt x="0" y="253808"/>
                    <a:pt x="0" y="246635"/>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53BF9D"/>
              </a:solidFill>
              <a:prstDash val="solid"/>
              <a:miter/>
            </a:ln>
          </p:spPr>
        </p:sp>
        <p:sp>
          <p:nvSpPr>
            <p:cNvPr id="34" name="TextBox 34"/>
            <p:cNvSpPr txBox="1"/>
            <p:nvPr/>
          </p:nvSpPr>
          <p:spPr>
            <a:xfrm>
              <a:off x="0" y="-38100"/>
              <a:ext cx="1300650" cy="311782"/>
            </a:xfrm>
            <a:prstGeom prst="rect">
              <a:avLst/>
            </a:prstGeom>
          </p:spPr>
          <p:txBody>
            <a:bodyPr lIns="33867" tIns="33867" rIns="33867" bIns="33867" rtlCol="0" anchor="ctr"/>
            <a:lstStyle/>
            <a:p>
              <a:pPr algn="ctr">
                <a:lnSpc>
                  <a:spcPts val="1882"/>
                </a:lnSpc>
              </a:pPr>
              <a:endParaRPr sz="800"/>
            </a:p>
          </p:txBody>
        </p:sp>
      </p:grpSp>
      <p:grpSp>
        <p:nvGrpSpPr>
          <p:cNvPr id="35" name="Group 35"/>
          <p:cNvGrpSpPr/>
          <p:nvPr/>
        </p:nvGrpSpPr>
        <p:grpSpPr>
          <a:xfrm>
            <a:off x="715243" y="1789179"/>
            <a:ext cx="3787056" cy="782540"/>
            <a:chOff x="0" y="0"/>
            <a:chExt cx="1290616" cy="266687"/>
          </a:xfrm>
        </p:grpSpPr>
        <p:sp>
          <p:nvSpPr>
            <p:cNvPr id="36" name="Freeform 36"/>
            <p:cNvSpPr/>
            <p:nvPr/>
          </p:nvSpPr>
          <p:spPr>
            <a:xfrm>
              <a:off x="0" y="0"/>
              <a:ext cx="1290616" cy="266687"/>
            </a:xfrm>
            <a:custGeom>
              <a:avLst/>
              <a:gdLst/>
              <a:ahLst/>
              <a:cxnLst/>
              <a:rect l="l" t="t" r="r" b="b"/>
              <a:pathLst>
                <a:path w="1290616" h="266687">
                  <a:moveTo>
                    <a:pt x="27257" y="0"/>
                  </a:moveTo>
                  <a:lnTo>
                    <a:pt x="1263358" y="0"/>
                  </a:lnTo>
                  <a:cubicBezTo>
                    <a:pt x="1270587" y="0"/>
                    <a:pt x="1277520" y="2872"/>
                    <a:pt x="1282632" y="7984"/>
                  </a:cubicBezTo>
                  <a:cubicBezTo>
                    <a:pt x="1287744" y="13095"/>
                    <a:pt x="1290616" y="20028"/>
                    <a:pt x="1290616" y="27257"/>
                  </a:cubicBezTo>
                  <a:lnTo>
                    <a:pt x="1290616" y="239430"/>
                  </a:lnTo>
                  <a:cubicBezTo>
                    <a:pt x="1290616" y="254483"/>
                    <a:pt x="1278412" y="266687"/>
                    <a:pt x="1263358" y="266687"/>
                  </a:cubicBezTo>
                  <a:lnTo>
                    <a:pt x="27257" y="266687"/>
                  </a:lnTo>
                  <a:cubicBezTo>
                    <a:pt x="12204" y="266687"/>
                    <a:pt x="0" y="254483"/>
                    <a:pt x="0" y="239430"/>
                  </a:cubicBezTo>
                  <a:lnTo>
                    <a:pt x="0" y="27257"/>
                  </a:lnTo>
                  <a:cubicBezTo>
                    <a:pt x="0" y="12204"/>
                    <a:pt x="12204" y="0"/>
                    <a:pt x="27257" y="0"/>
                  </a:cubicBezTo>
                  <a:close/>
                </a:path>
              </a:pathLst>
            </a:custGeom>
            <a:solidFill>
              <a:srgbClr val="FFFFFF"/>
            </a:solidFill>
            <a:ln w="57150" cap="sq">
              <a:solidFill>
                <a:srgbClr val="BD4291"/>
              </a:solidFill>
              <a:prstDash val="solid"/>
              <a:miter/>
            </a:ln>
          </p:spPr>
        </p:sp>
        <p:sp>
          <p:nvSpPr>
            <p:cNvPr id="37" name="TextBox 37"/>
            <p:cNvSpPr txBox="1"/>
            <p:nvPr/>
          </p:nvSpPr>
          <p:spPr>
            <a:xfrm>
              <a:off x="0" y="-38100"/>
              <a:ext cx="1290616" cy="304787"/>
            </a:xfrm>
            <a:prstGeom prst="rect">
              <a:avLst/>
            </a:prstGeom>
          </p:spPr>
          <p:txBody>
            <a:bodyPr lIns="33867" tIns="33867" rIns="33867" bIns="33867" rtlCol="0" anchor="ctr"/>
            <a:lstStyle/>
            <a:p>
              <a:pPr algn="ctr">
                <a:lnSpc>
                  <a:spcPts val="1882"/>
                </a:lnSpc>
              </a:pPr>
              <a:endParaRPr sz="800"/>
            </a:p>
          </p:txBody>
        </p:sp>
      </p:grpSp>
      <p:grpSp>
        <p:nvGrpSpPr>
          <p:cNvPr id="38" name="Group 38"/>
          <p:cNvGrpSpPr/>
          <p:nvPr/>
        </p:nvGrpSpPr>
        <p:grpSpPr>
          <a:xfrm>
            <a:off x="5704980" y="2128344"/>
            <a:ext cx="5457846" cy="750493"/>
            <a:chOff x="0" y="0"/>
            <a:chExt cx="2156186" cy="296491"/>
          </a:xfrm>
        </p:grpSpPr>
        <p:sp>
          <p:nvSpPr>
            <p:cNvPr id="39" name="Freeform 39"/>
            <p:cNvSpPr/>
            <p:nvPr/>
          </p:nvSpPr>
          <p:spPr>
            <a:xfrm>
              <a:off x="0" y="0"/>
              <a:ext cx="2156186" cy="296491"/>
            </a:xfrm>
            <a:custGeom>
              <a:avLst/>
              <a:gdLst/>
              <a:ahLst/>
              <a:cxnLst/>
              <a:rect l="l" t="t" r="r" b="b"/>
              <a:pathLst>
                <a:path w="2156186" h="296491">
                  <a:moveTo>
                    <a:pt x="28370" y="0"/>
                  </a:moveTo>
                  <a:lnTo>
                    <a:pt x="2127816" y="0"/>
                  </a:lnTo>
                  <a:cubicBezTo>
                    <a:pt x="2143484" y="0"/>
                    <a:pt x="2156186" y="12702"/>
                    <a:pt x="2156186" y="28370"/>
                  </a:cubicBezTo>
                  <a:lnTo>
                    <a:pt x="2156186" y="268121"/>
                  </a:lnTo>
                  <a:cubicBezTo>
                    <a:pt x="2156186" y="283790"/>
                    <a:pt x="2143484" y="296491"/>
                    <a:pt x="2127816" y="296491"/>
                  </a:cubicBezTo>
                  <a:lnTo>
                    <a:pt x="28370" y="296491"/>
                  </a:lnTo>
                  <a:cubicBezTo>
                    <a:pt x="12702" y="296491"/>
                    <a:pt x="0" y="283790"/>
                    <a:pt x="0" y="268121"/>
                  </a:cubicBezTo>
                  <a:lnTo>
                    <a:pt x="0" y="28370"/>
                  </a:lnTo>
                  <a:cubicBezTo>
                    <a:pt x="0" y="12702"/>
                    <a:pt x="12702" y="0"/>
                    <a:pt x="28370" y="0"/>
                  </a:cubicBezTo>
                  <a:close/>
                </a:path>
              </a:pathLst>
            </a:custGeom>
            <a:solidFill>
              <a:srgbClr val="4373A4"/>
            </a:solidFill>
          </p:spPr>
        </p:sp>
        <p:sp>
          <p:nvSpPr>
            <p:cNvPr id="40" name="TextBox 40"/>
            <p:cNvSpPr txBox="1"/>
            <p:nvPr/>
          </p:nvSpPr>
          <p:spPr>
            <a:xfrm>
              <a:off x="0" y="-38100"/>
              <a:ext cx="2156186" cy="334591"/>
            </a:xfrm>
            <a:prstGeom prst="rect">
              <a:avLst/>
            </a:prstGeom>
          </p:spPr>
          <p:txBody>
            <a:bodyPr lIns="33867" tIns="33867" rIns="33867" bIns="33867" rtlCol="0" anchor="ctr"/>
            <a:lstStyle/>
            <a:p>
              <a:pPr algn="ctr">
                <a:lnSpc>
                  <a:spcPts val="1882"/>
                </a:lnSpc>
              </a:pPr>
              <a:endParaRPr sz="800"/>
            </a:p>
          </p:txBody>
        </p:sp>
      </p:grpSp>
      <p:sp>
        <p:nvSpPr>
          <p:cNvPr id="41" name="Freeform 41"/>
          <p:cNvSpPr/>
          <p:nvPr/>
        </p:nvSpPr>
        <p:spPr>
          <a:xfrm>
            <a:off x="3385149" y="2984793"/>
            <a:ext cx="1365135" cy="969246"/>
          </a:xfrm>
          <a:custGeom>
            <a:avLst/>
            <a:gdLst/>
            <a:ahLst/>
            <a:cxnLst/>
            <a:rect l="l" t="t" r="r" b="b"/>
            <a:pathLst>
              <a:path w="2047703" h="1453869">
                <a:moveTo>
                  <a:pt x="0" y="0"/>
                </a:moveTo>
                <a:lnTo>
                  <a:pt x="2047703" y="0"/>
                </a:lnTo>
                <a:lnTo>
                  <a:pt x="2047703" y="1453869"/>
                </a:lnTo>
                <a:lnTo>
                  <a:pt x="0" y="1453869"/>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sp>
        <p:nvSpPr>
          <p:cNvPr id="42" name="AutoShape 42"/>
          <p:cNvSpPr/>
          <p:nvPr/>
        </p:nvSpPr>
        <p:spPr>
          <a:xfrm flipV="1">
            <a:off x="6848206" y="2255939"/>
            <a:ext cx="0" cy="570703"/>
          </a:xfrm>
          <a:prstGeom prst="line">
            <a:avLst/>
          </a:prstGeom>
          <a:ln w="38100" cap="flat">
            <a:solidFill>
              <a:srgbClr val="FFFFFF"/>
            </a:solidFill>
            <a:prstDash val="solid"/>
            <a:headEnd type="none" w="sm" len="sm"/>
            <a:tailEnd type="none" w="sm" len="sm"/>
          </a:ln>
        </p:spPr>
      </p:sp>
      <p:sp>
        <p:nvSpPr>
          <p:cNvPr id="43" name="AutoShape 43"/>
          <p:cNvSpPr/>
          <p:nvPr/>
        </p:nvSpPr>
        <p:spPr>
          <a:xfrm>
            <a:off x="5781679" y="3035181"/>
            <a:ext cx="1488295" cy="0"/>
          </a:xfrm>
          <a:prstGeom prst="line">
            <a:avLst/>
          </a:prstGeom>
          <a:ln w="38100" cap="flat">
            <a:solidFill>
              <a:srgbClr val="000000"/>
            </a:solidFill>
            <a:prstDash val="solid"/>
            <a:headEnd type="none" w="sm" len="sm"/>
            <a:tailEnd type="none" w="sm" len="sm"/>
          </a:ln>
        </p:spPr>
      </p:sp>
      <p:sp>
        <p:nvSpPr>
          <p:cNvPr id="44" name="AutoShape 44"/>
          <p:cNvSpPr/>
          <p:nvPr/>
        </p:nvSpPr>
        <p:spPr>
          <a:xfrm flipV="1">
            <a:off x="6835506" y="1476486"/>
            <a:ext cx="0" cy="570703"/>
          </a:xfrm>
          <a:prstGeom prst="line">
            <a:avLst/>
          </a:prstGeom>
          <a:ln w="38100" cap="flat">
            <a:solidFill>
              <a:srgbClr val="FFFFFF"/>
            </a:solidFill>
            <a:prstDash val="solid"/>
            <a:headEnd type="none" w="sm" len="sm"/>
            <a:tailEnd type="none" w="sm" len="sm"/>
          </a:ln>
        </p:spPr>
      </p:sp>
      <p:grpSp>
        <p:nvGrpSpPr>
          <p:cNvPr id="45" name="Group 45"/>
          <p:cNvGrpSpPr/>
          <p:nvPr/>
        </p:nvGrpSpPr>
        <p:grpSpPr>
          <a:xfrm>
            <a:off x="5736730" y="4759555"/>
            <a:ext cx="5457846" cy="946267"/>
            <a:chOff x="0" y="0"/>
            <a:chExt cx="2156186" cy="373834"/>
          </a:xfrm>
        </p:grpSpPr>
        <p:sp>
          <p:nvSpPr>
            <p:cNvPr id="46" name="Freeform 46"/>
            <p:cNvSpPr/>
            <p:nvPr/>
          </p:nvSpPr>
          <p:spPr>
            <a:xfrm>
              <a:off x="0" y="0"/>
              <a:ext cx="2156186" cy="373834"/>
            </a:xfrm>
            <a:custGeom>
              <a:avLst/>
              <a:gdLst/>
              <a:ahLst/>
              <a:cxnLst/>
              <a:rect l="l" t="t" r="r" b="b"/>
              <a:pathLst>
                <a:path w="2156186" h="373834">
                  <a:moveTo>
                    <a:pt x="28370" y="0"/>
                  </a:moveTo>
                  <a:lnTo>
                    <a:pt x="2127816" y="0"/>
                  </a:lnTo>
                  <a:cubicBezTo>
                    <a:pt x="2143484" y="0"/>
                    <a:pt x="2156186" y="12702"/>
                    <a:pt x="2156186" y="28370"/>
                  </a:cubicBezTo>
                  <a:lnTo>
                    <a:pt x="2156186" y="345464"/>
                  </a:lnTo>
                  <a:cubicBezTo>
                    <a:pt x="2156186" y="361132"/>
                    <a:pt x="2143484" y="373834"/>
                    <a:pt x="2127816" y="373834"/>
                  </a:cubicBezTo>
                  <a:lnTo>
                    <a:pt x="28370" y="373834"/>
                  </a:lnTo>
                  <a:cubicBezTo>
                    <a:pt x="12702" y="373834"/>
                    <a:pt x="0" y="361132"/>
                    <a:pt x="0" y="345464"/>
                  </a:cubicBezTo>
                  <a:lnTo>
                    <a:pt x="0" y="28370"/>
                  </a:lnTo>
                  <a:cubicBezTo>
                    <a:pt x="0" y="12702"/>
                    <a:pt x="12702" y="0"/>
                    <a:pt x="28370" y="0"/>
                  </a:cubicBezTo>
                  <a:close/>
                </a:path>
              </a:pathLst>
            </a:custGeom>
            <a:solidFill>
              <a:srgbClr val="0CC0DF"/>
            </a:solidFill>
          </p:spPr>
        </p:sp>
        <p:sp>
          <p:nvSpPr>
            <p:cNvPr id="47" name="TextBox 47"/>
            <p:cNvSpPr txBox="1"/>
            <p:nvPr/>
          </p:nvSpPr>
          <p:spPr>
            <a:xfrm>
              <a:off x="0" y="-38100"/>
              <a:ext cx="2156186" cy="411934"/>
            </a:xfrm>
            <a:prstGeom prst="rect">
              <a:avLst/>
            </a:prstGeom>
          </p:spPr>
          <p:txBody>
            <a:bodyPr lIns="33867" tIns="33867" rIns="33867" bIns="33867" rtlCol="0" anchor="ctr"/>
            <a:lstStyle/>
            <a:p>
              <a:pPr algn="ctr">
                <a:lnSpc>
                  <a:spcPts val="1882"/>
                </a:lnSpc>
              </a:pPr>
              <a:endParaRPr sz="800"/>
            </a:p>
          </p:txBody>
        </p:sp>
      </p:grpSp>
      <p:grpSp>
        <p:nvGrpSpPr>
          <p:cNvPr id="48" name="Group 48"/>
          <p:cNvGrpSpPr/>
          <p:nvPr/>
        </p:nvGrpSpPr>
        <p:grpSpPr>
          <a:xfrm>
            <a:off x="851889" y="4253985"/>
            <a:ext cx="3787056" cy="782540"/>
            <a:chOff x="0" y="0"/>
            <a:chExt cx="1290616" cy="266687"/>
          </a:xfrm>
        </p:grpSpPr>
        <p:sp>
          <p:nvSpPr>
            <p:cNvPr id="49" name="Freeform 49"/>
            <p:cNvSpPr/>
            <p:nvPr/>
          </p:nvSpPr>
          <p:spPr>
            <a:xfrm>
              <a:off x="0" y="0"/>
              <a:ext cx="1290616" cy="266687"/>
            </a:xfrm>
            <a:custGeom>
              <a:avLst/>
              <a:gdLst/>
              <a:ahLst/>
              <a:cxnLst/>
              <a:rect l="l" t="t" r="r" b="b"/>
              <a:pathLst>
                <a:path w="1290616" h="266687">
                  <a:moveTo>
                    <a:pt x="27257" y="0"/>
                  </a:moveTo>
                  <a:lnTo>
                    <a:pt x="1263358" y="0"/>
                  </a:lnTo>
                  <a:cubicBezTo>
                    <a:pt x="1270587" y="0"/>
                    <a:pt x="1277520" y="2872"/>
                    <a:pt x="1282632" y="7984"/>
                  </a:cubicBezTo>
                  <a:cubicBezTo>
                    <a:pt x="1287744" y="13095"/>
                    <a:pt x="1290616" y="20028"/>
                    <a:pt x="1290616" y="27257"/>
                  </a:cubicBezTo>
                  <a:lnTo>
                    <a:pt x="1290616" y="239430"/>
                  </a:lnTo>
                  <a:cubicBezTo>
                    <a:pt x="1290616" y="254483"/>
                    <a:pt x="1278412" y="266687"/>
                    <a:pt x="1263358" y="266687"/>
                  </a:cubicBezTo>
                  <a:lnTo>
                    <a:pt x="27257" y="266687"/>
                  </a:lnTo>
                  <a:cubicBezTo>
                    <a:pt x="12204" y="266687"/>
                    <a:pt x="0" y="254483"/>
                    <a:pt x="0" y="239430"/>
                  </a:cubicBezTo>
                  <a:lnTo>
                    <a:pt x="0" y="27257"/>
                  </a:lnTo>
                  <a:cubicBezTo>
                    <a:pt x="0" y="12204"/>
                    <a:pt x="12204" y="0"/>
                    <a:pt x="27257" y="0"/>
                  </a:cubicBezTo>
                  <a:close/>
                </a:path>
              </a:pathLst>
            </a:custGeom>
            <a:solidFill>
              <a:srgbClr val="FFFFFF"/>
            </a:solidFill>
            <a:ln w="57150" cap="sq">
              <a:solidFill>
                <a:srgbClr val="4373A4"/>
              </a:solidFill>
              <a:prstDash val="solid"/>
              <a:miter/>
            </a:ln>
          </p:spPr>
        </p:sp>
        <p:sp>
          <p:nvSpPr>
            <p:cNvPr id="50" name="TextBox 50"/>
            <p:cNvSpPr txBox="1"/>
            <p:nvPr/>
          </p:nvSpPr>
          <p:spPr>
            <a:xfrm>
              <a:off x="0" y="-38100"/>
              <a:ext cx="1290616" cy="304787"/>
            </a:xfrm>
            <a:prstGeom prst="rect">
              <a:avLst/>
            </a:prstGeom>
          </p:spPr>
          <p:txBody>
            <a:bodyPr lIns="33867" tIns="33867" rIns="33867" bIns="33867" rtlCol="0" anchor="ctr"/>
            <a:lstStyle/>
            <a:p>
              <a:pPr algn="ctr">
                <a:lnSpc>
                  <a:spcPts val="1882"/>
                </a:lnSpc>
              </a:pPr>
              <a:endParaRPr sz="800"/>
            </a:p>
          </p:txBody>
        </p:sp>
      </p:grpSp>
      <p:sp>
        <p:nvSpPr>
          <p:cNvPr id="51" name="AutoShape 51"/>
          <p:cNvSpPr/>
          <p:nvPr/>
        </p:nvSpPr>
        <p:spPr>
          <a:xfrm flipV="1">
            <a:off x="6885809" y="4961955"/>
            <a:ext cx="0" cy="570703"/>
          </a:xfrm>
          <a:prstGeom prst="line">
            <a:avLst/>
          </a:prstGeom>
          <a:ln w="38100" cap="flat">
            <a:solidFill>
              <a:srgbClr val="FFFFFF"/>
            </a:solidFill>
            <a:prstDash val="solid"/>
            <a:headEnd type="none" w="sm" len="sm"/>
            <a:tailEnd type="none" w="sm" len="sm"/>
          </a:ln>
        </p:spPr>
      </p:sp>
      <p:sp>
        <p:nvSpPr>
          <p:cNvPr id="52" name="Freeform 52"/>
          <p:cNvSpPr/>
          <p:nvPr/>
        </p:nvSpPr>
        <p:spPr>
          <a:xfrm>
            <a:off x="5938141" y="3342308"/>
            <a:ext cx="820847" cy="421710"/>
          </a:xfrm>
          <a:custGeom>
            <a:avLst/>
            <a:gdLst/>
            <a:ahLst/>
            <a:cxnLst/>
            <a:rect l="l" t="t" r="r" b="b"/>
            <a:pathLst>
              <a:path w="1231270" h="632565">
                <a:moveTo>
                  <a:pt x="0" y="0"/>
                </a:moveTo>
                <a:lnTo>
                  <a:pt x="1231270" y="0"/>
                </a:lnTo>
                <a:lnTo>
                  <a:pt x="1231270" y="632565"/>
                </a:lnTo>
                <a:lnTo>
                  <a:pt x="0" y="632565"/>
                </a:lnTo>
                <a:lnTo>
                  <a:pt x="0" y="0"/>
                </a:lnTo>
                <a:close/>
              </a:path>
            </a:pathLst>
          </a:custGeom>
          <a:blipFill>
            <a:blip r:embed="rId13"/>
            <a:stretch>
              <a:fillRect/>
            </a:stretch>
          </a:blipFill>
        </p:spPr>
      </p:sp>
      <p:sp>
        <p:nvSpPr>
          <p:cNvPr id="53" name="Freeform 53"/>
          <p:cNvSpPr/>
          <p:nvPr/>
        </p:nvSpPr>
        <p:spPr>
          <a:xfrm>
            <a:off x="5926044" y="2124552"/>
            <a:ext cx="763412" cy="698522"/>
          </a:xfrm>
          <a:custGeom>
            <a:avLst/>
            <a:gdLst/>
            <a:ahLst/>
            <a:cxnLst/>
            <a:rect l="l" t="t" r="r" b="b"/>
            <a:pathLst>
              <a:path w="1145118" h="1047783">
                <a:moveTo>
                  <a:pt x="0" y="0"/>
                </a:moveTo>
                <a:lnTo>
                  <a:pt x="1145118" y="0"/>
                </a:lnTo>
                <a:lnTo>
                  <a:pt x="1145118" y="1047783"/>
                </a:lnTo>
                <a:lnTo>
                  <a:pt x="0" y="1047783"/>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sp>
      <p:sp>
        <p:nvSpPr>
          <p:cNvPr id="54" name="Freeform 54"/>
          <p:cNvSpPr/>
          <p:nvPr/>
        </p:nvSpPr>
        <p:spPr>
          <a:xfrm>
            <a:off x="6437166" y="2180450"/>
            <a:ext cx="252290" cy="252290"/>
          </a:xfrm>
          <a:custGeom>
            <a:avLst/>
            <a:gdLst/>
            <a:ahLst/>
            <a:cxnLst/>
            <a:rect l="l" t="t" r="r" b="b"/>
            <a:pathLst>
              <a:path w="378435" h="378435">
                <a:moveTo>
                  <a:pt x="0" y="0"/>
                </a:moveTo>
                <a:lnTo>
                  <a:pt x="378435" y="0"/>
                </a:lnTo>
                <a:lnTo>
                  <a:pt x="378435" y="378435"/>
                </a:lnTo>
                <a:lnTo>
                  <a:pt x="0" y="378435"/>
                </a:lnTo>
                <a:lnTo>
                  <a:pt x="0" y="0"/>
                </a:lnTo>
                <a:close/>
              </a:path>
            </a:pathLst>
          </a:custGeom>
          <a:blipFill>
            <a:blip r:embed="rId16">
              <a:extLst>
                <a:ext uri="{96DAC541-7B7A-43D3-8B79-37D633B846F1}">
                  <asvg:svgBlip xmlns:asvg="http://schemas.microsoft.com/office/drawing/2016/SVG/main" r:embed="rId17"/>
                </a:ext>
              </a:extLst>
            </a:blip>
            <a:stretch>
              <a:fillRect/>
            </a:stretch>
          </a:blipFill>
        </p:spPr>
      </p:sp>
      <p:sp>
        <p:nvSpPr>
          <p:cNvPr id="55" name="Freeform 55"/>
          <p:cNvSpPr/>
          <p:nvPr/>
        </p:nvSpPr>
        <p:spPr>
          <a:xfrm>
            <a:off x="5997258" y="390833"/>
            <a:ext cx="620985" cy="589935"/>
          </a:xfrm>
          <a:custGeom>
            <a:avLst/>
            <a:gdLst/>
            <a:ahLst/>
            <a:cxnLst/>
            <a:rect l="l" t="t" r="r" b="b"/>
            <a:pathLst>
              <a:path w="931477" h="884903">
                <a:moveTo>
                  <a:pt x="0" y="0"/>
                </a:moveTo>
                <a:lnTo>
                  <a:pt x="931477" y="0"/>
                </a:lnTo>
                <a:lnTo>
                  <a:pt x="931477" y="884904"/>
                </a:lnTo>
                <a:lnTo>
                  <a:pt x="0" y="884904"/>
                </a:lnTo>
                <a:lnTo>
                  <a:pt x="0" y="0"/>
                </a:lnTo>
                <a:close/>
              </a:path>
            </a:pathLst>
          </a:custGeom>
          <a:blipFill>
            <a:blip r:embed="rId18">
              <a:extLst>
                <a:ext uri="{96DAC541-7B7A-43D3-8B79-37D633B846F1}">
                  <asvg:svgBlip xmlns:asvg="http://schemas.microsoft.com/office/drawing/2016/SVG/main" r:embed="rId19"/>
                </a:ext>
              </a:extLst>
            </a:blip>
            <a:stretch>
              <a:fillRect/>
            </a:stretch>
          </a:blipFill>
        </p:spPr>
      </p:sp>
      <p:sp>
        <p:nvSpPr>
          <p:cNvPr id="56" name="Freeform 56"/>
          <p:cNvSpPr/>
          <p:nvPr/>
        </p:nvSpPr>
        <p:spPr>
          <a:xfrm>
            <a:off x="6087852" y="3993165"/>
            <a:ext cx="521426" cy="613443"/>
          </a:xfrm>
          <a:custGeom>
            <a:avLst/>
            <a:gdLst/>
            <a:ahLst/>
            <a:cxnLst/>
            <a:rect l="l" t="t" r="r" b="b"/>
            <a:pathLst>
              <a:path w="782139" h="920164">
                <a:moveTo>
                  <a:pt x="0" y="0"/>
                </a:moveTo>
                <a:lnTo>
                  <a:pt x="782139" y="0"/>
                </a:lnTo>
                <a:lnTo>
                  <a:pt x="782139" y="920164"/>
                </a:lnTo>
                <a:lnTo>
                  <a:pt x="0" y="920164"/>
                </a:lnTo>
                <a:lnTo>
                  <a:pt x="0" y="0"/>
                </a:lnTo>
                <a:close/>
              </a:path>
            </a:pathLst>
          </a:custGeom>
          <a:blipFill>
            <a:blip r:embed="rId20">
              <a:extLst>
                <a:ext uri="{96DAC541-7B7A-43D3-8B79-37D633B846F1}">
                  <asvg:svgBlip xmlns:asvg="http://schemas.microsoft.com/office/drawing/2016/SVG/main" r:embed="rId21"/>
                </a:ext>
              </a:extLst>
            </a:blip>
            <a:stretch>
              <a:fillRect/>
            </a:stretch>
          </a:blipFill>
        </p:spPr>
      </p:sp>
      <p:sp>
        <p:nvSpPr>
          <p:cNvPr id="57" name="Freeform 57"/>
          <p:cNvSpPr/>
          <p:nvPr/>
        </p:nvSpPr>
        <p:spPr>
          <a:xfrm>
            <a:off x="6033709" y="4873855"/>
            <a:ext cx="678252" cy="674861"/>
          </a:xfrm>
          <a:custGeom>
            <a:avLst/>
            <a:gdLst/>
            <a:ahLst/>
            <a:cxnLst/>
            <a:rect l="l" t="t" r="r" b="b"/>
            <a:pathLst>
              <a:path w="1017378" h="1012291">
                <a:moveTo>
                  <a:pt x="0" y="0"/>
                </a:moveTo>
                <a:lnTo>
                  <a:pt x="1017378" y="0"/>
                </a:lnTo>
                <a:lnTo>
                  <a:pt x="1017378" y="1012292"/>
                </a:lnTo>
                <a:lnTo>
                  <a:pt x="0" y="1012292"/>
                </a:lnTo>
                <a:lnTo>
                  <a:pt x="0" y="0"/>
                </a:lnTo>
                <a:close/>
              </a:path>
            </a:pathLst>
          </a:custGeom>
          <a:blipFill>
            <a:blip r:embed="rId22">
              <a:extLst>
                <a:ext uri="{96DAC541-7B7A-43D3-8B79-37D633B846F1}">
                  <asvg:svgBlip xmlns:asvg="http://schemas.microsoft.com/office/drawing/2016/SVG/main" r:embed="rId23"/>
                </a:ext>
              </a:extLst>
            </a:blip>
            <a:stretch>
              <a:fillRect/>
            </a:stretch>
          </a:blipFill>
        </p:spPr>
      </p:sp>
      <p:sp>
        <p:nvSpPr>
          <p:cNvPr id="58" name="Freeform 58"/>
          <p:cNvSpPr/>
          <p:nvPr/>
        </p:nvSpPr>
        <p:spPr>
          <a:xfrm>
            <a:off x="5910873" y="1436612"/>
            <a:ext cx="490824" cy="529191"/>
          </a:xfrm>
          <a:custGeom>
            <a:avLst/>
            <a:gdLst/>
            <a:ahLst/>
            <a:cxnLst/>
            <a:rect l="l" t="t" r="r" b="b"/>
            <a:pathLst>
              <a:path w="736236" h="793786">
                <a:moveTo>
                  <a:pt x="0" y="0"/>
                </a:moveTo>
                <a:lnTo>
                  <a:pt x="736237" y="0"/>
                </a:lnTo>
                <a:lnTo>
                  <a:pt x="736237" y="793785"/>
                </a:lnTo>
                <a:lnTo>
                  <a:pt x="0" y="793785"/>
                </a:lnTo>
                <a:lnTo>
                  <a:pt x="0" y="0"/>
                </a:lnTo>
                <a:close/>
              </a:path>
            </a:pathLst>
          </a:custGeom>
          <a:blipFill>
            <a:blip r:embed="rId24">
              <a:extLst>
                <a:ext uri="{96DAC541-7B7A-43D3-8B79-37D633B846F1}">
                  <asvg:svgBlip xmlns:asvg="http://schemas.microsoft.com/office/drawing/2016/SVG/main" r:embed="rId25"/>
                </a:ext>
              </a:extLst>
            </a:blip>
            <a:stretch>
              <a:fillRect/>
            </a:stretch>
          </a:blipFill>
        </p:spPr>
      </p:sp>
      <p:sp>
        <p:nvSpPr>
          <p:cNvPr id="59" name="TextBox 59"/>
          <p:cNvSpPr txBox="1"/>
          <p:nvPr/>
        </p:nvSpPr>
        <p:spPr>
          <a:xfrm>
            <a:off x="6930259" y="1401087"/>
            <a:ext cx="4080559" cy="715581"/>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Develop equitable and inclusive unit policies consistent with the 2022 American Academy of Pediatrics safe sleep recommendations </a:t>
            </a:r>
            <a:endParaRPr lang="en-US" sz="1344" spc="43">
              <a:solidFill>
                <a:srgbClr val="FFFFFF"/>
              </a:solidFill>
              <a:latin typeface="Barlow Semi-Bold"/>
            </a:endParaRPr>
          </a:p>
        </p:txBody>
      </p:sp>
      <p:sp>
        <p:nvSpPr>
          <p:cNvPr id="60" name="Freeform 60"/>
          <p:cNvSpPr/>
          <p:nvPr/>
        </p:nvSpPr>
        <p:spPr>
          <a:xfrm>
            <a:off x="6156286" y="1639136"/>
            <a:ext cx="333017" cy="333017"/>
          </a:xfrm>
          <a:custGeom>
            <a:avLst/>
            <a:gdLst/>
            <a:ahLst/>
            <a:cxnLst/>
            <a:rect l="l" t="t" r="r" b="b"/>
            <a:pathLst>
              <a:path w="499525" h="499525">
                <a:moveTo>
                  <a:pt x="0" y="0"/>
                </a:moveTo>
                <a:lnTo>
                  <a:pt x="499525" y="0"/>
                </a:lnTo>
                <a:lnTo>
                  <a:pt x="499525" y="499524"/>
                </a:lnTo>
                <a:lnTo>
                  <a:pt x="0" y="499524"/>
                </a:lnTo>
                <a:lnTo>
                  <a:pt x="0" y="0"/>
                </a:lnTo>
                <a:close/>
              </a:path>
            </a:pathLst>
          </a:custGeom>
          <a:blipFill>
            <a:blip r:embed="rId26">
              <a:extLst>
                <a:ext uri="{96DAC541-7B7A-43D3-8B79-37D633B846F1}">
                  <asvg:svgBlip xmlns:asvg="http://schemas.microsoft.com/office/drawing/2016/SVG/main" r:embed="rId27"/>
                </a:ext>
              </a:extLst>
            </a:blip>
            <a:stretch>
              <a:fillRect/>
            </a:stretch>
          </a:blipFill>
        </p:spPr>
      </p:sp>
      <p:sp>
        <p:nvSpPr>
          <p:cNvPr id="61" name="Freeform 61"/>
          <p:cNvSpPr/>
          <p:nvPr/>
        </p:nvSpPr>
        <p:spPr>
          <a:xfrm>
            <a:off x="6156285" y="1607228"/>
            <a:ext cx="555676" cy="381333"/>
          </a:xfrm>
          <a:custGeom>
            <a:avLst/>
            <a:gdLst/>
            <a:ahLst/>
            <a:cxnLst/>
            <a:rect l="l" t="t" r="r" b="b"/>
            <a:pathLst>
              <a:path w="833514" h="571999">
                <a:moveTo>
                  <a:pt x="0" y="0"/>
                </a:moveTo>
                <a:lnTo>
                  <a:pt x="833514" y="0"/>
                </a:lnTo>
                <a:lnTo>
                  <a:pt x="833514" y="571998"/>
                </a:lnTo>
                <a:lnTo>
                  <a:pt x="0" y="571998"/>
                </a:lnTo>
                <a:lnTo>
                  <a:pt x="0" y="0"/>
                </a:lnTo>
                <a:close/>
              </a:path>
            </a:pathLst>
          </a:custGeom>
          <a:blipFill>
            <a:blip r:embed="rId28">
              <a:extLst>
                <a:ext uri="{96DAC541-7B7A-43D3-8B79-37D633B846F1}">
                  <asvg:svgBlip xmlns:asvg="http://schemas.microsoft.com/office/drawing/2016/SVG/main" r:embed="rId29"/>
                </a:ext>
              </a:extLst>
            </a:blip>
            <a:stretch>
              <a:fillRect/>
            </a:stretch>
          </a:blipFill>
        </p:spPr>
      </p:sp>
      <p:sp>
        <p:nvSpPr>
          <p:cNvPr id="62" name="TextBox 62"/>
          <p:cNvSpPr txBox="1"/>
          <p:nvPr/>
        </p:nvSpPr>
        <p:spPr>
          <a:xfrm>
            <a:off x="417554" y="2947834"/>
            <a:ext cx="2943831" cy="1115690"/>
          </a:xfrm>
          <a:prstGeom prst="rect">
            <a:avLst/>
          </a:prstGeom>
        </p:spPr>
        <p:txBody>
          <a:bodyPr wrap="square" lIns="0" tIns="0" rIns="0" bIns="0" rtlCol="0" anchor="t">
            <a:spAutoFit/>
          </a:bodyPr>
          <a:lstStyle/>
          <a:p>
            <a:pPr>
              <a:lnSpc>
                <a:spcPts val="2868"/>
              </a:lnSpc>
            </a:pPr>
            <a:r>
              <a:rPr lang="en-US" sz="2000" b="1" spc="86" dirty="0">
                <a:solidFill>
                  <a:srgbClr val="000000"/>
                </a:solidFill>
                <a:latin typeface="Barlow Bold"/>
              </a:rPr>
              <a:t>DRIVER 2: </a:t>
            </a:r>
          </a:p>
          <a:p>
            <a:pPr>
              <a:lnSpc>
                <a:spcPts val="2868"/>
              </a:lnSpc>
            </a:pPr>
            <a:r>
              <a:rPr lang="en-US" sz="2000" b="1" spc="86" dirty="0">
                <a:solidFill>
                  <a:srgbClr val="000000"/>
                </a:solidFill>
                <a:latin typeface="Barlow Bold"/>
              </a:rPr>
              <a:t>INCLUSIVE CLINICAL ENVIRONMENT ​</a:t>
            </a:r>
          </a:p>
        </p:txBody>
      </p:sp>
      <p:sp>
        <p:nvSpPr>
          <p:cNvPr id="63" name="TextBox 63"/>
          <p:cNvSpPr txBox="1"/>
          <p:nvPr/>
        </p:nvSpPr>
        <p:spPr>
          <a:xfrm>
            <a:off x="6926305" y="428630"/>
            <a:ext cx="4084512" cy="471924"/>
          </a:xfrm>
          <a:prstGeom prst="rect">
            <a:avLst/>
          </a:prstGeom>
        </p:spPr>
        <p:txBody>
          <a:bodyPr lIns="0" tIns="0" rIns="0" bIns="0" rtlCol="0" anchor="t">
            <a:spAutoFit/>
          </a:bodyPr>
          <a:lstStyle/>
          <a:p>
            <a:pPr marL="0" lvl="1">
              <a:lnSpc>
                <a:spcPts val="1882"/>
              </a:lnSpc>
              <a:spcBef>
                <a:spcPct val="0"/>
              </a:spcBef>
            </a:pPr>
            <a:r>
              <a:rPr lang="en-US" sz="1300" b="1" spc="43" dirty="0">
                <a:solidFill>
                  <a:srgbClr val="FFFFFF"/>
                </a:solidFill>
                <a:latin typeface="Barlow Semi-Bold"/>
              </a:rPr>
              <a:t>Obtain organizational leadership commitment to equitable and respectful healthcare delivery  </a:t>
            </a:r>
            <a:endParaRPr lang="en-US" sz="1344" spc="43" dirty="0">
              <a:solidFill>
                <a:srgbClr val="FFFFFF"/>
              </a:solidFill>
              <a:latin typeface="Barlow Semi-Bold"/>
            </a:endParaRPr>
          </a:p>
        </p:txBody>
      </p:sp>
      <p:sp>
        <p:nvSpPr>
          <p:cNvPr id="64" name="TextBox 64"/>
          <p:cNvSpPr txBox="1"/>
          <p:nvPr/>
        </p:nvSpPr>
        <p:spPr>
          <a:xfrm>
            <a:off x="6978802" y="3302867"/>
            <a:ext cx="3770521" cy="471924"/>
          </a:xfrm>
          <a:prstGeom prst="rect">
            <a:avLst/>
          </a:prstGeom>
        </p:spPr>
        <p:txBody>
          <a:bodyPr lIns="0" tIns="0" rIns="0" bIns="0" rtlCol="0" anchor="t">
            <a:spAutoFit/>
          </a:bodyPr>
          <a:lstStyle/>
          <a:p>
            <a:pPr marL="0" lvl="1">
              <a:lnSpc>
                <a:spcPts val="1882"/>
              </a:lnSpc>
              <a:spcBef>
                <a:spcPct val="0"/>
              </a:spcBef>
            </a:pPr>
            <a:r>
              <a:rPr lang="en-US" sz="1300" b="1" spc="43" dirty="0">
                <a:solidFill>
                  <a:srgbClr val="FFFFFF"/>
                </a:solidFill>
                <a:latin typeface="Barlow Semi-Bold"/>
              </a:rPr>
              <a:t>Use qualified interpreters and provide information in multiple languages </a:t>
            </a:r>
            <a:endParaRPr lang="en-US" sz="1344" spc="43" dirty="0">
              <a:solidFill>
                <a:srgbClr val="FFFFFF"/>
              </a:solidFill>
              <a:latin typeface="Barlow Semi-Bold"/>
            </a:endParaRPr>
          </a:p>
        </p:txBody>
      </p:sp>
      <p:sp>
        <p:nvSpPr>
          <p:cNvPr id="65" name="TextBox 65"/>
          <p:cNvSpPr txBox="1"/>
          <p:nvPr/>
        </p:nvSpPr>
        <p:spPr>
          <a:xfrm>
            <a:off x="851889" y="415930"/>
            <a:ext cx="3454879"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1: Organizational Leadership Commitment  </a:t>
            </a:r>
          </a:p>
        </p:txBody>
      </p:sp>
      <p:sp>
        <p:nvSpPr>
          <p:cNvPr id="66" name="TextBox 66"/>
          <p:cNvSpPr txBox="1"/>
          <p:nvPr/>
        </p:nvSpPr>
        <p:spPr>
          <a:xfrm>
            <a:off x="715243" y="1831164"/>
            <a:ext cx="3787056"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2: Equitable and Inclusive Unit Policies </a:t>
            </a:r>
          </a:p>
        </p:txBody>
      </p:sp>
      <p:sp>
        <p:nvSpPr>
          <p:cNvPr id="67" name="TextBox 67"/>
          <p:cNvSpPr txBox="1"/>
          <p:nvPr/>
        </p:nvSpPr>
        <p:spPr>
          <a:xfrm>
            <a:off x="6978801" y="2230538"/>
            <a:ext cx="3979519" cy="471924"/>
          </a:xfrm>
          <a:prstGeom prst="rect">
            <a:avLst/>
          </a:prstGeom>
        </p:spPr>
        <p:txBody>
          <a:bodyPr lIns="0" tIns="0" rIns="0" bIns="0" rtlCol="0" anchor="t">
            <a:spAutoFit/>
          </a:bodyPr>
          <a:lstStyle/>
          <a:p>
            <a:pPr marL="0" lvl="1">
              <a:lnSpc>
                <a:spcPts val="1882"/>
              </a:lnSpc>
              <a:spcBef>
                <a:spcPct val="0"/>
              </a:spcBef>
            </a:pPr>
            <a:r>
              <a:rPr lang="en-US" sz="1300" b="1" spc="43" dirty="0">
                <a:solidFill>
                  <a:srgbClr val="FFFFFF"/>
                </a:solidFill>
                <a:latin typeface="Barlow Semi-Bold"/>
              </a:rPr>
              <a:t>Examine all unit policies with an equity lens and make necessary changes </a:t>
            </a:r>
            <a:endParaRPr lang="en-US" sz="1344" spc="43" dirty="0">
              <a:solidFill>
                <a:srgbClr val="FFFFFF"/>
              </a:solidFill>
              <a:latin typeface="Barlow Semi-Bold"/>
            </a:endParaRPr>
          </a:p>
        </p:txBody>
      </p:sp>
      <p:sp>
        <p:nvSpPr>
          <p:cNvPr id="68" name="TextBox 68"/>
          <p:cNvSpPr txBox="1"/>
          <p:nvPr/>
        </p:nvSpPr>
        <p:spPr>
          <a:xfrm>
            <a:off x="851889" y="4350159"/>
            <a:ext cx="3787056"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3: Parent and Caregiver Experience Prioritization </a:t>
            </a:r>
          </a:p>
        </p:txBody>
      </p:sp>
      <p:sp>
        <p:nvSpPr>
          <p:cNvPr id="69" name="TextBox 69"/>
          <p:cNvSpPr txBox="1"/>
          <p:nvPr/>
        </p:nvSpPr>
        <p:spPr>
          <a:xfrm>
            <a:off x="6969437" y="4013478"/>
            <a:ext cx="4043690" cy="470385"/>
          </a:xfrm>
          <a:prstGeom prst="rect">
            <a:avLst/>
          </a:prstGeom>
        </p:spPr>
        <p:txBody>
          <a:bodyPr wrap="square" lIns="0" tIns="0" rIns="0" bIns="0" rtlCol="0" anchor="t">
            <a:spAutoFit/>
          </a:bodyPr>
          <a:lstStyle/>
          <a:p>
            <a:pPr marL="0" lvl="1">
              <a:lnSpc>
                <a:spcPts val="1882"/>
              </a:lnSpc>
              <a:spcBef>
                <a:spcPct val="0"/>
              </a:spcBef>
            </a:pPr>
            <a:r>
              <a:rPr lang="en-US" sz="1300" b="1" spc="43">
                <a:solidFill>
                  <a:srgbClr val="FFFFFF"/>
                </a:solidFill>
                <a:latin typeface="Barlow Semi-Bold"/>
              </a:rPr>
              <a:t>Encourage your unit to highlight data, stories, and strategies pertaining to racial equity </a:t>
            </a:r>
            <a:endParaRPr lang="en-US" sz="1344" spc="43">
              <a:solidFill>
                <a:srgbClr val="FFFFFF"/>
              </a:solidFill>
              <a:latin typeface="Barlow Semi-Bold"/>
            </a:endParaRPr>
          </a:p>
        </p:txBody>
      </p:sp>
      <p:sp>
        <p:nvSpPr>
          <p:cNvPr id="70" name="TextBox 70"/>
          <p:cNvSpPr txBox="1"/>
          <p:nvPr/>
        </p:nvSpPr>
        <p:spPr>
          <a:xfrm>
            <a:off x="6978802" y="4886555"/>
            <a:ext cx="4264317" cy="715581"/>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Obtain hospital experience feedback from parent and caregivers; develop a process to review and share feedback with providers, nurses, other staff </a:t>
            </a:r>
            <a:endParaRPr lang="en-US" sz="1344" spc="43">
              <a:solidFill>
                <a:srgbClr val="FFFFFF"/>
              </a:solidFill>
              <a:latin typeface="Barlow Semi-Bold"/>
            </a:endParaRPr>
          </a:p>
        </p:txBody>
      </p:sp>
      <p:cxnSp>
        <p:nvCxnSpPr>
          <p:cNvPr id="72" name="Straight Arrow Connector 71">
            <a:extLst>
              <a:ext uri="{FF2B5EF4-FFF2-40B4-BE49-F238E27FC236}">
                <a16:creationId xmlns:a16="http://schemas.microsoft.com/office/drawing/2014/main" id="{9DABEE7E-8BD3-4674-2C98-8E4DD5FD2BA4}"/>
              </a:ext>
            </a:extLst>
          </p:cNvPr>
          <p:cNvCxnSpPr>
            <a:cxnSpLocks/>
          </p:cNvCxnSpPr>
          <p:nvPr/>
        </p:nvCxnSpPr>
        <p:spPr>
          <a:xfrm flipV="1">
            <a:off x="4503336" y="733464"/>
            <a:ext cx="1206324" cy="40757"/>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BEC4BABB-43C9-9000-ED55-9524836704C3}"/>
              </a:ext>
            </a:extLst>
          </p:cNvPr>
          <p:cNvCxnSpPr>
            <a:cxnSpLocks/>
          </p:cNvCxnSpPr>
          <p:nvPr/>
        </p:nvCxnSpPr>
        <p:spPr>
          <a:xfrm flipV="1">
            <a:off x="4514380" y="1694247"/>
            <a:ext cx="1173194" cy="537713"/>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144ECC94-4093-ABB7-73BA-06FC54548E83}"/>
              </a:ext>
            </a:extLst>
          </p:cNvPr>
          <p:cNvCxnSpPr>
            <a:cxnSpLocks/>
          </p:cNvCxnSpPr>
          <p:nvPr/>
        </p:nvCxnSpPr>
        <p:spPr>
          <a:xfrm>
            <a:off x="4525423" y="2231960"/>
            <a:ext cx="1250498" cy="290547"/>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8982FD92-CD8A-7CA9-6F98-CE88B54846B1}"/>
              </a:ext>
            </a:extLst>
          </p:cNvPr>
          <p:cNvCxnSpPr>
            <a:cxnSpLocks/>
          </p:cNvCxnSpPr>
          <p:nvPr/>
        </p:nvCxnSpPr>
        <p:spPr>
          <a:xfrm flipV="1">
            <a:off x="4613771" y="3538507"/>
            <a:ext cx="1140064" cy="1111974"/>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1A989E17-799A-6415-ED4B-A44CCA00B657}"/>
              </a:ext>
            </a:extLst>
          </p:cNvPr>
          <p:cNvSpPr txBox="1"/>
          <p:nvPr/>
        </p:nvSpPr>
        <p:spPr>
          <a:xfrm>
            <a:off x="7354494" y="2833522"/>
            <a:ext cx="2667520" cy="430887"/>
          </a:xfrm>
          <a:prstGeom prst="rect">
            <a:avLst/>
          </a:prstGeom>
          <a:noFill/>
        </p:spPr>
        <p:txBody>
          <a:bodyPr wrap="square" lIns="91440" tIns="45720" rIns="91440" bIns="45720" rtlCol="0" anchor="t">
            <a:spAutoFit/>
          </a:bodyPr>
          <a:lstStyle/>
          <a:p>
            <a:endParaRPr lang="en-US" sz="2200" b="1">
              <a:latin typeface="Arial"/>
              <a:ea typeface="MS PGothic"/>
              <a:cs typeface="Arial"/>
            </a:endParaRPr>
          </a:p>
        </p:txBody>
      </p:sp>
      <p:sp>
        <p:nvSpPr>
          <p:cNvPr id="75" name="TextBox 74">
            <a:extLst>
              <a:ext uri="{FF2B5EF4-FFF2-40B4-BE49-F238E27FC236}">
                <a16:creationId xmlns:a16="http://schemas.microsoft.com/office/drawing/2014/main" id="{20D2DCD7-9B15-FB75-E33B-CECC88A394B8}"/>
              </a:ext>
            </a:extLst>
          </p:cNvPr>
          <p:cNvSpPr txBox="1"/>
          <p:nvPr/>
        </p:nvSpPr>
        <p:spPr>
          <a:xfrm>
            <a:off x="7785816" y="-70705"/>
            <a:ext cx="2667520" cy="461665"/>
          </a:xfrm>
          <a:prstGeom prst="rect">
            <a:avLst/>
          </a:prstGeom>
          <a:noFill/>
        </p:spPr>
        <p:txBody>
          <a:bodyPr wrap="square" lIns="91440" tIns="45720" rIns="91440" bIns="45720" rtlCol="0" anchor="t">
            <a:spAutoFit/>
          </a:bodyPr>
          <a:lstStyle/>
          <a:p>
            <a:r>
              <a:rPr lang="en-US" sz="2400" b="1">
                <a:latin typeface="Arial"/>
                <a:ea typeface="MS PGothic"/>
                <a:cs typeface="Arial"/>
              </a:rPr>
              <a:t>Change Ideas</a:t>
            </a:r>
          </a:p>
        </p:txBody>
      </p:sp>
    </p:spTree>
    <p:extLst>
      <p:ext uri="{BB962C8B-B14F-4D97-AF65-F5344CB8AC3E}">
        <p14:creationId xmlns:p14="http://schemas.microsoft.com/office/powerpoint/2010/main" val="34299408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0" name="Straight Arrow Connector 69">
            <a:extLst>
              <a:ext uri="{FF2B5EF4-FFF2-40B4-BE49-F238E27FC236}">
                <a16:creationId xmlns:a16="http://schemas.microsoft.com/office/drawing/2014/main" id="{FAB1A723-05C8-C0B8-46CD-6CEC5D6BBD04}"/>
              </a:ext>
            </a:extLst>
          </p:cNvPr>
          <p:cNvCxnSpPr>
            <a:cxnSpLocks/>
          </p:cNvCxnSpPr>
          <p:nvPr/>
        </p:nvCxnSpPr>
        <p:spPr>
          <a:xfrm flipV="1">
            <a:off x="4514380" y="1462332"/>
            <a:ext cx="1261541" cy="228496"/>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707187BC-B253-F405-832D-75199CFA7D3B}"/>
              </a:ext>
            </a:extLst>
          </p:cNvPr>
          <p:cNvCxnSpPr>
            <a:cxnSpLocks/>
          </p:cNvCxnSpPr>
          <p:nvPr/>
        </p:nvCxnSpPr>
        <p:spPr>
          <a:xfrm>
            <a:off x="4525423" y="1723959"/>
            <a:ext cx="1250498" cy="389940"/>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 name="Freeform 2"/>
          <p:cNvSpPr/>
          <p:nvPr/>
        </p:nvSpPr>
        <p:spPr>
          <a:xfrm>
            <a:off x="5938142" y="5123272"/>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a:alphaModFix amt="40000"/>
              <a:extLst>
                <a:ext uri="{96DAC541-7B7A-43D3-8B79-37D633B846F1}">
                  <asvg:svgBlip xmlns:asvg="http://schemas.microsoft.com/office/drawing/2016/SVG/main" r:embed="rId3"/>
                </a:ext>
              </a:extLst>
            </a:blip>
            <a:stretch>
              <a:fillRect t="-154842"/>
            </a:stretch>
          </a:blipFill>
        </p:spPr>
      </p:sp>
      <p:sp>
        <p:nvSpPr>
          <p:cNvPr id="3" name="Freeform 3"/>
          <p:cNvSpPr/>
          <p:nvPr/>
        </p:nvSpPr>
        <p:spPr>
          <a:xfrm>
            <a:off x="5938142" y="3743335"/>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a:alphaModFix amt="40000"/>
              <a:extLst>
                <a:ext uri="{96DAC541-7B7A-43D3-8B79-37D633B846F1}">
                  <asvg:svgBlip xmlns:asvg="http://schemas.microsoft.com/office/drawing/2016/SVG/main" r:embed="rId3"/>
                </a:ext>
              </a:extLst>
            </a:blip>
            <a:stretch>
              <a:fillRect t="-154842"/>
            </a:stretch>
          </a:blipFill>
        </p:spPr>
      </p:sp>
      <p:grpSp>
        <p:nvGrpSpPr>
          <p:cNvPr id="4" name="Group 4"/>
          <p:cNvGrpSpPr/>
          <p:nvPr/>
        </p:nvGrpSpPr>
        <p:grpSpPr>
          <a:xfrm>
            <a:off x="5781680" y="1844123"/>
            <a:ext cx="5457846" cy="647694"/>
            <a:chOff x="0" y="0"/>
            <a:chExt cx="2156186" cy="255879"/>
          </a:xfrm>
        </p:grpSpPr>
        <p:sp>
          <p:nvSpPr>
            <p:cNvPr id="5" name="Freeform 5"/>
            <p:cNvSpPr/>
            <p:nvPr/>
          </p:nvSpPr>
          <p:spPr>
            <a:xfrm>
              <a:off x="0" y="0"/>
              <a:ext cx="2156186" cy="255879"/>
            </a:xfrm>
            <a:custGeom>
              <a:avLst/>
              <a:gdLst/>
              <a:ahLst/>
              <a:cxnLst/>
              <a:rect l="l" t="t" r="r" b="b"/>
              <a:pathLst>
                <a:path w="2156186" h="255879">
                  <a:moveTo>
                    <a:pt x="28370" y="0"/>
                  </a:moveTo>
                  <a:lnTo>
                    <a:pt x="2127816" y="0"/>
                  </a:lnTo>
                  <a:cubicBezTo>
                    <a:pt x="2143484" y="0"/>
                    <a:pt x="2156186" y="12702"/>
                    <a:pt x="2156186" y="28370"/>
                  </a:cubicBezTo>
                  <a:lnTo>
                    <a:pt x="2156186" y="227509"/>
                  </a:lnTo>
                  <a:cubicBezTo>
                    <a:pt x="2156186" y="243178"/>
                    <a:pt x="2143484" y="255879"/>
                    <a:pt x="2127816" y="255879"/>
                  </a:cubicBezTo>
                  <a:lnTo>
                    <a:pt x="28370" y="255879"/>
                  </a:lnTo>
                  <a:cubicBezTo>
                    <a:pt x="12702" y="255879"/>
                    <a:pt x="0" y="243178"/>
                    <a:pt x="0" y="227509"/>
                  </a:cubicBezTo>
                  <a:lnTo>
                    <a:pt x="0" y="28370"/>
                  </a:lnTo>
                  <a:cubicBezTo>
                    <a:pt x="0" y="12702"/>
                    <a:pt x="12702" y="0"/>
                    <a:pt x="28370" y="0"/>
                  </a:cubicBezTo>
                  <a:close/>
                </a:path>
              </a:pathLst>
            </a:custGeom>
            <a:solidFill>
              <a:srgbClr val="0CC0DF"/>
            </a:solidFill>
          </p:spPr>
        </p:sp>
        <p:sp>
          <p:nvSpPr>
            <p:cNvPr id="6" name="TextBox 6"/>
            <p:cNvSpPr txBox="1"/>
            <p:nvPr/>
          </p:nvSpPr>
          <p:spPr>
            <a:xfrm>
              <a:off x="0" y="-38100"/>
              <a:ext cx="2156186" cy="293979"/>
            </a:xfrm>
            <a:prstGeom prst="rect">
              <a:avLst/>
            </a:prstGeom>
          </p:spPr>
          <p:txBody>
            <a:bodyPr lIns="33867" tIns="33867" rIns="33867" bIns="33867" rtlCol="0" anchor="ctr"/>
            <a:lstStyle/>
            <a:p>
              <a:pPr algn="ctr">
                <a:lnSpc>
                  <a:spcPts val="1882"/>
                </a:lnSpc>
              </a:pPr>
              <a:endParaRPr sz="800"/>
            </a:p>
          </p:txBody>
        </p:sp>
      </p:grpSp>
      <p:grpSp>
        <p:nvGrpSpPr>
          <p:cNvPr id="7" name="Group 7"/>
          <p:cNvGrpSpPr/>
          <p:nvPr/>
        </p:nvGrpSpPr>
        <p:grpSpPr>
          <a:xfrm>
            <a:off x="5781680" y="1126951"/>
            <a:ext cx="5457846" cy="647694"/>
            <a:chOff x="0" y="0"/>
            <a:chExt cx="2156186" cy="255879"/>
          </a:xfrm>
        </p:grpSpPr>
        <p:sp>
          <p:nvSpPr>
            <p:cNvPr id="8" name="Freeform 8"/>
            <p:cNvSpPr/>
            <p:nvPr/>
          </p:nvSpPr>
          <p:spPr>
            <a:xfrm>
              <a:off x="0" y="0"/>
              <a:ext cx="2156186" cy="255879"/>
            </a:xfrm>
            <a:custGeom>
              <a:avLst/>
              <a:gdLst/>
              <a:ahLst/>
              <a:cxnLst/>
              <a:rect l="l" t="t" r="r" b="b"/>
              <a:pathLst>
                <a:path w="2156186" h="255879">
                  <a:moveTo>
                    <a:pt x="28370" y="0"/>
                  </a:moveTo>
                  <a:lnTo>
                    <a:pt x="2127816" y="0"/>
                  </a:lnTo>
                  <a:cubicBezTo>
                    <a:pt x="2143484" y="0"/>
                    <a:pt x="2156186" y="12702"/>
                    <a:pt x="2156186" y="28370"/>
                  </a:cubicBezTo>
                  <a:lnTo>
                    <a:pt x="2156186" y="227509"/>
                  </a:lnTo>
                  <a:cubicBezTo>
                    <a:pt x="2156186" y="243178"/>
                    <a:pt x="2143484" y="255879"/>
                    <a:pt x="2127816" y="255879"/>
                  </a:cubicBezTo>
                  <a:lnTo>
                    <a:pt x="28370" y="255879"/>
                  </a:lnTo>
                  <a:cubicBezTo>
                    <a:pt x="12702" y="255879"/>
                    <a:pt x="0" y="243178"/>
                    <a:pt x="0" y="227509"/>
                  </a:cubicBezTo>
                  <a:lnTo>
                    <a:pt x="0" y="28370"/>
                  </a:lnTo>
                  <a:cubicBezTo>
                    <a:pt x="0" y="12702"/>
                    <a:pt x="12702" y="0"/>
                    <a:pt x="28370" y="0"/>
                  </a:cubicBezTo>
                  <a:close/>
                </a:path>
              </a:pathLst>
            </a:custGeom>
            <a:solidFill>
              <a:srgbClr val="F94C66"/>
            </a:solidFill>
          </p:spPr>
        </p:sp>
        <p:sp>
          <p:nvSpPr>
            <p:cNvPr id="9" name="TextBox 9"/>
            <p:cNvSpPr txBox="1"/>
            <p:nvPr/>
          </p:nvSpPr>
          <p:spPr>
            <a:xfrm>
              <a:off x="0" y="-38100"/>
              <a:ext cx="2156186" cy="293979"/>
            </a:xfrm>
            <a:prstGeom prst="rect">
              <a:avLst/>
            </a:prstGeom>
          </p:spPr>
          <p:txBody>
            <a:bodyPr lIns="33867" tIns="33867" rIns="33867" bIns="33867" rtlCol="0" anchor="ctr"/>
            <a:lstStyle/>
            <a:p>
              <a:pPr algn="ctr">
                <a:lnSpc>
                  <a:spcPts val="1882"/>
                </a:lnSpc>
              </a:pPr>
              <a:endParaRPr sz="800"/>
            </a:p>
          </p:txBody>
        </p:sp>
      </p:grpSp>
      <p:sp>
        <p:nvSpPr>
          <p:cNvPr id="10" name="AutoShape 10"/>
          <p:cNvSpPr/>
          <p:nvPr/>
        </p:nvSpPr>
        <p:spPr>
          <a:xfrm flipV="1">
            <a:off x="6750219" y="1154810"/>
            <a:ext cx="0" cy="570703"/>
          </a:xfrm>
          <a:prstGeom prst="line">
            <a:avLst/>
          </a:prstGeom>
          <a:ln w="38100" cap="flat">
            <a:solidFill>
              <a:srgbClr val="FFFFFF"/>
            </a:solidFill>
            <a:prstDash val="solid"/>
            <a:headEnd type="none" w="sm" len="sm"/>
            <a:tailEnd type="none" w="sm" len="sm"/>
          </a:ln>
        </p:spPr>
      </p:sp>
      <p:sp>
        <p:nvSpPr>
          <p:cNvPr id="11" name="AutoShape 11"/>
          <p:cNvSpPr/>
          <p:nvPr/>
        </p:nvSpPr>
        <p:spPr>
          <a:xfrm>
            <a:off x="5781679" y="2608669"/>
            <a:ext cx="1488295" cy="0"/>
          </a:xfrm>
          <a:prstGeom prst="line">
            <a:avLst/>
          </a:prstGeom>
          <a:ln w="38100" cap="flat">
            <a:solidFill>
              <a:srgbClr val="000000"/>
            </a:solidFill>
            <a:prstDash val="solid"/>
            <a:headEnd type="none" w="sm" len="sm"/>
            <a:tailEnd type="none" w="sm" len="sm"/>
          </a:ln>
        </p:spPr>
      </p:sp>
      <p:sp>
        <p:nvSpPr>
          <p:cNvPr id="12" name="Freeform 12"/>
          <p:cNvSpPr/>
          <p:nvPr/>
        </p:nvSpPr>
        <p:spPr>
          <a:xfrm>
            <a:off x="-846965" y="4892042"/>
            <a:ext cx="1116149" cy="2426412"/>
          </a:xfrm>
          <a:custGeom>
            <a:avLst/>
            <a:gdLst/>
            <a:ahLst/>
            <a:cxnLst/>
            <a:rect l="l" t="t" r="r" b="b"/>
            <a:pathLst>
              <a:path w="1674224" h="3639618">
                <a:moveTo>
                  <a:pt x="0" y="0"/>
                </a:moveTo>
                <a:lnTo>
                  <a:pt x="1674224" y="0"/>
                </a:lnTo>
                <a:lnTo>
                  <a:pt x="1674224" y="3639618"/>
                </a:lnTo>
                <a:lnTo>
                  <a:pt x="0" y="3639618"/>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13" name="Freeform 13"/>
          <p:cNvSpPr/>
          <p:nvPr/>
        </p:nvSpPr>
        <p:spPr>
          <a:xfrm flipV="1">
            <a:off x="11924327" y="-98563"/>
            <a:ext cx="1116149" cy="2426412"/>
          </a:xfrm>
          <a:custGeom>
            <a:avLst/>
            <a:gdLst/>
            <a:ahLst/>
            <a:cxnLst/>
            <a:rect l="l" t="t" r="r" b="b"/>
            <a:pathLst>
              <a:path w="1674224" h="3639618">
                <a:moveTo>
                  <a:pt x="0" y="3639618"/>
                </a:moveTo>
                <a:lnTo>
                  <a:pt x="1674224" y="3639618"/>
                </a:lnTo>
                <a:lnTo>
                  <a:pt x="1674224" y="0"/>
                </a:lnTo>
                <a:lnTo>
                  <a:pt x="0" y="0"/>
                </a:lnTo>
                <a:lnTo>
                  <a:pt x="0" y="3639618"/>
                </a:lnTo>
                <a:close/>
              </a:path>
            </a:pathLst>
          </a:custGeom>
          <a:blipFill>
            <a:blip r:embed="rId4">
              <a:extLst>
                <a:ext uri="{96DAC541-7B7A-43D3-8B79-37D633B846F1}">
                  <asvg:svgBlip xmlns:asvg="http://schemas.microsoft.com/office/drawing/2016/SVG/main" r:embed="rId5"/>
                </a:ext>
              </a:extLst>
            </a:blip>
            <a:stretch>
              <a:fillRect/>
            </a:stretch>
          </a:blipFill>
        </p:spPr>
      </p:sp>
      <p:grpSp>
        <p:nvGrpSpPr>
          <p:cNvPr id="14" name="Group 14"/>
          <p:cNvGrpSpPr/>
          <p:nvPr/>
        </p:nvGrpSpPr>
        <p:grpSpPr>
          <a:xfrm>
            <a:off x="11377921" y="6168748"/>
            <a:ext cx="1368800" cy="1368800"/>
            <a:chOff x="0" y="0"/>
            <a:chExt cx="812800" cy="812800"/>
          </a:xfrm>
        </p:grpSpPr>
        <p:sp>
          <p:nvSpPr>
            <p:cNvPr id="15" name="Freeform 15"/>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16" name="TextBox 16"/>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17" name="Group 17"/>
          <p:cNvGrpSpPr/>
          <p:nvPr/>
        </p:nvGrpSpPr>
        <p:grpSpPr>
          <a:xfrm>
            <a:off x="-415216" y="-654827"/>
            <a:ext cx="1368800" cy="1368800"/>
            <a:chOff x="0" y="0"/>
            <a:chExt cx="812800" cy="812800"/>
          </a:xfrm>
        </p:grpSpPr>
        <p:sp>
          <p:nvSpPr>
            <p:cNvPr id="18" name="Freeform 1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19" name="TextBox 19"/>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
        <p:nvSpPr>
          <p:cNvPr id="20" name="Freeform 20"/>
          <p:cNvSpPr/>
          <p:nvPr/>
        </p:nvSpPr>
        <p:spPr>
          <a:xfrm>
            <a:off x="3065348" y="5728923"/>
            <a:ext cx="1227815" cy="385227"/>
          </a:xfrm>
          <a:custGeom>
            <a:avLst/>
            <a:gdLst/>
            <a:ahLst/>
            <a:cxnLst/>
            <a:rect l="l" t="t" r="r" b="b"/>
            <a:pathLst>
              <a:path w="1841723" h="577841">
                <a:moveTo>
                  <a:pt x="0" y="0"/>
                </a:moveTo>
                <a:lnTo>
                  <a:pt x="1841723" y="0"/>
                </a:lnTo>
                <a:lnTo>
                  <a:pt x="1841723" y="577841"/>
                </a:lnTo>
                <a:lnTo>
                  <a:pt x="0" y="577841"/>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21" name="Freeform 21"/>
          <p:cNvSpPr/>
          <p:nvPr/>
        </p:nvSpPr>
        <p:spPr>
          <a:xfrm rot="16200000">
            <a:off x="6317404" y="5809543"/>
            <a:ext cx="1167003" cy="2743200"/>
          </a:xfrm>
          <a:custGeom>
            <a:avLst/>
            <a:gdLst/>
            <a:ahLst/>
            <a:cxnLst/>
            <a:rect l="l" t="t" r="r" b="b"/>
            <a:pathLst>
              <a:path w="1750505" h="4114800">
                <a:moveTo>
                  <a:pt x="0" y="0"/>
                </a:moveTo>
                <a:lnTo>
                  <a:pt x="1750504" y="0"/>
                </a:lnTo>
                <a:lnTo>
                  <a:pt x="1750504" y="4114800"/>
                </a:lnTo>
                <a:lnTo>
                  <a:pt x="0" y="41148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22" name="Freeform 22"/>
          <p:cNvSpPr/>
          <p:nvPr/>
        </p:nvSpPr>
        <p:spPr>
          <a:xfrm rot="16200000">
            <a:off x="5472130" y="-1701101"/>
            <a:ext cx="1167003" cy="2743200"/>
          </a:xfrm>
          <a:custGeom>
            <a:avLst/>
            <a:gdLst/>
            <a:ahLst/>
            <a:cxnLst/>
            <a:rect l="l" t="t" r="r" b="b"/>
            <a:pathLst>
              <a:path w="1750505" h="4114800">
                <a:moveTo>
                  <a:pt x="0" y="0"/>
                </a:moveTo>
                <a:lnTo>
                  <a:pt x="1750505" y="0"/>
                </a:lnTo>
                <a:lnTo>
                  <a:pt x="1750505" y="4114800"/>
                </a:lnTo>
                <a:lnTo>
                  <a:pt x="0" y="41148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23" name="Freeform 23"/>
          <p:cNvSpPr/>
          <p:nvPr/>
        </p:nvSpPr>
        <p:spPr>
          <a:xfrm>
            <a:off x="10594837" y="0"/>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0"/>
            <a:stretch>
              <a:fillRect/>
            </a:stretch>
          </a:blipFill>
        </p:spPr>
      </p:sp>
      <p:grpSp>
        <p:nvGrpSpPr>
          <p:cNvPr id="24" name="Group 24"/>
          <p:cNvGrpSpPr/>
          <p:nvPr/>
        </p:nvGrpSpPr>
        <p:grpSpPr>
          <a:xfrm>
            <a:off x="685801" y="1364983"/>
            <a:ext cx="3816499" cy="721061"/>
            <a:chOff x="0" y="0"/>
            <a:chExt cx="1300650" cy="245735"/>
          </a:xfrm>
        </p:grpSpPr>
        <p:sp>
          <p:nvSpPr>
            <p:cNvPr id="25" name="Freeform 25"/>
            <p:cNvSpPr/>
            <p:nvPr/>
          </p:nvSpPr>
          <p:spPr>
            <a:xfrm>
              <a:off x="0" y="0"/>
              <a:ext cx="1300650" cy="245735"/>
            </a:xfrm>
            <a:custGeom>
              <a:avLst/>
              <a:gdLst/>
              <a:ahLst/>
              <a:cxnLst/>
              <a:rect l="l" t="t" r="r" b="b"/>
              <a:pathLst>
                <a:path w="1300650" h="245735">
                  <a:moveTo>
                    <a:pt x="27047" y="0"/>
                  </a:moveTo>
                  <a:lnTo>
                    <a:pt x="1273603" y="0"/>
                  </a:lnTo>
                  <a:cubicBezTo>
                    <a:pt x="1288541" y="0"/>
                    <a:pt x="1300650" y="12109"/>
                    <a:pt x="1300650" y="27047"/>
                  </a:cubicBezTo>
                  <a:lnTo>
                    <a:pt x="1300650" y="218688"/>
                  </a:lnTo>
                  <a:cubicBezTo>
                    <a:pt x="1300650" y="225861"/>
                    <a:pt x="1297800" y="232741"/>
                    <a:pt x="1292728" y="237813"/>
                  </a:cubicBezTo>
                  <a:cubicBezTo>
                    <a:pt x="1287656" y="242885"/>
                    <a:pt x="1280776" y="245735"/>
                    <a:pt x="1273603" y="245735"/>
                  </a:cubicBezTo>
                  <a:lnTo>
                    <a:pt x="27047" y="245735"/>
                  </a:lnTo>
                  <a:cubicBezTo>
                    <a:pt x="19874" y="245735"/>
                    <a:pt x="12994" y="242885"/>
                    <a:pt x="7922" y="237813"/>
                  </a:cubicBezTo>
                  <a:cubicBezTo>
                    <a:pt x="2850" y="232741"/>
                    <a:pt x="0" y="225861"/>
                    <a:pt x="0" y="218688"/>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53BF9D"/>
              </a:solidFill>
              <a:prstDash val="solid"/>
              <a:miter/>
            </a:ln>
          </p:spPr>
        </p:sp>
        <p:sp>
          <p:nvSpPr>
            <p:cNvPr id="26" name="TextBox 26"/>
            <p:cNvSpPr txBox="1"/>
            <p:nvPr/>
          </p:nvSpPr>
          <p:spPr>
            <a:xfrm>
              <a:off x="0" y="-38100"/>
              <a:ext cx="1300650" cy="283835"/>
            </a:xfrm>
            <a:prstGeom prst="rect">
              <a:avLst/>
            </a:prstGeom>
          </p:spPr>
          <p:txBody>
            <a:bodyPr lIns="33867" tIns="33867" rIns="33867" bIns="33867" rtlCol="0" anchor="ctr"/>
            <a:lstStyle/>
            <a:p>
              <a:pPr algn="ctr">
                <a:lnSpc>
                  <a:spcPts val="1882"/>
                </a:lnSpc>
              </a:pPr>
              <a:endParaRPr sz="800"/>
            </a:p>
          </p:txBody>
        </p:sp>
      </p:grpSp>
      <p:grpSp>
        <p:nvGrpSpPr>
          <p:cNvPr id="27" name="Group 27"/>
          <p:cNvGrpSpPr/>
          <p:nvPr/>
        </p:nvGrpSpPr>
        <p:grpSpPr>
          <a:xfrm>
            <a:off x="5781680" y="2710269"/>
            <a:ext cx="5457846" cy="726449"/>
            <a:chOff x="0" y="0"/>
            <a:chExt cx="2156186" cy="286992"/>
          </a:xfrm>
        </p:grpSpPr>
        <p:sp>
          <p:nvSpPr>
            <p:cNvPr id="28" name="Freeform 28"/>
            <p:cNvSpPr/>
            <p:nvPr/>
          </p:nvSpPr>
          <p:spPr>
            <a:xfrm>
              <a:off x="0" y="0"/>
              <a:ext cx="2156186" cy="286992"/>
            </a:xfrm>
            <a:custGeom>
              <a:avLst/>
              <a:gdLst/>
              <a:ahLst/>
              <a:cxnLst/>
              <a:rect l="l" t="t" r="r" b="b"/>
              <a:pathLst>
                <a:path w="2156186" h="286992">
                  <a:moveTo>
                    <a:pt x="28370" y="0"/>
                  </a:moveTo>
                  <a:lnTo>
                    <a:pt x="2127816" y="0"/>
                  </a:lnTo>
                  <a:cubicBezTo>
                    <a:pt x="2143484" y="0"/>
                    <a:pt x="2156186" y="12702"/>
                    <a:pt x="2156186" y="28370"/>
                  </a:cubicBezTo>
                  <a:lnTo>
                    <a:pt x="2156186" y="258622"/>
                  </a:lnTo>
                  <a:cubicBezTo>
                    <a:pt x="2156186" y="274290"/>
                    <a:pt x="2143484" y="286992"/>
                    <a:pt x="2127816" y="286992"/>
                  </a:cubicBezTo>
                  <a:lnTo>
                    <a:pt x="28370" y="286992"/>
                  </a:lnTo>
                  <a:cubicBezTo>
                    <a:pt x="12702" y="286992"/>
                    <a:pt x="0" y="274290"/>
                    <a:pt x="0" y="258622"/>
                  </a:cubicBezTo>
                  <a:lnTo>
                    <a:pt x="0" y="28370"/>
                  </a:lnTo>
                  <a:cubicBezTo>
                    <a:pt x="0" y="12702"/>
                    <a:pt x="12702" y="0"/>
                    <a:pt x="28370" y="0"/>
                  </a:cubicBezTo>
                  <a:close/>
                </a:path>
              </a:pathLst>
            </a:custGeom>
            <a:solidFill>
              <a:srgbClr val="4373A4"/>
            </a:solidFill>
          </p:spPr>
        </p:sp>
        <p:sp>
          <p:nvSpPr>
            <p:cNvPr id="29" name="TextBox 29"/>
            <p:cNvSpPr txBox="1"/>
            <p:nvPr/>
          </p:nvSpPr>
          <p:spPr>
            <a:xfrm>
              <a:off x="0" y="-38100"/>
              <a:ext cx="2156186" cy="325092"/>
            </a:xfrm>
            <a:prstGeom prst="rect">
              <a:avLst/>
            </a:prstGeom>
          </p:spPr>
          <p:txBody>
            <a:bodyPr lIns="33867" tIns="33867" rIns="33867" bIns="33867" rtlCol="0" anchor="ctr"/>
            <a:lstStyle/>
            <a:p>
              <a:pPr algn="ctr">
                <a:lnSpc>
                  <a:spcPts val="1882"/>
                </a:lnSpc>
              </a:pPr>
              <a:endParaRPr sz="800"/>
            </a:p>
          </p:txBody>
        </p:sp>
      </p:grpSp>
      <p:sp>
        <p:nvSpPr>
          <p:cNvPr id="30" name="AutoShape 30"/>
          <p:cNvSpPr/>
          <p:nvPr/>
        </p:nvSpPr>
        <p:spPr>
          <a:xfrm flipV="1">
            <a:off x="6750219" y="2766583"/>
            <a:ext cx="0" cy="570703"/>
          </a:xfrm>
          <a:prstGeom prst="line">
            <a:avLst/>
          </a:prstGeom>
          <a:ln w="38100" cap="flat">
            <a:solidFill>
              <a:srgbClr val="FFFFFF"/>
            </a:solidFill>
            <a:prstDash val="solid"/>
            <a:headEnd type="none" w="sm" len="sm"/>
            <a:tailEnd type="none" w="sm" len="sm"/>
          </a:ln>
        </p:spPr>
      </p:sp>
      <p:sp>
        <p:nvSpPr>
          <p:cNvPr id="31" name="Freeform 31"/>
          <p:cNvSpPr/>
          <p:nvPr/>
        </p:nvSpPr>
        <p:spPr>
          <a:xfrm>
            <a:off x="9280105" y="160392"/>
            <a:ext cx="856561" cy="750659"/>
          </a:xfrm>
          <a:custGeom>
            <a:avLst/>
            <a:gdLst/>
            <a:ahLst/>
            <a:cxnLst/>
            <a:rect l="l" t="t" r="r" b="b"/>
            <a:pathLst>
              <a:path w="1284841" h="1125988">
                <a:moveTo>
                  <a:pt x="0" y="0"/>
                </a:moveTo>
                <a:lnTo>
                  <a:pt x="1284841" y="0"/>
                </a:lnTo>
                <a:lnTo>
                  <a:pt x="1284841" y="1125988"/>
                </a:lnTo>
                <a:lnTo>
                  <a:pt x="0" y="1125988"/>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sp>
        <p:nvSpPr>
          <p:cNvPr id="32" name="AutoShape 32"/>
          <p:cNvSpPr/>
          <p:nvPr/>
        </p:nvSpPr>
        <p:spPr>
          <a:xfrm flipV="1">
            <a:off x="6743869" y="1882619"/>
            <a:ext cx="0" cy="570703"/>
          </a:xfrm>
          <a:prstGeom prst="line">
            <a:avLst/>
          </a:prstGeom>
          <a:ln w="38100" cap="flat">
            <a:solidFill>
              <a:srgbClr val="FFFFFF"/>
            </a:solidFill>
            <a:prstDash val="solid"/>
            <a:headEnd type="none" w="sm" len="sm"/>
            <a:tailEnd type="none" w="sm" len="sm"/>
          </a:ln>
        </p:spPr>
      </p:sp>
      <p:grpSp>
        <p:nvGrpSpPr>
          <p:cNvPr id="33" name="Group 33"/>
          <p:cNvGrpSpPr/>
          <p:nvPr/>
        </p:nvGrpSpPr>
        <p:grpSpPr>
          <a:xfrm>
            <a:off x="5781680" y="4596369"/>
            <a:ext cx="5457846" cy="759601"/>
            <a:chOff x="0" y="0"/>
            <a:chExt cx="2156186" cy="300089"/>
          </a:xfrm>
        </p:grpSpPr>
        <p:sp>
          <p:nvSpPr>
            <p:cNvPr id="34" name="Freeform 34"/>
            <p:cNvSpPr/>
            <p:nvPr/>
          </p:nvSpPr>
          <p:spPr>
            <a:xfrm>
              <a:off x="0" y="0"/>
              <a:ext cx="2156186" cy="300089"/>
            </a:xfrm>
            <a:custGeom>
              <a:avLst/>
              <a:gdLst/>
              <a:ahLst/>
              <a:cxnLst/>
              <a:rect l="l" t="t" r="r" b="b"/>
              <a:pathLst>
                <a:path w="2156186" h="300089">
                  <a:moveTo>
                    <a:pt x="28370" y="0"/>
                  </a:moveTo>
                  <a:lnTo>
                    <a:pt x="2127816" y="0"/>
                  </a:lnTo>
                  <a:cubicBezTo>
                    <a:pt x="2143484" y="0"/>
                    <a:pt x="2156186" y="12702"/>
                    <a:pt x="2156186" y="28370"/>
                  </a:cubicBezTo>
                  <a:lnTo>
                    <a:pt x="2156186" y="271719"/>
                  </a:lnTo>
                  <a:cubicBezTo>
                    <a:pt x="2156186" y="287388"/>
                    <a:pt x="2143484" y="300089"/>
                    <a:pt x="2127816" y="300089"/>
                  </a:cubicBezTo>
                  <a:lnTo>
                    <a:pt x="28370" y="300089"/>
                  </a:lnTo>
                  <a:cubicBezTo>
                    <a:pt x="12702" y="300089"/>
                    <a:pt x="0" y="287388"/>
                    <a:pt x="0" y="271719"/>
                  </a:cubicBezTo>
                  <a:lnTo>
                    <a:pt x="0" y="28370"/>
                  </a:lnTo>
                  <a:cubicBezTo>
                    <a:pt x="0" y="12702"/>
                    <a:pt x="12702" y="0"/>
                    <a:pt x="28370" y="0"/>
                  </a:cubicBezTo>
                  <a:close/>
                </a:path>
              </a:pathLst>
            </a:custGeom>
            <a:solidFill>
              <a:srgbClr val="53BF9D"/>
            </a:solidFill>
          </p:spPr>
        </p:sp>
        <p:sp>
          <p:nvSpPr>
            <p:cNvPr id="35" name="TextBox 35"/>
            <p:cNvSpPr txBox="1"/>
            <p:nvPr/>
          </p:nvSpPr>
          <p:spPr>
            <a:xfrm>
              <a:off x="0" y="-38100"/>
              <a:ext cx="2156186" cy="338189"/>
            </a:xfrm>
            <a:prstGeom prst="rect">
              <a:avLst/>
            </a:prstGeom>
          </p:spPr>
          <p:txBody>
            <a:bodyPr lIns="33867" tIns="33867" rIns="33867" bIns="33867" rtlCol="0" anchor="ctr"/>
            <a:lstStyle/>
            <a:p>
              <a:pPr algn="ctr">
                <a:lnSpc>
                  <a:spcPts val="1882"/>
                </a:lnSpc>
              </a:pPr>
              <a:endParaRPr sz="800"/>
            </a:p>
          </p:txBody>
        </p:sp>
      </p:grpSp>
      <p:sp>
        <p:nvSpPr>
          <p:cNvPr id="36" name="AutoShape 36"/>
          <p:cNvSpPr/>
          <p:nvPr/>
        </p:nvSpPr>
        <p:spPr>
          <a:xfrm flipV="1">
            <a:off x="6743869" y="4688074"/>
            <a:ext cx="0" cy="570703"/>
          </a:xfrm>
          <a:prstGeom prst="line">
            <a:avLst/>
          </a:prstGeom>
          <a:ln w="38100" cap="flat">
            <a:solidFill>
              <a:srgbClr val="FFFFFF"/>
            </a:solidFill>
            <a:prstDash val="solid"/>
            <a:headEnd type="none" w="sm" len="sm"/>
            <a:tailEnd type="none" w="sm" len="sm"/>
          </a:ln>
        </p:spPr>
      </p:sp>
      <p:grpSp>
        <p:nvGrpSpPr>
          <p:cNvPr id="37" name="Group 37"/>
          <p:cNvGrpSpPr/>
          <p:nvPr/>
        </p:nvGrpSpPr>
        <p:grpSpPr>
          <a:xfrm>
            <a:off x="5781680" y="3544667"/>
            <a:ext cx="5457846" cy="943751"/>
            <a:chOff x="0" y="0"/>
            <a:chExt cx="2156186" cy="372840"/>
          </a:xfrm>
        </p:grpSpPr>
        <p:sp>
          <p:nvSpPr>
            <p:cNvPr id="38" name="Freeform 38"/>
            <p:cNvSpPr/>
            <p:nvPr/>
          </p:nvSpPr>
          <p:spPr>
            <a:xfrm>
              <a:off x="0" y="0"/>
              <a:ext cx="2156186" cy="372840"/>
            </a:xfrm>
            <a:custGeom>
              <a:avLst/>
              <a:gdLst/>
              <a:ahLst/>
              <a:cxnLst/>
              <a:rect l="l" t="t" r="r" b="b"/>
              <a:pathLst>
                <a:path w="2156186" h="372840">
                  <a:moveTo>
                    <a:pt x="28370" y="0"/>
                  </a:moveTo>
                  <a:lnTo>
                    <a:pt x="2127816" y="0"/>
                  </a:lnTo>
                  <a:cubicBezTo>
                    <a:pt x="2143484" y="0"/>
                    <a:pt x="2156186" y="12702"/>
                    <a:pt x="2156186" y="28370"/>
                  </a:cubicBezTo>
                  <a:lnTo>
                    <a:pt x="2156186" y="344470"/>
                  </a:lnTo>
                  <a:cubicBezTo>
                    <a:pt x="2156186" y="360138"/>
                    <a:pt x="2143484" y="372840"/>
                    <a:pt x="2127816" y="372840"/>
                  </a:cubicBezTo>
                  <a:lnTo>
                    <a:pt x="28370" y="372840"/>
                  </a:lnTo>
                  <a:cubicBezTo>
                    <a:pt x="12702" y="372840"/>
                    <a:pt x="0" y="360138"/>
                    <a:pt x="0" y="344470"/>
                  </a:cubicBezTo>
                  <a:lnTo>
                    <a:pt x="0" y="28370"/>
                  </a:lnTo>
                  <a:cubicBezTo>
                    <a:pt x="0" y="12702"/>
                    <a:pt x="12702" y="0"/>
                    <a:pt x="28370" y="0"/>
                  </a:cubicBezTo>
                  <a:close/>
                </a:path>
              </a:pathLst>
            </a:custGeom>
            <a:solidFill>
              <a:srgbClr val="BD4291"/>
            </a:solidFill>
          </p:spPr>
        </p:sp>
        <p:sp>
          <p:nvSpPr>
            <p:cNvPr id="39" name="TextBox 39"/>
            <p:cNvSpPr txBox="1"/>
            <p:nvPr/>
          </p:nvSpPr>
          <p:spPr>
            <a:xfrm>
              <a:off x="0" y="-38100"/>
              <a:ext cx="2156186" cy="410940"/>
            </a:xfrm>
            <a:prstGeom prst="rect">
              <a:avLst/>
            </a:prstGeom>
          </p:spPr>
          <p:txBody>
            <a:bodyPr lIns="33867" tIns="33867" rIns="33867" bIns="33867" rtlCol="0" anchor="ctr"/>
            <a:lstStyle/>
            <a:p>
              <a:pPr algn="ctr">
                <a:lnSpc>
                  <a:spcPts val="1882"/>
                </a:lnSpc>
              </a:pPr>
              <a:endParaRPr sz="800"/>
            </a:p>
          </p:txBody>
        </p:sp>
      </p:grpSp>
      <p:sp>
        <p:nvSpPr>
          <p:cNvPr id="40" name="AutoShape 40"/>
          <p:cNvSpPr/>
          <p:nvPr/>
        </p:nvSpPr>
        <p:spPr>
          <a:xfrm flipV="1">
            <a:off x="6743869" y="3743335"/>
            <a:ext cx="0" cy="570703"/>
          </a:xfrm>
          <a:prstGeom prst="line">
            <a:avLst/>
          </a:prstGeom>
          <a:ln w="38100" cap="flat">
            <a:solidFill>
              <a:srgbClr val="FFFFFF"/>
            </a:solidFill>
            <a:prstDash val="solid"/>
            <a:headEnd type="none" w="sm" len="sm"/>
            <a:tailEnd type="none" w="sm" len="sm"/>
          </a:ln>
        </p:spPr>
      </p:sp>
      <p:grpSp>
        <p:nvGrpSpPr>
          <p:cNvPr id="41" name="Group 41"/>
          <p:cNvGrpSpPr/>
          <p:nvPr/>
        </p:nvGrpSpPr>
        <p:grpSpPr>
          <a:xfrm>
            <a:off x="685801" y="3115025"/>
            <a:ext cx="3816499" cy="832858"/>
            <a:chOff x="0" y="-38100"/>
            <a:chExt cx="1300650" cy="283835"/>
          </a:xfrm>
        </p:grpSpPr>
        <p:sp>
          <p:nvSpPr>
            <p:cNvPr id="42" name="Freeform 42"/>
            <p:cNvSpPr/>
            <p:nvPr/>
          </p:nvSpPr>
          <p:spPr>
            <a:xfrm>
              <a:off x="0" y="0"/>
              <a:ext cx="1300650" cy="245735"/>
            </a:xfrm>
            <a:custGeom>
              <a:avLst/>
              <a:gdLst/>
              <a:ahLst/>
              <a:cxnLst/>
              <a:rect l="l" t="t" r="r" b="b"/>
              <a:pathLst>
                <a:path w="1300650" h="245735">
                  <a:moveTo>
                    <a:pt x="27047" y="0"/>
                  </a:moveTo>
                  <a:lnTo>
                    <a:pt x="1273603" y="0"/>
                  </a:lnTo>
                  <a:cubicBezTo>
                    <a:pt x="1288541" y="0"/>
                    <a:pt x="1300650" y="12109"/>
                    <a:pt x="1300650" y="27047"/>
                  </a:cubicBezTo>
                  <a:lnTo>
                    <a:pt x="1300650" y="218688"/>
                  </a:lnTo>
                  <a:cubicBezTo>
                    <a:pt x="1300650" y="225861"/>
                    <a:pt x="1297800" y="232741"/>
                    <a:pt x="1292728" y="237813"/>
                  </a:cubicBezTo>
                  <a:cubicBezTo>
                    <a:pt x="1287656" y="242885"/>
                    <a:pt x="1280776" y="245735"/>
                    <a:pt x="1273603" y="245735"/>
                  </a:cubicBezTo>
                  <a:lnTo>
                    <a:pt x="27047" y="245735"/>
                  </a:lnTo>
                  <a:cubicBezTo>
                    <a:pt x="19874" y="245735"/>
                    <a:pt x="12994" y="242885"/>
                    <a:pt x="7922" y="237813"/>
                  </a:cubicBezTo>
                  <a:cubicBezTo>
                    <a:pt x="2850" y="232741"/>
                    <a:pt x="0" y="225861"/>
                    <a:pt x="0" y="218688"/>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BD4291"/>
              </a:solidFill>
              <a:prstDash val="solid"/>
              <a:miter/>
            </a:ln>
          </p:spPr>
        </p:sp>
        <p:sp>
          <p:nvSpPr>
            <p:cNvPr id="43" name="TextBox 43"/>
            <p:cNvSpPr txBox="1"/>
            <p:nvPr/>
          </p:nvSpPr>
          <p:spPr>
            <a:xfrm>
              <a:off x="0" y="-38100"/>
              <a:ext cx="1300650" cy="283835"/>
            </a:xfrm>
            <a:prstGeom prst="rect">
              <a:avLst/>
            </a:prstGeom>
          </p:spPr>
          <p:txBody>
            <a:bodyPr lIns="33867" tIns="33867" rIns="33867" bIns="33867" rtlCol="0" anchor="ctr"/>
            <a:lstStyle/>
            <a:p>
              <a:pPr algn="ctr">
                <a:lnSpc>
                  <a:spcPts val="1882"/>
                </a:lnSpc>
              </a:pPr>
              <a:endParaRPr sz="800"/>
            </a:p>
          </p:txBody>
        </p:sp>
      </p:grpSp>
      <p:grpSp>
        <p:nvGrpSpPr>
          <p:cNvPr id="44" name="Group 44"/>
          <p:cNvGrpSpPr/>
          <p:nvPr/>
        </p:nvGrpSpPr>
        <p:grpSpPr>
          <a:xfrm>
            <a:off x="669953" y="4860582"/>
            <a:ext cx="3810259" cy="1087980"/>
            <a:chOff x="0" y="-38100"/>
            <a:chExt cx="1298524" cy="370780"/>
          </a:xfrm>
        </p:grpSpPr>
        <p:sp>
          <p:nvSpPr>
            <p:cNvPr id="45" name="Freeform 45"/>
            <p:cNvSpPr/>
            <p:nvPr/>
          </p:nvSpPr>
          <p:spPr>
            <a:xfrm>
              <a:off x="0" y="0"/>
              <a:ext cx="1298524" cy="332680"/>
            </a:xfrm>
            <a:custGeom>
              <a:avLst/>
              <a:gdLst/>
              <a:ahLst/>
              <a:cxnLst/>
              <a:rect l="l" t="t" r="r" b="b"/>
              <a:pathLst>
                <a:path w="1298524" h="332680">
                  <a:moveTo>
                    <a:pt x="27091" y="0"/>
                  </a:moveTo>
                  <a:lnTo>
                    <a:pt x="1271432" y="0"/>
                  </a:lnTo>
                  <a:cubicBezTo>
                    <a:pt x="1286394" y="0"/>
                    <a:pt x="1298524" y="12129"/>
                    <a:pt x="1298524" y="27091"/>
                  </a:cubicBezTo>
                  <a:lnTo>
                    <a:pt x="1298524" y="305588"/>
                  </a:lnTo>
                  <a:cubicBezTo>
                    <a:pt x="1298524" y="320550"/>
                    <a:pt x="1286394" y="332680"/>
                    <a:pt x="1271432" y="332680"/>
                  </a:cubicBezTo>
                  <a:lnTo>
                    <a:pt x="27091" y="332680"/>
                  </a:lnTo>
                  <a:cubicBezTo>
                    <a:pt x="19906" y="332680"/>
                    <a:pt x="13016" y="329825"/>
                    <a:pt x="7935" y="324745"/>
                  </a:cubicBezTo>
                  <a:cubicBezTo>
                    <a:pt x="2854" y="319664"/>
                    <a:pt x="0" y="312773"/>
                    <a:pt x="0" y="305588"/>
                  </a:cubicBezTo>
                  <a:lnTo>
                    <a:pt x="0" y="27091"/>
                  </a:lnTo>
                  <a:cubicBezTo>
                    <a:pt x="0" y="12129"/>
                    <a:pt x="12129" y="0"/>
                    <a:pt x="27091" y="0"/>
                  </a:cubicBezTo>
                  <a:close/>
                </a:path>
              </a:pathLst>
            </a:custGeom>
            <a:solidFill>
              <a:srgbClr val="FFFFFF"/>
            </a:solidFill>
            <a:ln w="57150" cap="sq">
              <a:solidFill>
                <a:srgbClr val="F4B03D"/>
              </a:solidFill>
              <a:prstDash val="solid"/>
              <a:miter/>
            </a:ln>
          </p:spPr>
        </p:sp>
        <p:sp>
          <p:nvSpPr>
            <p:cNvPr id="46" name="TextBox 46"/>
            <p:cNvSpPr txBox="1"/>
            <p:nvPr/>
          </p:nvSpPr>
          <p:spPr>
            <a:xfrm>
              <a:off x="0" y="-38100"/>
              <a:ext cx="1298524" cy="370780"/>
            </a:xfrm>
            <a:prstGeom prst="rect">
              <a:avLst/>
            </a:prstGeom>
          </p:spPr>
          <p:txBody>
            <a:bodyPr lIns="33867" tIns="33867" rIns="33867" bIns="33867" rtlCol="0" anchor="ctr"/>
            <a:lstStyle/>
            <a:p>
              <a:pPr algn="ctr">
                <a:lnSpc>
                  <a:spcPts val="1882"/>
                </a:lnSpc>
              </a:pPr>
              <a:endParaRPr sz="800"/>
            </a:p>
          </p:txBody>
        </p:sp>
      </p:grpSp>
      <p:sp>
        <p:nvSpPr>
          <p:cNvPr id="47" name="AutoShape 47"/>
          <p:cNvSpPr/>
          <p:nvPr/>
        </p:nvSpPr>
        <p:spPr>
          <a:xfrm>
            <a:off x="5781679" y="5500809"/>
            <a:ext cx="1488295" cy="0"/>
          </a:xfrm>
          <a:prstGeom prst="line">
            <a:avLst/>
          </a:prstGeom>
          <a:ln w="38100" cap="flat">
            <a:solidFill>
              <a:srgbClr val="000000"/>
            </a:solidFill>
            <a:prstDash val="solid"/>
            <a:headEnd type="none" w="sm" len="sm"/>
            <a:tailEnd type="none" w="sm" len="sm"/>
          </a:ln>
        </p:spPr>
      </p:sp>
      <p:grpSp>
        <p:nvGrpSpPr>
          <p:cNvPr id="48" name="Group 48"/>
          <p:cNvGrpSpPr/>
          <p:nvPr/>
        </p:nvGrpSpPr>
        <p:grpSpPr>
          <a:xfrm>
            <a:off x="5781680" y="5677754"/>
            <a:ext cx="5457846" cy="647694"/>
            <a:chOff x="0" y="0"/>
            <a:chExt cx="2156186" cy="255879"/>
          </a:xfrm>
        </p:grpSpPr>
        <p:sp>
          <p:nvSpPr>
            <p:cNvPr id="49" name="Freeform 49"/>
            <p:cNvSpPr/>
            <p:nvPr/>
          </p:nvSpPr>
          <p:spPr>
            <a:xfrm>
              <a:off x="0" y="0"/>
              <a:ext cx="2156186" cy="255879"/>
            </a:xfrm>
            <a:custGeom>
              <a:avLst/>
              <a:gdLst/>
              <a:ahLst/>
              <a:cxnLst/>
              <a:rect l="l" t="t" r="r" b="b"/>
              <a:pathLst>
                <a:path w="2156186" h="255879">
                  <a:moveTo>
                    <a:pt x="28370" y="0"/>
                  </a:moveTo>
                  <a:lnTo>
                    <a:pt x="2127816" y="0"/>
                  </a:lnTo>
                  <a:cubicBezTo>
                    <a:pt x="2143484" y="0"/>
                    <a:pt x="2156186" y="12702"/>
                    <a:pt x="2156186" y="28370"/>
                  </a:cubicBezTo>
                  <a:lnTo>
                    <a:pt x="2156186" y="227509"/>
                  </a:lnTo>
                  <a:cubicBezTo>
                    <a:pt x="2156186" y="243178"/>
                    <a:pt x="2143484" y="255879"/>
                    <a:pt x="2127816" y="255879"/>
                  </a:cubicBezTo>
                  <a:lnTo>
                    <a:pt x="28370" y="255879"/>
                  </a:lnTo>
                  <a:cubicBezTo>
                    <a:pt x="12702" y="255879"/>
                    <a:pt x="0" y="243178"/>
                    <a:pt x="0" y="227509"/>
                  </a:cubicBezTo>
                  <a:lnTo>
                    <a:pt x="0" y="28370"/>
                  </a:lnTo>
                  <a:cubicBezTo>
                    <a:pt x="0" y="12702"/>
                    <a:pt x="12702" y="0"/>
                    <a:pt x="28370" y="0"/>
                  </a:cubicBezTo>
                  <a:close/>
                </a:path>
              </a:pathLst>
            </a:custGeom>
            <a:solidFill>
              <a:srgbClr val="F4B03D"/>
            </a:solidFill>
          </p:spPr>
        </p:sp>
        <p:sp>
          <p:nvSpPr>
            <p:cNvPr id="50" name="TextBox 50"/>
            <p:cNvSpPr txBox="1"/>
            <p:nvPr/>
          </p:nvSpPr>
          <p:spPr>
            <a:xfrm>
              <a:off x="0" y="-38100"/>
              <a:ext cx="2156186" cy="293979"/>
            </a:xfrm>
            <a:prstGeom prst="rect">
              <a:avLst/>
            </a:prstGeom>
            <a:solidFill>
              <a:srgbClr val="F4B03D"/>
            </a:solidFill>
          </p:spPr>
          <p:txBody>
            <a:bodyPr lIns="33867" tIns="33867" rIns="33867" bIns="33867" rtlCol="0" anchor="ctr"/>
            <a:lstStyle/>
            <a:p>
              <a:pPr algn="ctr">
                <a:lnSpc>
                  <a:spcPts val="1882"/>
                </a:lnSpc>
              </a:pPr>
              <a:endParaRPr sz="800"/>
            </a:p>
          </p:txBody>
        </p:sp>
      </p:grpSp>
      <p:sp>
        <p:nvSpPr>
          <p:cNvPr id="51" name="AutoShape 51"/>
          <p:cNvSpPr/>
          <p:nvPr/>
        </p:nvSpPr>
        <p:spPr>
          <a:xfrm flipV="1">
            <a:off x="6750219" y="5703550"/>
            <a:ext cx="0" cy="570703"/>
          </a:xfrm>
          <a:prstGeom prst="line">
            <a:avLst/>
          </a:prstGeom>
          <a:ln w="38100" cap="flat">
            <a:solidFill>
              <a:srgbClr val="FFFFFF"/>
            </a:solidFill>
            <a:prstDash val="solid"/>
            <a:headEnd type="none" w="sm" len="sm"/>
            <a:tailEnd type="none" w="sm" len="sm"/>
          </a:ln>
        </p:spPr>
      </p:sp>
      <p:sp>
        <p:nvSpPr>
          <p:cNvPr id="52" name="Freeform 52"/>
          <p:cNvSpPr/>
          <p:nvPr/>
        </p:nvSpPr>
        <p:spPr>
          <a:xfrm>
            <a:off x="5950244" y="1254446"/>
            <a:ext cx="672975" cy="423974"/>
          </a:xfrm>
          <a:custGeom>
            <a:avLst/>
            <a:gdLst/>
            <a:ahLst/>
            <a:cxnLst/>
            <a:rect l="l" t="t" r="r" b="b"/>
            <a:pathLst>
              <a:path w="1009462" h="635961">
                <a:moveTo>
                  <a:pt x="0" y="0"/>
                </a:moveTo>
                <a:lnTo>
                  <a:pt x="1009462" y="0"/>
                </a:lnTo>
                <a:lnTo>
                  <a:pt x="1009462" y="635961"/>
                </a:lnTo>
                <a:lnTo>
                  <a:pt x="0" y="635961"/>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53" name="Freeform 53"/>
          <p:cNvSpPr/>
          <p:nvPr/>
        </p:nvSpPr>
        <p:spPr>
          <a:xfrm>
            <a:off x="6035863" y="1891149"/>
            <a:ext cx="501737" cy="553641"/>
          </a:xfrm>
          <a:custGeom>
            <a:avLst/>
            <a:gdLst/>
            <a:ahLst/>
            <a:cxnLst/>
            <a:rect l="l" t="t" r="r" b="b"/>
            <a:pathLst>
              <a:path w="752606" h="830462">
                <a:moveTo>
                  <a:pt x="0" y="0"/>
                </a:moveTo>
                <a:lnTo>
                  <a:pt x="752606" y="0"/>
                </a:lnTo>
                <a:lnTo>
                  <a:pt x="752606" y="830462"/>
                </a:lnTo>
                <a:lnTo>
                  <a:pt x="0" y="830462"/>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sp>
      <p:sp>
        <p:nvSpPr>
          <p:cNvPr id="54" name="Freeform 54"/>
          <p:cNvSpPr/>
          <p:nvPr/>
        </p:nvSpPr>
        <p:spPr>
          <a:xfrm>
            <a:off x="5984844" y="4698075"/>
            <a:ext cx="603775" cy="580379"/>
          </a:xfrm>
          <a:custGeom>
            <a:avLst/>
            <a:gdLst/>
            <a:ahLst/>
            <a:cxnLst/>
            <a:rect l="l" t="t" r="r" b="b"/>
            <a:pathLst>
              <a:path w="905663" h="870569">
                <a:moveTo>
                  <a:pt x="0" y="0"/>
                </a:moveTo>
                <a:lnTo>
                  <a:pt x="905664" y="0"/>
                </a:lnTo>
                <a:lnTo>
                  <a:pt x="905664" y="870568"/>
                </a:lnTo>
                <a:lnTo>
                  <a:pt x="0" y="870568"/>
                </a:lnTo>
                <a:lnTo>
                  <a:pt x="0" y="0"/>
                </a:lnTo>
                <a:close/>
              </a:path>
            </a:pathLst>
          </a:custGeom>
          <a:blipFill>
            <a:blip r:embed="rId17"/>
            <a:stretch>
              <a:fillRect/>
            </a:stretch>
          </a:blipFill>
        </p:spPr>
      </p:sp>
      <p:sp>
        <p:nvSpPr>
          <p:cNvPr id="55" name="Freeform 55"/>
          <p:cNvSpPr/>
          <p:nvPr/>
        </p:nvSpPr>
        <p:spPr>
          <a:xfrm>
            <a:off x="6035863" y="5733422"/>
            <a:ext cx="596781" cy="536357"/>
          </a:xfrm>
          <a:custGeom>
            <a:avLst/>
            <a:gdLst/>
            <a:ahLst/>
            <a:cxnLst/>
            <a:rect l="l" t="t" r="r" b="b"/>
            <a:pathLst>
              <a:path w="895172" h="804536">
                <a:moveTo>
                  <a:pt x="0" y="0"/>
                </a:moveTo>
                <a:lnTo>
                  <a:pt x="895172" y="0"/>
                </a:lnTo>
                <a:lnTo>
                  <a:pt x="895172" y="804536"/>
                </a:lnTo>
                <a:lnTo>
                  <a:pt x="0" y="804536"/>
                </a:lnTo>
                <a:lnTo>
                  <a:pt x="0" y="0"/>
                </a:lnTo>
                <a:close/>
              </a:path>
            </a:pathLst>
          </a:custGeom>
          <a:blipFill>
            <a:blip r:embed="rId18">
              <a:extLst>
                <a:ext uri="{96DAC541-7B7A-43D3-8B79-37D633B846F1}">
                  <asvg:svgBlip xmlns:asvg="http://schemas.microsoft.com/office/drawing/2016/SVG/main" r:embed="rId19"/>
                </a:ext>
              </a:extLst>
            </a:blip>
            <a:stretch>
              <a:fillRect/>
            </a:stretch>
          </a:blipFill>
        </p:spPr>
      </p:sp>
      <p:sp>
        <p:nvSpPr>
          <p:cNvPr id="56" name="Freeform 56"/>
          <p:cNvSpPr/>
          <p:nvPr/>
        </p:nvSpPr>
        <p:spPr>
          <a:xfrm>
            <a:off x="6334253" y="2917281"/>
            <a:ext cx="372259" cy="355507"/>
          </a:xfrm>
          <a:custGeom>
            <a:avLst/>
            <a:gdLst/>
            <a:ahLst/>
            <a:cxnLst/>
            <a:rect l="l" t="t" r="r" b="b"/>
            <a:pathLst>
              <a:path w="558388" h="533260">
                <a:moveTo>
                  <a:pt x="0" y="0"/>
                </a:moveTo>
                <a:lnTo>
                  <a:pt x="558388" y="0"/>
                </a:lnTo>
                <a:lnTo>
                  <a:pt x="558388" y="533261"/>
                </a:lnTo>
                <a:lnTo>
                  <a:pt x="0" y="533261"/>
                </a:lnTo>
                <a:lnTo>
                  <a:pt x="0" y="0"/>
                </a:lnTo>
                <a:close/>
              </a:path>
            </a:pathLst>
          </a:custGeom>
          <a:blipFill>
            <a:blip r:embed="rId20">
              <a:extLst>
                <a:ext uri="{96DAC541-7B7A-43D3-8B79-37D633B846F1}">
                  <asvg:svgBlip xmlns:asvg="http://schemas.microsoft.com/office/drawing/2016/SVG/main" r:embed="rId21"/>
                </a:ext>
              </a:extLst>
            </a:blip>
            <a:stretch>
              <a:fillRect/>
            </a:stretch>
          </a:blipFill>
        </p:spPr>
      </p:sp>
      <p:sp>
        <p:nvSpPr>
          <p:cNvPr id="57" name="Freeform 57"/>
          <p:cNvSpPr/>
          <p:nvPr/>
        </p:nvSpPr>
        <p:spPr>
          <a:xfrm>
            <a:off x="5938142" y="2773769"/>
            <a:ext cx="487521" cy="642531"/>
          </a:xfrm>
          <a:custGeom>
            <a:avLst/>
            <a:gdLst/>
            <a:ahLst/>
            <a:cxnLst/>
            <a:rect l="l" t="t" r="r" b="b"/>
            <a:pathLst>
              <a:path w="731281" h="963797">
                <a:moveTo>
                  <a:pt x="0" y="0"/>
                </a:moveTo>
                <a:lnTo>
                  <a:pt x="731281" y="0"/>
                </a:lnTo>
                <a:lnTo>
                  <a:pt x="731281" y="963797"/>
                </a:lnTo>
                <a:lnTo>
                  <a:pt x="0" y="963797"/>
                </a:lnTo>
                <a:lnTo>
                  <a:pt x="0" y="0"/>
                </a:lnTo>
                <a:close/>
              </a:path>
            </a:pathLst>
          </a:custGeom>
          <a:blipFill>
            <a:blip r:embed="rId22">
              <a:extLst>
                <a:ext uri="{96DAC541-7B7A-43D3-8B79-37D633B846F1}">
                  <asvg:svgBlip xmlns:asvg="http://schemas.microsoft.com/office/drawing/2016/SVG/main" r:embed="rId23"/>
                </a:ext>
              </a:extLst>
            </a:blip>
            <a:stretch>
              <a:fillRect/>
            </a:stretch>
          </a:blipFill>
        </p:spPr>
      </p:sp>
      <p:sp>
        <p:nvSpPr>
          <p:cNvPr id="58" name="Freeform 58"/>
          <p:cNvSpPr/>
          <p:nvPr/>
        </p:nvSpPr>
        <p:spPr>
          <a:xfrm>
            <a:off x="5984843" y="3660380"/>
            <a:ext cx="661584" cy="674226"/>
          </a:xfrm>
          <a:custGeom>
            <a:avLst/>
            <a:gdLst/>
            <a:ahLst/>
            <a:cxnLst/>
            <a:rect l="l" t="t" r="r" b="b"/>
            <a:pathLst>
              <a:path w="992376" h="1011339">
                <a:moveTo>
                  <a:pt x="0" y="0"/>
                </a:moveTo>
                <a:lnTo>
                  <a:pt x="992377" y="0"/>
                </a:lnTo>
                <a:lnTo>
                  <a:pt x="992377" y="1011339"/>
                </a:lnTo>
                <a:lnTo>
                  <a:pt x="0" y="1011339"/>
                </a:lnTo>
                <a:lnTo>
                  <a:pt x="0" y="0"/>
                </a:lnTo>
                <a:close/>
              </a:path>
            </a:pathLst>
          </a:custGeom>
          <a:blipFill>
            <a:blip r:embed="rId24"/>
            <a:stretch>
              <a:fillRect/>
            </a:stretch>
          </a:blipFill>
        </p:spPr>
      </p:sp>
      <p:sp>
        <p:nvSpPr>
          <p:cNvPr id="59" name="TextBox 59"/>
          <p:cNvSpPr txBox="1"/>
          <p:nvPr/>
        </p:nvSpPr>
        <p:spPr>
          <a:xfrm>
            <a:off x="679561" y="261234"/>
            <a:ext cx="9196649" cy="424219"/>
          </a:xfrm>
          <a:prstGeom prst="rect">
            <a:avLst/>
          </a:prstGeom>
        </p:spPr>
        <p:txBody>
          <a:bodyPr lIns="0" tIns="0" rIns="0" bIns="0" rtlCol="0" anchor="t">
            <a:spAutoFit/>
          </a:bodyPr>
          <a:lstStyle/>
          <a:p>
            <a:pPr>
              <a:lnSpc>
                <a:spcPts val="3733"/>
              </a:lnSpc>
            </a:pPr>
            <a:r>
              <a:rPr lang="en-US" sz="2650" b="1" spc="111" dirty="0">
                <a:solidFill>
                  <a:srgbClr val="000000"/>
                </a:solidFill>
                <a:latin typeface="Barlow Bold"/>
              </a:rPr>
              <a:t>DRIVER 3: PARENT AND CAREGIVER EMPOWERMENT</a:t>
            </a:r>
            <a:r>
              <a:rPr lang="en-US" sz="2650" spc="111" dirty="0">
                <a:solidFill>
                  <a:srgbClr val="000000"/>
                </a:solidFill>
                <a:latin typeface="Barlow Bold"/>
              </a:rPr>
              <a:t> </a:t>
            </a:r>
            <a:endParaRPr lang="en-US" sz="2666" spc="111">
              <a:solidFill>
                <a:srgbClr val="000000"/>
              </a:solidFill>
              <a:latin typeface="Barlow Bold"/>
            </a:endParaRPr>
          </a:p>
        </p:txBody>
      </p:sp>
      <p:sp>
        <p:nvSpPr>
          <p:cNvPr id="60" name="TextBox 60"/>
          <p:cNvSpPr txBox="1"/>
          <p:nvPr/>
        </p:nvSpPr>
        <p:spPr>
          <a:xfrm>
            <a:off x="6875505" y="1188228"/>
            <a:ext cx="3964575" cy="471924"/>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Partner with parents and caregivers in quality improvement work and unit culture </a:t>
            </a:r>
            <a:endParaRPr lang="en-US" sz="1344" spc="43">
              <a:solidFill>
                <a:srgbClr val="FFFFFF"/>
              </a:solidFill>
              <a:latin typeface="Barlow Semi-Bold"/>
            </a:endParaRPr>
          </a:p>
        </p:txBody>
      </p:sp>
      <p:sp>
        <p:nvSpPr>
          <p:cNvPr id="61" name="TextBox 61"/>
          <p:cNvSpPr txBox="1"/>
          <p:nvPr/>
        </p:nvSpPr>
        <p:spPr>
          <a:xfrm>
            <a:off x="6875505" y="2701941"/>
            <a:ext cx="4364021" cy="715581"/>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Prepare and empower parents and caregivers to implement a safe sleep environment for every sleep during hospitalization </a:t>
            </a:r>
            <a:endParaRPr lang="en-US" sz="1344" spc="43">
              <a:solidFill>
                <a:srgbClr val="FFFFFF"/>
              </a:solidFill>
              <a:latin typeface="Barlow Semi-Bold"/>
            </a:endParaRPr>
          </a:p>
        </p:txBody>
      </p:sp>
      <p:sp>
        <p:nvSpPr>
          <p:cNvPr id="62" name="TextBox 62"/>
          <p:cNvSpPr txBox="1"/>
          <p:nvPr/>
        </p:nvSpPr>
        <p:spPr>
          <a:xfrm>
            <a:off x="860371" y="1428333"/>
            <a:ext cx="3454879"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1: Respectful Parent and Caregiver Partnerships </a:t>
            </a:r>
          </a:p>
        </p:txBody>
      </p:sp>
      <p:sp>
        <p:nvSpPr>
          <p:cNvPr id="63" name="TextBox 63"/>
          <p:cNvSpPr txBox="1"/>
          <p:nvPr/>
        </p:nvSpPr>
        <p:spPr>
          <a:xfrm>
            <a:off x="6875505" y="1893182"/>
            <a:ext cx="5357734" cy="448584"/>
          </a:xfrm>
          <a:prstGeom prst="rect">
            <a:avLst/>
          </a:prstGeom>
        </p:spPr>
        <p:txBody>
          <a:bodyPr lIns="0" tIns="0" rIns="0" bIns="0" rtlCol="0" anchor="t">
            <a:spAutoFit/>
          </a:bodyPr>
          <a:lstStyle/>
          <a:p>
            <a:pPr>
              <a:lnSpc>
                <a:spcPts val="1847"/>
              </a:lnSpc>
              <a:spcBef>
                <a:spcPct val="0"/>
              </a:spcBef>
            </a:pPr>
            <a:r>
              <a:rPr lang="en-US" sz="1300" b="1" spc="42">
                <a:solidFill>
                  <a:srgbClr val="FFFFFF"/>
                </a:solidFill>
                <a:latin typeface="Barlow Semi-Bold"/>
              </a:rPr>
              <a:t>Develop and promote respectful relationships </a:t>
            </a:r>
          </a:p>
          <a:p>
            <a:pPr marL="0" lvl="1">
              <a:lnSpc>
                <a:spcPts val="1847"/>
              </a:lnSpc>
              <a:spcBef>
                <a:spcPct val="0"/>
              </a:spcBef>
            </a:pPr>
            <a:r>
              <a:rPr lang="en-US" sz="1300" b="1" spc="42">
                <a:solidFill>
                  <a:srgbClr val="FFFFFF"/>
                </a:solidFill>
                <a:latin typeface="Barlow Semi-Bold"/>
              </a:rPr>
              <a:t>between parents and caregivers and healthcare team</a:t>
            </a:r>
            <a:r>
              <a:rPr lang="en-US" sz="1300" spc="42">
                <a:solidFill>
                  <a:srgbClr val="FFFFFF"/>
                </a:solidFill>
                <a:latin typeface="Barlow Semi-Bold"/>
              </a:rPr>
              <a:t> </a:t>
            </a:r>
          </a:p>
        </p:txBody>
      </p:sp>
      <p:sp>
        <p:nvSpPr>
          <p:cNvPr id="64" name="TextBox 64"/>
          <p:cNvSpPr txBox="1"/>
          <p:nvPr/>
        </p:nvSpPr>
        <p:spPr>
          <a:xfrm>
            <a:off x="6875505" y="3519268"/>
            <a:ext cx="4265551" cy="948208"/>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Engage with parents and caregivers to </a:t>
            </a:r>
            <a:r>
              <a:rPr lang="en-US" sz="1300" b="1" spc="43">
                <a:solidFill>
                  <a:srgbClr val="FFFFFF"/>
                </a:solidFill>
                <a:latin typeface="Barlow Bold"/>
              </a:rPr>
              <a:t>understand barriers to a safe sleep environment to implement a safe sleep environment for every sleep outside of the hospital</a:t>
            </a:r>
          </a:p>
        </p:txBody>
      </p:sp>
      <p:sp>
        <p:nvSpPr>
          <p:cNvPr id="65" name="TextBox 65"/>
          <p:cNvSpPr txBox="1"/>
          <p:nvPr/>
        </p:nvSpPr>
        <p:spPr>
          <a:xfrm>
            <a:off x="679561" y="3266580"/>
            <a:ext cx="3816499"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2: </a:t>
            </a:r>
          </a:p>
          <a:p>
            <a:pPr algn="ctr">
              <a:lnSpc>
                <a:spcPts val="2239"/>
              </a:lnSpc>
              <a:spcBef>
                <a:spcPct val="0"/>
              </a:spcBef>
            </a:pPr>
            <a:r>
              <a:rPr lang="en-US" sz="1600" spc="51">
                <a:solidFill>
                  <a:srgbClr val="000000"/>
                </a:solidFill>
                <a:latin typeface="Barlow Semi-Bold"/>
              </a:rPr>
              <a:t>Safe Sleep Awareness </a:t>
            </a:r>
          </a:p>
        </p:txBody>
      </p:sp>
      <p:sp>
        <p:nvSpPr>
          <p:cNvPr id="66" name="TextBox 66"/>
          <p:cNvSpPr txBox="1"/>
          <p:nvPr/>
        </p:nvSpPr>
        <p:spPr>
          <a:xfrm>
            <a:off x="680996" y="5042229"/>
            <a:ext cx="3805456" cy="1394228"/>
          </a:xfrm>
          <a:prstGeom prst="rect">
            <a:avLst/>
          </a:prstGeom>
        </p:spPr>
        <p:txBody>
          <a:bodyPr wrap="square" lIns="0" tIns="0" rIns="0" bIns="0" rtlCol="0" anchor="t">
            <a:spAutoFit/>
          </a:bodyPr>
          <a:lstStyle/>
          <a:p>
            <a:pPr algn="ctr">
              <a:lnSpc>
                <a:spcPts val="2239"/>
              </a:lnSpc>
              <a:spcBef>
                <a:spcPct val="0"/>
              </a:spcBef>
            </a:pPr>
            <a:r>
              <a:rPr lang="en-US" sz="1600" spc="51" dirty="0">
                <a:solidFill>
                  <a:srgbClr val="000000"/>
                </a:solidFill>
                <a:latin typeface="Barlow Semi-Bold"/>
              </a:rPr>
              <a:t>Secondary Driver 3: </a:t>
            </a:r>
          </a:p>
          <a:p>
            <a:pPr algn="ctr">
              <a:lnSpc>
                <a:spcPts val="2239"/>
              </a:lnSpc>
              <a:spcBef>
                <a:spcPct val="0"/>
              </a:spcBef>
            </a:pPr>
            <a:r>
              <a:rPr lang="en-US" sz="1600" spc="51" dirty="0">
                <a:solidFill>
                  <a:srgbClr val="000000"/>
                </a:solidFill>
                <a:latin typeface="Barlow Semi-Bold"/>
              </a:rPr>
              <a:t>Transition to Home, including </a:t>
            </a:r>
            <a:r>
              <a:rPr lang="en-US" sz="1600" spc="51" dirty="0" err="1">
                <a:solidFill>
                  <a:srgbClr val="000000"/>
                </a:solidFill>
                <a:latin typeface="Barlow Semi-Bold"/>
              </a:rPr>
              <a:t>SDoH</a:t>
            </a:r>
            <a:r>
              <a:rPr lang="en-US" sz="1600" spc="51" dirty="0">
                <a:solidFill>
                  <a:srgbClr val="000000"/>
                </a:solidFill>
                <a:latin typeface="Barlow Semi-Bold"/>
              </a:rPr>
              <a:t> Screening &amp; Resource Linkage</a:t>
            </a:r>
          </a:p>
          <a:p>
            <a:pPr algn="ctr">
              <a:lnSpc>
                <a:spcPts val="2239"/>
              </a:lnSpc>
              <a:spcBef>
                <a:spcPct val="0"/>
              </a:spcBef>
            </a:pPr>
            <a:endParaRPr lang="en-US" sz="1600" spc="51" dirty="0">
              <a:solidFill>
                <a:srgbClr val="000000"/>
              </a:solidFill>
              <a:latin typeface="Barlow Semi-Bold"/>
            </a:endParaRPr>
          </a:p>
          <a:p>
            <a:pPr algn="ctr">
              <a:lnSpc>
                <a:spcPts val="2239"/>
              </a:lnSpc>
              <a:spcBef>
                <a:spcPct val="0"/>
              </a:spcBef>
            </a:pPr>
            <a:endParaRPr lang="en-US" sz="1600" spc="51" dirty="0">
              <a:solidFill>
                <a:srgbClr val="000000"/>
              </a:solidFill>
              <a:latin typeface="Barlow Semi-Bold"/>
            </a:endParaRPr>
          </a:p>
        </p:txBody>
      </p:sp>
      <p:sp>
        <p:nvSpPr>
          <p:cNvPr id="67" name="TextBox 67"/>
          <p:cNvSpPr txBox="1"/>
          <p:nvPr/>
        </p:nvSpPr>
        <p:spPr>
          <a:xfrm>
            <a:off x="6875505" y="4609069"/>
            <a:ext cx="5457846" cy="704552"/>
          </a:xfrm>
          <a:prstGeom prst="rect">
            <a:avLst/>
          </a:prstGeom>
        </p:spPr>
        <p:txBody>
          <a:bodyPr lIns="0" tIns="0" rIns="0" bIns="0" rtlCol="0" anchor="t">
            <a:spAutoFit/>
          </a:bodyPr>
          <a:lstStyle/>
          <a:p>
            <a:pPr>
              <a:lnSpc>
                <a:spcPts val="1882"/>
              </a:lnSpc>
              <a:spcBef>
                <a:spcPct val="0"/>
              </a:spcBef>
            </a:pPr>
            <a:r>
              <a:rPr lang="en-US" sz="1300" b="1" spc="43">
                <a:solidFill>
                  <a:srgbClr val="FFFFFF"/>
                </a:solidFill>
                <a:latin typeface="Barlow Bold"/>
              </a:rPr>
              <a:t>Empower parents and caregivers to have </a:t>
            </a:r>
          </a:p>
          <a:p>
            <a:pPr>
              <a:lnSpc>
                <a:spcPts val="1882"/>
              </a:lnSpc>
              <a:spcBef>
                <a:spcPct val="0"/>
              </a:spcBef>
            </a:pPr>
            <a:r>
              <a:rPr lang="en-US" sz="1300" b="1" spc="43">
                <a:solidFill>
                  <a:srgbClr val="FFFFFF"/>
                </a:solidFill>
                <a:latin typeface="Barlow Bold"/>
              </a:rPr>
              <a:t>conversations about safe sleep environment </a:t>
            </a:r>
          </a:p>
          <a:p>
            <a:pPr marL="0" lvl="1">
              <a:lnSpc>
                <a:spcPts val="1882"/>
              </a:lnSpc>
              <a:spcBef>
                <a:spcPct val="0"/>
              </a:spcBef>
            </a:pPr>
            <a:r>
              <a:rPr lang="en-US" sz="1300" b="1" spc="43">
                <a:solidFill>
                  <a:srgbClr val="FFFFFF"/>
                </a:solidFill>
                <a:latin typeface="Barlow Bold"/>
              </a:rPr>
              <a:t>with additional caregivers </a:t>
            </a:r>
          </a:p>
        </p:txBody>
      </p:sp>
      <p:sp>
        <p:nvSpPr>
          <p:cNvPr id="68" name="TextBox 68"/>
          <p:cNvSpPr txBox="1"/>
          <p:nvPr/>
        </p:nvSpPr>
        <p:spPr>
          <a:xfrm>
            <a:off x="6875505" y="5769508"/>
            <a:ext cx="5457846" cy="460895"/>
          </a:xfrm>
          <a:prstGeom prst="rect">
            <a:avLst/>
          </a:prstGeom>
        </p:spPr>
        <p:txBody>
          <a:bodyPr lIns="0" tIns="0" rIns="0" bIns="0" rtlCol="0" anchor="t">
            <a:spAutoFit/>
          </a:bodyPr>
          <a:lstStyle/>
          <a:p>
            <a:pPr>
              <a:lnSpc>
                <a:spcPts val="1882"/>
              </a:lnSpc>
              <a:spcBef>
                <a:spcPct val="0"/>
              </a:spcBef>
            </a:pPr>
            <a:r>
              <a:rPr lang="en-US" sz="1300" b="1" spc="43" dirty="0">
                <a:solidFill>
                  <a:srgbClr val="FFFFFF"/>
                </a:solidFill>
                <a:latin typeface="Barlow Bold"/>
              </a:rPr>
              <a:t>Screen for </a:t>
            </a:r>
            <a:r>
              <a:rPr lang="en-US" sz="1300" b="1" spc="43" dirty="0" err="1">
                <a:solidFill>
                  <a:srgbClr val="FFFFFF"/>
                </a:solidFill>
                <a:latin typeface="Barlow Bold"/>
              </a:rPr>
              <a:t>SDoH</a:t>
            </a:r>
            <a:r>
              <a:rPr lang="en-US" sz="1300" b="1" spc="43" dirty="0">
                <a:solidFill>
                  <a:srgbClr val="FFFFFF"/>
                </a:solidFill>
                <a:latin typeface="Barlow Bold"/>
              </a:rPr>
              <a:t> and connect parents and </a:t>
            </a:r>
          </a:p>
          <a:p>
            <a:pPr marL="0" lvl="1">
              <a:lnSpc>
                <a:spcPts val="1882"/>
              </a:lnSpc>
              <a:spcBef>
                <a:spcPct val="0"/>
              </a:spcBef>
            </a:pPr>
            <a:r>
              <a:rPr lang="en-US" sz="1300" b="1" spc="43" dirty="0">
                <a:solidFill>
                  <a:srgbClr val="FFFFFF"/>
                </a:solidFill>
                <a:latin typeface="Barlow Bold"/>
              </a:rPr>
              <a:t>caregivers to needed resources  </a:t>
            </a:r>
          </a:p>
        </p:txBody>
      </p:sp>
      <p:cxnSp>
        <p:nvCxnSpPr>
          <p:cNvPr id="74" name="Straight Arrow Connector 73">
            <a:extLst>
              <a:ext uri="{FF2B5EF4-FFF2-40B4-BE49-F238E27FC236}">
                <a16:creationId xmlns:a16="http://schemas.microsoft.com/office/drawing/2014/main" id="{34699683-48B1-C584-C969-0FC12DE6D30A}"/>
              </a:ext>
            </a:extLst>
          </p:cNvPr>
          <p:cNvCxnSpPr>
            <a:cxnSpLocks/>
          </p:cNvCxnSpPr>
          <p:nvPr/>
        </p:nvCxnSpPr>
        <p:spPr>
          <a:xfrm flipV="1">
            <a:off x="4536468" y="3019465"/>
            <a:ext cx="1283627" cy="526669"/>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5FBD65C4-D121-6BFF-7A20-CC716D7037AD}"/>
              </a:ext>
            </a:extLst>
          </p:cNvPr>
          <p:cNvCxnSpPr>
            <a:cxnSpLocks/>
          </p:cNvCxnSpPr>
          <p:nvPr/>
        </p:nvCxnSpPr>
        <p:spPr>
          <a:xfrm flipV="1">
            <a:off x="4501128" y="5005081"/>
            <a:ext cx="1283628" cy="493539"/>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DFA24459-913C-819C-1FB9-882C0D69503C}"/>
              </a:ext>
            </a:extLst>
          </p:cNvPr>
          <p:cNvCxnSpPr>
            <a:cxnSpLocks/>
          </p:cNvCxnSpPr>
          <p:nvPr/>
        </p:nvCxnSpPr>
        <p:spPr>
          <a:xfrm>
            <a:off x="4536467" y="3568221"/>
            <a:ext cx="1283628" cy="478286"/>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D146EC0A-53E9-15A6-4F6B-C7F1AE321A03}"/>
              </a:ext>
            </a:extLst>
          </p:cNvPr>
          <p:cNvCxnSpPr>
            <a:cxnSpLocks/>
          </p:cNvCxnSpPr>
          <p:nvPr/>
        </p:nvCxnSpPr>
        <p:spPr>
          <a:xfrm>
            <a:off x="4481249" y="5522915"/>
            <a:ext cx="1283630" cy="434115"/>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755536B4-F5C2-3697-61E6-0681DE0C12BD}"/>
              </a:ext>
            </a:extLst>
          </p:cNvPr>
          <p:cNvSpPr txBox="1"/>
          <p:nvPr/>
        </p:nvSpPr>
        <p:spPr>
          <a:xfrm>
            <a:off x="7282608" y="720051"/>
            <a:ext cx="3070086" cy="476042"/>
          </a:xfrm>
          <a:prstGeom prst="rect">
            <a:avLst/>
          </a:prstGeom>
          <a:noFill/>
        </p:spPr>
        <p:txBody>
          <a:bodyPr wrap="square" lIns="91440" tIns="45720" rIns="91440" bIns="45720" rtlCol="0" anchor="t">
            <a:spAutoFit/>
          </a:bodyPr>
          <a:lstStyle/>
          <a:p>
            <a:r>
              <a:rPr lang="en-US" sz="2400" b="1">
                <a:latin typeface="Arial"/>
                <a:ea typeface="MS PGothic"/>
                <a:cs typeface="Arial"/>
              </a:rPr>
              <a:t>Change Ideas</a:t>
            </a:r>
          </a:p>
        </p:txBody>
      </p:sp>
    </p:spTree>
    <p:extLst>
      <p:ext uri="{BB962C8B-B14F-4D97-AF65-F5344CB8AC3E}">
        <p14:creationId xmlns:p14="http://schemas.microsoft.com/office/powerpoint/2010/main" val="42839076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10"/>
          <p:cNvSpPr/>
          <p:nvPr/>
        </p:nvSpPr>
        <p:spPr>
          <a:xfrm>
            <a:off x="5927704" y="2348992"/>
            <a:ext cx="5155359" cy="1627902"/>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3">
              <a:alphaModFix amt="40000"/>
              <a:extLst>
                <a:ext uri="{96DAC541-7B7A-43D3-8B79-37D633B846F1}">
                  <asvg:svgBlip xmlns:asvg="http://schemas.microsoft.com/office/drawing/2016/SVG/main" r:embed="rId4"/>
                </a:ext>
              </a:extLst>
            </a:blip>
            <a:stretch>
              <a:fillRect t="-154842"/>
            </a:stretch>
          </a:blipFill>
        </p:spPr>
      </p:sp>
      <p:cxnSp>
        <p:nvCxnSpPr>
          <p:cNvPr id="55" name="Straight Arrow Connector 54">
            <a:extLst>
              <a:ext uri="{FF2B5EF4-FFF2-40B4-BE49-F238E27FC236}">
                <a16:creationId xmlns:a16="http://schemas.microsoft.com/office/drawing/2014/main" id="{8F46A2E8-EDC0-45C5-E8E6-4A5E6F1F4FA0}"/>
              </a:ext>
            </a:extLst>
          </p:cNvPr>
          <p:cNvCxnSpPr>
            <a:cxnSpLocks/>
          </p:cNvCxnSpPr>
          <p:nvPr/>
        </p:nvCxnSpPr>
        <p:spPr>
          <a:xfrm>
            <a:off x="4514380" y="5688568"/>
            <a:ext cx="1405106" cy="3416"/>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A3366110-511F-BCB4-653F-4CCE780C10E1}"/>
              </a:ext>
            </a:extLst>
          </p:cNvPr>
          <p:cNvCxnSpPr>
            <a:cxnSpLocks/>
          </p:cNvCxnSpPr>
          <p:nvPr/>
        </p:nvCxnSpPr>
        <p:spPr>
          <a:xfrm>
            <a:off x="4514380" y="2419699"/>
            <a:ext cx="1405106" cy="3416"/>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52D6BD58-A1C0-4097-567A-36996C8B9E0B}"/>
              </a:ext>
            </a:extLst>
          </p:cNvPr>
          <p:cNvCxnSpPr>
            <a:cxnSpLocks/>
          </p:cNvCxnSpPr>
          <p:nvPr/>
        </p:nvCxnSpPr>
        <p:spPr>
          <a:xfrm flipV="1">
            <a:off x="4502731" y="3497056"/>
            <a:ext cx="1425983" cy="41411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 name="Freeform 2"/>
          <p:cNvSpPr/>
          <p:nvPr/>
        </p:nvSpPr>
        <p:spPr>
          <a:xfrm>
            <a:off x="5938142" y="5123272"/>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3">
              <a:alphaModFix amt="40000"/>
              <a:extLst>
                <a:ext uri="{96DAC541-7B7A-43D3-8B79-37D633B846F1}">
                  <asvg:svgBlip xmlns:asvg="http://schemas.microsoft.com/office/drawing/2016/SVG/main" r:embed="rId4"/>
                </a:ext>
              </a:extLst>
            </a:blip>
            <a:stretch>
              <a:fillRect t="-154842"/>
            </a:stretch>
          </a:blipFill>
        </p:spPr>
      </p:sp>
      <p:grpSp>
        <p:nvGrpSpPr>
          <p:cNvPr id="3" name="Group 3"/>
          <p:cNvGrpSpPr/>
          <p:nvPr/>
        </p:nvGrpSpPr>
        <p:grpSpPr>
          <a:xfrm>
            <a:off x="5927005" y="5409984"/>
            <a:ext cx="5436970" cy="921327"/>
            <a:chOff x="0" y="-38100"/>
            <a:chExt cx="2156186" cy="467075"/>
          </a:xfrm>
        </p:grpSpPr>
        <p:sp>
          <p:nvSpPr>
            <p:cNvPr id="4" name="Freeform 4"/>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F4B03D"/>
            </a:solidFill>
          </p:spPr>
        </p:sp>
        <p:sp>
          <p:nvSpPr>
            <p:cNvPr id="5" name="TextBox 5"/>
            <p:cNvSpPr txBox="1"/>
            <p:nvPr/>
          </p:nvSpPr>
          <p:spPr>
            <a:xfrm>
              <a:off x="0" y="-38100"/>
              <a:ext cx="2156186" cy="467075"/>
            </a:xfrm>
            <a:prstGeom prst="rect">
              <a:avLst/>
            </a:prstGeom>
            <a:solidFill>
              <a:srgbClr val="F4B03D"/>
            </a:solidFill>
          </p:spPr>
          <p:txBody>
            <a:bodyPr lIns="33867" tIns="33867" rIns="33867" bIns="33867" rtlCol="0" anchor="ctr"/>
            <a:lstStyle/>
            <a:p>
              <a:pPr algn="ctr">
                <a:lnSpc>
                  <a:spcPts val="1882"/>
                </a:lnSpc>
              </a:pPr>
              <a:endParaRPr sz="800"/>
            </a:p>
          </p:txBody>
        </p:sp>
      </p:grpSp>
      <p:sp>
        <p:nvSpPr>
          <p:cNvPr id="6" name="Freeform 6"/>
          <p:cNvSpPr/>
          <p:nvPr/>
        </p:nvSpPr>
        <p:spPr>
          <a:xfrm>
            <a:off x="5938142" y="3743335"/>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3">
              <a:alphaModFix amt="40000"/>
              <a:extLst>
                <a:ext uri="{96DAC541-7B7A-43D3-8B79-37D633B846F1}">
                  <asvg:svgBlip xmlns:asvg="http://schemas.microsoft.com/office/drawing/2016/SVG/main" r:embed="rId4"/>
                </a:ext>
              </a:extLst>
            </a:blip>
            <a:stretch>
              <a:fillRect t="-154842"/>
            </a:stretch>
          </a:blipFill>
        </p:spPr>
      </p:sp>
      <p:grpSp>
        <p:nvGrpSpPr>
          <p:cNvPr id="7" name="Group 7"/>
          <p:cNvGrpSpPr/>
          <p:nvPr/>
        </p:nvGrpSpPr>
        <p:grpSpPr>
          <a:xfrm>
            <a:off x="5917265" y="3088979"/>
            <a:ext cx="5447408" cy="892955"/>
            <a:chOff x="0" y="0"/>
            <a:chExt cx="2156186" cy="492981"/>
          </a:xfrm>
        </p:grpSpPr>
        <p:sp>
          <p:nvSpPr>
            <p:cNvPr id="8" name="Freeform 8"/>
            <p:cNvSpPr/>
            <p:nvPr/>
          </p:nvSpPr>
          <p:spPr>
            <a:xfrm>
              <a:off x="0" y="0"/>
              <a:ext cx="2156186" cy="492981"/>
            </a:xfrm>
            <a:custGeom>
              <a:avLst/>
              <a:gdLst/>
              <a:ahLst/>
              <a:cxnLst/>
              <a:rect l="l" t="t" r="r" b="b"/>
              <a:pathLst>
                <a:path w="2156186" h="492981">
                  <a:moveTo>
                    <a:pt x="28370" y="0"/>
                  </a:moveTo>
                  <a:lnTo>
                    <a:pt x="2127816" y="0"/>
                  </a:lnTo>
                  <a:cubicBezTo>
                    <a:pt x="2143484" y="0"/>
                    <a:pt x="2156186" y="12702"/>
                    <a:pt x="2156186" y="28370"/>
                  </a:cubicBezTo>
                  <a:lnTo>
                    <a:pt x="2156186" y="464611"/>
                  </a:lnTo>
                  <a:cubicBezTo>
                    <a:pt x="2156186" y="480279"/>
                    <a:pt x="2143484" y="492981"/>
                    <a:pt x="2127816" y="492981"/>
                  </a:cubicBezTo>
                  <a:lnTo>
                    <a:pt x="28370" y="492981"/>
                  </a:lnTo>
                  <a:cubicBezTo>
                    <a:pt x="12702" y="492981"/>
                    <a:pt x="0" y="480279"/>
                    <a:pt x="0" y="464611"/>
                  </a:cubicBezTo>
                  <a:lnTo>
                    <a:pt x="0" y="28370"/>
                  </a:lnTo>
                  <a:cubicBezTo>
                    <a:pt x="0" y="12702"/>
                    <a:pt x="12702" y="0"/>
                    <a:pt x="28370" y="0"/>
                  </a:cubicBezTo>
                  <a:close/>
                </a:path>
              </a:pathLst>
            </a:custGeom>
            <a:solidFill>
              <a:srgbClr val="0CC0DF"/>
            </a:solidFill>
          </p:spPr>
        </p:sp>
        <p:sp>
          <p:nvSpPr>
            <p:cNvPr id="9" name="TextBox 9"/>
            <p:cNvSpPr txBox="1"/>
            <p:nvPr/>
          </p:nvSpPr>
          <p:spPr>
            <a:xfrm>
              <a:off x="0" y="-38100"/>
              <a:ext cx="2156186" cy="531081"/>
            </a:xfrm>
            <a:prstGeom prst="rect">
              <a:avLst/>
            </a:prstGeom>
          </p:spPr>
          <p:txBody>
            <a:bodyPr lIns="33867" tIns="33867" rIns="33867" bIns="33867" rtlCol="0" anchor="ctr"/>
            <a:lstStyle/>
            <a:p>
              <a:pPr algn="ctr">
                <a:lnSpc>
                  <a:spcPts val="1882"/>
                </a:lnSpc>
              </a:pPr>
              <a:endParaRPr sz="800"/>
            </a:p>
          </p:txBody>
        </p:sp>
      </p:grpSp>
      <p:sp>
        <p:nvSpPr>
          <p:cNvPr id="11" name="AutoShape 11"/>
          <p:cNvSpPr/>
          <p:nvPr/>
        </p:nvSpPr>
        <p:spPr>
          <a:xfrm flipV="1">
            <a:off x="7092797" y="3197914"/>
            <a:ext cx="0" cy="570703"/>
          </a:xfrm>
          <a:prstGeom prst="line">
            <a:avLst/>
          </a:prstGeom>
          <a:ln w="38100" cap="flat">
            <a:solidFill>
              <a:srgbClr val="FFFFFF"/>
            </a:solidFill>
            <a:prstDash val="solid"/>
            <a:headEnd type="none" w="sm" len="sm"/>
            <a:tailEnd type="none" w="sm" len="sm"/>
          </a:ln>
        </p:spPr>
      </p:sp>
      <p:sp>
        <p:nvSpPr>
          <p:cNvPr id="12" name="AutoShape 12"/>
          <p:cNvSpPr/>
          <p:nvPr/>
        </p:nvSpPr>
        <p:spPr>
          <a:xfrm flipV="1">
            <a:off x="7053305" y="5538752"/>
            <a:ext cx="0" cy="570703"/>
          </a:xfrm>
          <a:prstGeom prst="line">
            <a:avLst/>
          </a:prstGeom>
          <a:ln w="38100" cap="flat">
            <a:solidFill>
              <a:srgbClr val="FFFFFF"/>
            </a:solidFill>
            <a:prstDash val="solid"/>
            <a:headEnd type="none" w="sm" len="sm"/>
            <a:tailEnd type="none" w="sm" len="sm"/>
          </a:ln>
        </p:spPr>
      </p:sp>
      <p:sp>
        <p:nvSpPr>
          <p:cNvPr id="13" name="AutoShape 13"/>
          <p:cNvSpPr/>
          <p:nvPr/>
        </p:nvSpPr>
        <p:spPr>
          <a:xfrm>
            <a:off x="5927005" y="2873191"/>
            <a:ext cx="1488295" cy="0"/>
          </a:xfrm>
          <a:prstGeom prst="line">
            <a:avLst/>
          </a:prstGeom>
          <a:ln w="38100" cap="flat">
            <a:solidFill>
              <a:srgbClr val="000000"/>
            </a:solidFill>
            <a:prstDash val="solid"/>
            <a:headEnd type="none" w="sm" len="sm"/>
            <a:tailEnd type="none" w="sm" len="sm"/>
          </a:ln>
        </p:spPr>
      </p:sp>
      <p:sp>
        <p:nvSpPr>
          <p:cNvPr id="14" name="Freeform 14"/>
          <p:cNvSpPr/>
          <p:nvPr/>
        </p:nvSpPr>
        <p:spPr>
          <a:xfrm>
            <a:off x="-846965" y="4892042"/>
            <a:ext cx="1116149" cy="2426412"/>
          </a:xfrm>
          <a:custGeom>
            <a:avLst/>
            <a:gdLst/>
            <a:ahLst/>
            <a:cxnLst/>
            <a:rect l="l" t="t" r="r" b="b"/>
            <a:pathLst>
              <a:path w="1674224" h="3639618">
                <a:moveTo>
                  <a:pt x="0" y="0"/>
                </a:moveTo>
                <a:lnTo>
                  <a:pt x="1674224" y="0"/>
                </a:lnTo>
                <a:lnTo>
                  <a:pt x="1674224" y="3639618"/>
                </a:lnTo>
                <a:lnTo>
                  <a:pt x="0" y="3639618"/>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15" name="Freeform 15"/>
          <p:cNvSpPr/>
          <p:nvPr/>
        </p:nvSpPr>
        <p:spPr>
          <a:xfrm flipV="1">
            <a:off x="11924327" y="-98563"/>
            <a:ext cx="1116149" cy="2426412"/>
          </a:xfrm>
          <a:custGeom>
            <a:avLst/>
            <a:gdLst/>
            <a:ahLst/>
            <a:cxnLst/>
            <a:rect l="l" t="t" r="r" b="b"/>
            <a:pathLst>
              <a:path w="1674224" h="3639618">
                <a:moveTo>
                  <a:pt x="0" y="3639618"/>
                </a:moveTo>
                <a:lnTo>
                  <a:pt x="1674224" y="3639618"/>
                </a:lnTo>
                <a:lnTo>
                  <a:pt x="1674224" y="0"/>
                </a:lnTo>
                <a:lnTo>
                  <a:pt x="0" y="0"/>
                </a:lnTo>
                <a:lnTo>
                  <a:pt x="0" y="3639618"/>
                </a:lnTo>
                <a:close/>
              </a:path>
            </a:pathLst>
          </a:custGeom>
          <a:blipFill>
            <a:blip r:embed="rId5">
              <a:extLst>
                <a:ext uri="{96DAC541-7B7A-43D3-8B79-37D633B846F1}">
                  <asvg:svgBlip xmlns:asvg="http://schemas.microsoft.com/office/drawing/2016/SVG/main" r:embed="rId6"/>
                </a:ext>
              </a:extLst>
            </a:blip>
            <a:stretch>
              <a:fillRect/>
            </a:stretch>
          </a:blipFill>
        </p:spPr>
      </p:sp>
      <p:grpSp>
        <p:nvGrpSpPr>
          <p:cNvPr id="16" name="Group 16"/>
          <p:cNvGrpSpPr/>
          <p:nvPr/>
        </p:nvGrpSpPr>
        <p:grpSpPr>
          <a:xfrm>
            <a:off x="11377921" y="6168748"/>
            <a:ext cx="1368800" cy="1368800"/>
            <a:chOff x="0" y="0"/>
            <a:chExt cx="812800" cy="812800"/>
          </a:xfrm>
        </p:grpSpPr>
        <p:sp>
          <p:nvSpPr>
            <p:cNvPr id="17" name="Freeform 1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18" name="TextBox 18"/>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19" name="Group 19"/>
          <p:cNvGrpSpPr/>
          <p:nvPr/>
        </p:nvGrpSpPr>
        <p:grpSpPr>
          <a:xfrm>
            <a:off x="-415216" y="-654827"/>
            <a:ext cx="1368800" cy="1368800"/>
            <a:chOff x="0" y="0"/>
            <a:chExt cx="812800" cy="812800"/>
          </a:xfrm>
        </p:grpSpPr>
        <p:sp>
          <p:nvSpPr>
            <p:cNvPr id="20" name="Freeform 2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21" name="TextBox 21"/>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
        <p:nvSpPr>
          <p:cNvPr id="22" name="Freeform 22"/>
          <p:cNvSpPr/>
          <p:nvPr/>
        </p:nvSpPr>
        <p:spPr>
          <a:xfrm>
            <a:off x="3087435" y="6270053"/>
            <a:ext cx="1227815" cy="385227"/>
          </a:xfrm>
          <a:custGeom>
            <a:avLst/>
            <a:gdLst/>
            <a:ahLst/>
            <a:cxnLst/>
            <a:rect l="l" t="t" r="r" b="b"/>
            <a:pathLst>
              <a:path w="1841723" h="577841">
                <a:moveTo>
                  <a:pt x="0" y="0"/>
                </a:moveTo>
                <a:lnTo>
                  <a:pt x="1841723" y="0"/>
                </a:lnTo>
                <a:lnTo>
                  <a:pt x="1841723" y="577841"/>
                </a:lnTo>
                <a:lnTo>
                  <a:pt x="0" y="577841"/>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23" name="Freeform 23"/>
          <p:cNvSpPr/>
          <p:nvPr/>
        </p:nvSpPr>
        <p:spPr>
          <a:xfrm rot="16200000">
            <a:off x="6317404" y="5809543"/>
            <a:ext cx="1167003" cy="2743200"/>
          </a:xfrm>
          <a:custGeom>
            <a:avLst/>
            <a:gdLst/>
            <a:ahLst/>
            <a:cxnLst/>
            <a:rect l="l" t="t" r="r" b="b"/>
            <a:pathLst>
              <a:path w="1750505" h="4114800">
                <a:moveTo>
                  <a:pt x="0" y="0"/>
                </a:moveTo>
                <a:lnTo>
                  <a:pt x="1750504" y="0"/>
                </a:lnTo>
                <a:lnTo>
                  <a:pt x="1750504" y="4114800"/>
                </a:lnTo>
                <a:lnTo>
                  <a:pt x="0" y="4114800"/>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24" name="Freeform 24"/>
          <p:cNvSpPr/>
          <p:nvPr/>
        </p:nvSpPr>
        <p:spPr>
          <a:xfrm rot="16200000">
            <a:off x="5472130" y="-1701101"/>
            <a:ext cx="1167003" cy="2743200"/>
          </a:xfrm>
          <a:custGeom>
            <a:avLst/>
            <a:gdLst/>
            <a:ahLst/>
            <a:cxnLst/>
            <a:rect l="l" t="t" r="r" b="b"/>
            <a:pathLst>
              <a:path w="1750505" h="4114800">
                <a:moveTo>
                  <a:pt x="0" y="0"/>
                </a:moveTo>
                <a:lnTo>
                  <a:pt x="1750505" y="0"/>
                </a:lnTo>
                <a:lnTo>
                  <a:pt x="1750505" y="4114800"/>
                </a:lnTo>
                <a:lnTo>
                  <a:pt x="0" y="4114800"/>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25" name="Freeform 25"/>
          <p:cNvSpPr/>
          <p:nvPr/>
        </p:nvSpPr>
        <p:spPr>
          <a:xfrm>
            <a:off x="9783982" y="595611"/>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1"/>
            <a:stretch>
              <a:fillRect/>
            </a:stretch>
          </a:blipFill>
        </p:spPr>
      </p:sp>
      <p:grpSp>
        <p:nvGrpSpPr>
          <p:cNvPr id="26" name="Group 26"/>
          <p:cNvGrpSpPr/>
          <p:nvPr/>
        </p:nvGrpSpPr>
        <p:grpSpPr>
          <a:xfrm>
            <a:off x="685801" y="1820761"/>
            <a:ext cx="3816499" cy="1051523"/>
            <a:chOff x="0" y="0"/>
            <a:chExt cx="1300650" cy="358355"/>
          </a:xfrm>
        </p:grpSpPr>
        <p:sp>
          <p:nvSpPr>
            <p:cNvPr id="27" name="Freeform 27"/>
            <p:cNvSpPr/>
            <p:nvPr/>
          </p:nvSpPr>
          <p:spPr>
            <a:xfrm>
              <a:off x="0" y="0"/>
              <a:ext cx="1300650" cy="358355"/>
            </a:xfrm>
            <a:custGeom>
              <a:avLst/>
              <a:gdLst/>
              <a:ahLst/>
              <a:cxnLst/>
              <a:rect l="l" t="t" r="r" b="b"/>
              <a:pathLst>
                <a:path w="1300650" h="358355">
                  <a:moveTo>
                    <a:pt x="27047" y="0"/>
                  </a:moveTo>
                  <a:lnTo>
                    <a:pt x="1273603" y="0"/>
                  </a:lnTo>
                  <a:cubicBezTo>
                    <a:pt x="1288541" y="0"/>
                    <a:pt x="1300650" y="12109"/>
                    <a:pt x="1300650" y="27047"/>
                  </a:cubicBezTo>
                  <a:lnTo>
                    <a:pt x="1300650" y="331308"/>
                  </a:lnTo>
                  <a:cubicBezTo>
                    <a:pt x="1300650" y="338481"/>
                    <a:pt x="1297800" y="345361"/>
                    <a:pt x="1292728" y="350433"/>
                  </a:cubicBezTo>
                  <a:cubicBezTo>
                    <a:pt x="1287656" y="355506"/>
                    <a:pt x="1280776" y="358355"/>
                    <a:pt x="1273603" y="358355"/>
                  </a:cubicBezTo>
                  <a:lnTo>
                    <a:pt x="27047" y="358355"/>
                  </a:lnTo>
                  <a:cubicBezTo>
                    <a:pt x="19874" y="358355"/>
                    <a:pt x="12994" y="355506"/>
                    <a:pt x="7922" y="350433"/>
                  </a:cubicBezTo>
                  <a:cubicBezTo>
                    <a:pt x="2850" y="345361"/>
                    <a:pt x="0" y="338481"/>
                    <a:pt x="0" y="331308"/>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53BF9D"/>
              </a:solidFill>
              <a:prstDash val="solid"/>
              <a:miter/>
            </a:ln>
          </p:spPr>
        </p:sp>
        <p:sp>
          <p:nvSpPr>
            <p:cNvPr id="28" name="TextBox 28"/>
            <p:cNvSpPr txBox="1"/>
            <p:nvPr/>
          </p:nvSpPr>
          <p:spPr>
            <a:xfrm>
              <a:off x="0" y="-38100"/>
              <a:ext cx="1300650" cy="396455"/>
            </a:xfrm>
            <a:prstGeom prst="rect">
              <a:avLst/>
            </a:prstGeom>
          </p:spPr>
          <p:txBody>
            <a:bodyPr lIns="33867" tIns="33867" rIns="33867" bIns="33867" rtlCol="0" anchor="ctr"/>
            <a:lstStyle/>
            <a:p>
              <a:pPr algn="ctr">
                <a:lnSpc>
                  <a:spcPts val="1882"/>
                </a:lnSpc>
              </a:pPr>
              <a:endParaRPr sz="800"/>
            </a:p>
          </p:txBody>
        </p:sp>
      </p:grpSp>
      <p:grpSp>
        <p:nvGrpSpPr>
          <p:cNvPr id="29" name="Group 29"/>
          <p:cNvGrpSpPr/>
          <p:nvPr/>
        </p:nvGrpSpPr>
        <p:grpSpPr>
          <a:xfrm>
            <a:off x="5902744" y="1584395"/>
            <a:ext cx="5457846" cy="960584"/>
            <a:chOff x="0" y="0"/>
            <a:chExt cx="2156186" cy="428975"/>
          </a:xfrm>
        </p:grpSpPr>
        <p:sp>
          <p:nvSpPr>
            <p:cNvPr id="30" name="Freeform 30"/>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4373A4"/>
            </a:solidFill>
          </p:spPr>
        </p:sp>
        <p:sp>
          <p:nvSpPr>
            <p:cNvPr id="31" name="TextBox 31"/>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32" name="AutoShape 32"/>
          <p:cNvSpPr/>
          <p:nvPr/>
        </p:nvSpPr>
        <p:spPr>
          <a:xfrm flipV="1">
            <a:off x="7040605" y="1760662"/>
            <a:ext cx="0" cy="570703"/>
          </a:xfrm>
          <a:prstGeom prst="line">
            <a:avLst/>
          </a:prstGeom>
          <a:ln w="38100" cap="flat">
            <a:solidFill>
              <a:srgbClr val="FFFFFF"/>
            </a:solidFill>
            <a:prstDash val="solid"/>
            <a:headEnd type="none" w="sm" len="sm"/>
            <a:tailEnd type="none" w="sm" len="sm"/>
          </a:ln>
        </p:spPr>
      </p:sp>
      <p:sp>
        <p:nvSpPr>
          <p:cNvPr id="33" name="Freeform 33"/>
          <p:cNvSpPr/>
          <p:nvPr/>
        </p:nvSpPr>
        <p:spPr>
          <a:xfrm>
            <a:off x="3434696" y="253900"/>
            <a:ext cx="1377360" cy="1323411"/>
          </a:xfrm>
          <a:custGeom>
            <a:avLst/>
            <a:gdLst/>
            <a:ahLst/>
            <a:cxnLst/>
            <a:rect l="l" t="t" r="r" b="b"/>
            <a:pathLst>
              <a:path w="1203399" h="1273439">
                <a:moveTo>
                  <a:pt x="0" y="0"/>
                </a:moveTo>
                <a:lnTo>
                  <a:pt x="1203400" y="0"/>
                </a:lnTo>
                <a:lnTo>
                  <a:pt x="1203400" y="1273438"/>
                </a:lnTo>
                <a:lnTo>
                  <a:pt x="0" y="1273438"/>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sp>
      <p:grpSp>
        <p:nvGrpSpPr>
          <p:cNvPr id="34" name="Group 34"/>
          <p:cNvGrpSpPr/>
          <p:nvPr/>
        </p:nvGrpSpPr>
        <p:grpSpPr>
          <a:xfrm>
            <a:off x="685801" y="3339921"/>
            <a:ext cx="3816499" cy="1051523"/>
            <a:chOff x="0" y="0"/>
            <a:chExt cx="1300650" cy="358355"/>
          </a:xfrm>
        </p:grpSpPr>
        <p:sp>
          <p:nvSpPr>
            <p:cNvPr id="35" name="Freeform 35"/>
            <p:cNvSpPr/>
            <p:nvPr/>
          </p:nvSpPr>
          <p:spPr>
            <a:xfrm>
              <a:off x="0" y="0"/>
              <a:ext cx="1300650" cy="358355"/>
            </a:xfrm>
            <a:custGeom>
              <a:avLst/>
              <a:gdLst/>
              <a:ahLst/>
              <a:cxnLst/>
              <a:rect l="l" t="t" r="r" b="b"/>
              <a:pathLst>
                <a:path w="1300650" h="358355">
                  <a:moveTo>
                    <a:pt x="27047" y="0"/>
                  </a:moveTo>
                  <a:lnTo>
                    <a:pt x="1273603" y="0"/>
                  </a:lnTo>
                  <a:cubicBezTo>
                    <a:pt x="1288541" y="0"/>
                    <a:pt x="1300650" y="12109"/>
                    <a:pt x="1300650" y="27047"/>
                  </a:cubicBezTo>
                  <a:lnTo>
                    <a:pt x="1300650" y="331308"/>
                  </a:lnTo>
                  <a:cubicBezTo>
                    <a:pt x="1300650" y="338481"/>
                    <a:pt x="1297800" y="345361"/>
                    <a:pt x="1292728" y="350433"/>
                  </a:cubicBezTo>
                  <a:cubicBezTo>
                    <a:pt x="1287656" y="355506"/>
                    <a:pt x="1280776" y="358355"/>
                    <a:pt x="1273603" y="358355"/>
                  </a:cubicBezTo>
                  <a:lnTo>
                    <a:pt x="27047" y="358355"/>
                  </a:lnTo>
                  <a:cubicBezTo>
                    <a:pt x="19874" y="358355"/>
                    <a:pt x="12994" y="355506"/>
                    <a:pt x="7922" y="350433"/>
                  </a:cubicBezTo>
                  <a:cubicBezTo>
                    <a:pt x="2850" y="345361"/>
                    <a:pt x="0" y="338481"/>
                    <a:pt x="0" y="331308"/>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F94C66"/>
              </a:solidFill>
              <a:prstDash val="solid"/>
              <a:miter/>
            </a:ln>
          </p:spPr>
        </p:sp>
        <p:sp>
          <p:nvSpPr>
            <p:cNvPr id="36" name="TextBox 36"/>
            <p:cNvSpPr txBox="1"/>
            <p:nvPr/>
          </p:nvSpPr>
          <p:spPr>
            <a:xfrm>
              <a:off x="0" y="-38100"/>
              <a:ext cx="1300650" cy="396455"/>
            </a:xfrm>
            <a:prstGeom prst="rect">
              <a:avLst/>
            </a:prstGeom>
          </p:spPr>
          <p:txBody>
            <a:bodyPr lIns="33867" tIns="33867" rIns="33867" bIns="33867" rtlCol="0" anchor="ctr"/>
            <a:lstStyle/>
            <a:p>
              <a:pPr algn="ctr">
                <a:lnSpc>
                  <a:spcPts val="1882"/>
                </a:lnSpc>
              </a:pPr>
              <a:endParaRPr sz="800"/>
            </a:p>
          </p:txBody>
        </p:sp>
      </p:grpSp>
      <p:grpSp>
        <p:nvGrpSpPr>
          <p:cNvPr id="37" name="Group 37"/>
          <p:cNvGrpSpPr/>
          <p:nvPr/>
        </p:nvGrpSpPr>
        <p:grpSpPr>
          <a:xfrm>
            <a:off x="671079" y="5088892"/>
            <a:ext cx="3816499" cy="1051523"/>
            <a:chOff x="0" y="0"/>
            <a:chExt cx="1300650" cy="358355"/>
          </a:xfrm>
        </p:grpSpPr>
        <p:sp>
          <p:nvSpPr>
            <p:cNvPr id="38" name="Freeform 38"/>
            <p:cNvSpPr/>
            <p:nvPr/>
          </p:nvSpPr>
          <p:spPr>
            <a:xfrm>
              <a:off x="0" y="0"/>
              <a:ext cx="1300650" cy="358355"/>
            </a:xfrm>
            <a:custGeom>
              <a:avLst/>
              <a:gdLst/>
              <a:ahLst/>
              <a:cxnLst/>
              <a:rect l="l" t="t" r="r" b="b"/>
              <a:pathLst>
                <a:path w="1300650" h="358355">
                  <a:moveTo>
                    <a:pt x="27047" y="0"/>
                  </a:moveTo>
                  <a:lnTo>
                    <a:pt x="1273603" y="0"/>
                  </a:lnTo>
                  <a:cubicBezTo>
                    <a:pt x="1288541" y="0"/>
                    <a:pt x="1300650" y="12109"/>
                    <a:pt x="1300650" y="27047"/>
                  </a:cubicBezTo>
                  <a:lnTo>
                    <a:pt x="1300650" y="331308"/>
                  </a:lnTo>
                  <a:cubicBezTo>
                    <a:pt x="1300650" y="338481"/>
                    <a:pt x="1297800" y="345361"/>
                    <a:pt x="1292728" y="350433"/>
                  </a:cubicBezTo>
                  <a:cubicBezTo>
                    <a:pt x="1287656" y="355506"/>
                    <a:pt x="1280776" y="358355"/>
                    <a:pt x="1273603" y="358355"/>
                  </a:cubicBezTo>
                  <a:lnTo>
                    <a:pt x="27047" y="358355"/>
                  </a:lnTo>
                  <a:cubicBezTo>
                    <a:pt x="19874" y="358355"/>
                    <a:pt x="12994" y="355506"/>
                    <a:pt x="7922" y="350433"/>
                  </a:cubicBezTo>
                  <a:cubicBezTo>
                    <a:pt x="2850" y="345361"/>
                    <a:pt x="0" y="338481"/>
                    <a:pt x="0" y="331308"/>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9F7ACE"/>
              </a:solidFill>
              <a:prstDash val="solid"/>
              <a:miter/>
            </a:ln>
          </p:spPr>
        </p:sp>
        <p:sp>
          <p:nvSpPr>
            <p:cNvPr id="39" name="TextBox 39"/>
            <p:cNvSpPr txBox="1"/>
            <p:nvPr/>
          </p:nvSpPr>
          <p:spPr>
            <a:xfrm>
              <a:off x="0" y="-38100"/>
              <a:ext cx="1300650" cy="396455"/>
            </a:xfrm>
            <a:prstGeom prst="rect">
              <a:avLst/>
            </a:prstGeom>
          </p:spPr>
          <p:txBody>
            <a:bodyPr lIns="33867" tIns="33867" rIns="33867" bIns="33867" rtlCol="0" anchor="ctr"/>
            <a:lstStyle/>
            <a:p>
              <a:pPr algn="ctr">
                <a:lnSpc>
                  <a:spcPts val="1882"/>
                </a:lnSpc>
              </a:pPr>
              <a:endParaRPr sz="800"/>
            </a:p>
          </p:txBody>
        </p:sp>
      </p:grpSp>
      <p:sp>
        <p:nvSpPr>
          <p:cNvPr id="40" name="AutoShape 40"/>
          <p:cNvSpPr/>
          <p:nvPr/>
        </p:nvSpPr>
        <p:spPr>
          <a:xfrm>
            <a:off x="5944497" y="5251991"/>
            <a:ext cx="1488295" cy="0"/>
          </a:xfrm>
          <a:prstGeom prst="line">
            <a:avLst/>
          </a:prstGeom>
          <a:ln w="38100" cap="flat">
            <a:solidFill>
              <a:srgbClr val="000000"/>
            </a:solidFill>
            <a:prstDash val="solid"/>
            <a:headEnd type="none" w="sm" len="sm"/>
            <a:tailEnd type="none" w="sm" len="sm"/>
          </a:ln>
        </p:spPr>
      </p:sp>
      <p:sp>
        <p:nvSpPr>
          <p:cNvPr id="42" name="Freeform 42"/>
          <p:cNvSpPr/>
          <p:nvPr/>
        </p:nvSpPr>
        <p:spPr>
          <a:xfrm>
            <a:off x="6096000" y="5506936"/>
            <a:ext cx="849759" cy="604391"/>
          </a:xfrm>
          <a:custGeom>
            <a:avLst/>
            <a:gdLst/>
            <a:ahLst/>
            <a:cxnLst/>
            <a:rect l="l" t="t" r="r" b="b"/>
            <a:pathLst>
              <a:path w="1274638" h="906586">
                <a:moveTo>
                  <a:pt x="0" y="0"/>
                </a:moveTo>
                <a:lnTo>
                  <a:pt x="1274638" y="0"/>
                </a:lnTo>
                <a:lnTo>
                  <a:pt x="1274638" y="906586"/>
                </a:lnTo>
                <a:lnTo>
                  <a:pt x="0" y="906586"/>
                </a:lnTo>
                <a:lnTo>
                  <a:pt x="0" y="0"/>
                </a:lnTo>
                <a:close/>
              </a:path>
            </a:pathLst>
          </a:custGeom>
          <a:blipFill>
            <a:blip r:embed="rId14"/>
            <a:stretch>
              <a:fillRect/>
            </a:stretch>
          </a:blipFill>
        </p:spPr>
      </p:sp>
      <p:sp>
        <p:nvSpPr>
          <p:cNvPr id="43" name="Freeform 43"/>
          <p:cNvSpPr/>
          <p:nvPr/>
        </p:nvSpPr>
        <p:spPr>
          <a:xfrm>
            <a:off x="6096000" y="1655300"/>
            <a:ext cx="663971" cy="829211"/>
          </a:xfrm>
          <a:custGeom>
            <a:avLst/>
            <a:gdLst/>
            <a:ahLst/>
            <a:cxnLst/>
            <a:rect l="l" t="t" r="r" b="b"/>
            <a:pathLst>
              <a:path w="1199503" h="1447364">
                <a:moveTo>
                  <a:pt x="0" y="0"/>
                </a:moveTo>
                <a:lnTo>
                  <a:pt x="1199503" y="0"/>
                </a:lnTo>
                <a:lnTo>
                  <a:pt x="1199503" y="1447364"/>
                </a:lnTo>
                <a:lnTo>
                  <a:pt x="0" y="1447364"/>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sp>
      <p:sp>
        <p:nvSpPr>
          <p:cNvPr id="44" name="TextBox 44"/>
          <p:cNvSpPr txBox="1"/>
          <p:nvPr/>
        </p:nvSpPr>
        <p:spPr>
          <a:xfrm>
            <a:off x="685800" y="334545"/>
            <a:ext cx="4632329" cy="1856727"/>
          </a:xfrm>
          <a:prstGeom prst="rect">
            <a:avLst/>
          </a:prstGeom>
          <a:noFill/>
        </p:spPr>
        <p:txBody>
          <a:bodyPr lIns="0" tIns="0" rIns="0" bIns="0" rtlCol="0" anchor="t">
            <a:spAutoFit/>
          </a:bodyPr>
          <a:lstStyle/>
          <a:p>
            <a:pPr>
              <a:lnSpc>
                <a:spcPts val="3733"/>
              </a:lnSpc>
            </a:pPr>
            <a:r>
              <a:rPr lang="en-US" sz="2650" b="1" spc="111">
                <a:solidFill>
                  <a:srgbClr val="000000"/>
                </a:solidFill>
                <a:latin typeface="Barlow Bold"/>
              </a:rPr>
              <a:t>DRIVER 4: </a:t>
            </a:r>
          </a:p>
          <a:p>
            <a:pPr>
              <a:lnSpc>
                <a:spcPts val="3733"/>
              </a:lnSpc>
            </a:pPr>
            <a:r>
              <a:rPr lang="en-US" sz="2650" b="1" spc="111">
                <a:solidFill>
                  <a:srgbClr val="000000"/>
                </a:solidFill>
                <a:latin typeface="Barlow Bold"/>
              </a:rPr>
              <a:t>COMMUNITY PARTNERSHIPS </a:t>
            </a:r>
            <a:r>
              <a:rPr lang="en-US" sz="2650" spc="111">
                <a:solidFill>
                  <a:srgbClr val="000000"/>
                </a:solidFill>
                <a:latin typeface="Barlow Bold"/>
              </a:rPr>
              <a:t> </a:t>
            </a:r>
          </a:p>
          <a:p>
            <a:pPr>
              <a:lnSpc>
                <a:spcPts val="3733"/>
              </a:lnSpc>
            </a:pPr>
            <a:r>
              <a:rPr lang="en-US" sz="2650" spc="111">
                <a:solidFill>
                  <a:srgbClr val="000000"/>
                </a:solidFill>
                <a:latin typeface="Barlow Bold"/>
              </a:rPr>
              <a:t>​</a:t>
            </a:r>
          </a:p>
        </p:txBody>
      </p:sp>
      <p:sp>
        <p:nvSpPr>
          <p:cNvPr id="45" name="TextBox 45"/>
          <p:cNvSpPr txBox="1"/>
          <p:nvPr/>
        </p:nvSpPr>
        <p:spPr>
          <a:xfrm>
            <a:off x="7002505" y="369410"/>
            <a:ext cx="4084512" cy="217239"/>
          </a:xfrm>
          <a:prstGeom prst="rect">
            <a:avLst/>
          </a:prstGeom>
        </p:spPr>
        <p:txBody>
          <a:bodyPr lIns="0" tIns="0" rIns="0" bIns="0" rtlCol="0" anchor="t">
            <a:spAutoFit/>
          </a:bodyPr>
          <a:lstStyle/>
          <a:p>
            <a:pPr marL="0" lvl="1">
              <a:lnSpc>
                <a:spcPts val="1882"/>
              </a:lnSpc>
              <a:spcBef>
                <a:spcPct val="0"/>
              </a:spcBef>
            </a:pPr>
            <a:r>
              <a:rPr lang="en-US" sz="1344" spc="43">
                <a:solidFill>
                  <a:srgbClr val="FFFFFF"/>
                </a:solidFill>
                <a:latin typeface="Barlow Bold"/>
              </a:rPr>
              <a:t>Complete local and online resource mapping</a:t>
            </a:r>
          </a:p>
        </p:txBody>
      </p:sp>
      <p:sp>
        <p:nvSpPr>
          <p:cNvPr id="46" name="TextBox 46"/>
          <p:cNvSpPr txBox="1"/>
          <p:nvPr/>
        </p:nvSpPr>
        <p:spPr>
          <a:xfrm>
            <a:off x="7247530" y="1916779"/>
            <a:ext cx="4054625" cy="228268"/>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Complete local and online resource mapping </a:t>
            </a:r>
            <a:endParaRPr lang="en-US" sz="1344" spc="43">
              <a:solidFill>
                <a:srgbClr val="FFFFFF"/>
              </a:solidFill>
              <a:latin typeface="Barlow Semi-Bold"/>
            </a:endParaRPr>
          </a:p>
        </p:txBody>
      </p:sp>
      <p:sp>
        <p:nvSpPr>
          <p:cNvPr id="47" name="TextBox 47"/>
          <p:cNvSpPr txBox="1"/>
          <p:nvPr/>
        </p:nvSpPr>
        <p:spPr>
          <a:xfrm>
            <a:off x="7184900" y="5574065"/>
            <a:ext cx="3770521" cy="470385"/>
          </a:xfrm>
          <a:prstGeom prst="rect">
            <a:avLst/>
          </a:prstGeom>
        </p:spPr>
        <p:txBody>
          <a:bodyPr wrap="square" lIns="0" tIns="0" rIns="0" bIns="0" rtlCol="0" anchor="t">
            <a:spAutoFit/>
          </a:bodyPr>
          <a:lstStyle/>
          <a:p>
            <a:pPr>
              <a:lnSpc>
                <a:spcPts val="1882"/>
              </a:lnSpc>
            </a:pPr>
            <a:r>
              <a:rPr lang="en-US" sz="1300" b="1" spc="43">
                <a:solidFill>
                  <a:srgbClr val="FFFFFF"/>
                </a:solidFill>
                <a:latin typeface="Barlow Semi-Bold"/>
              </a:rPr>
              <a:t>Coordinate ESSI Newborn Care Plan and initiate warm handoff to community provider</a:t>
            </a:r>
          </a:p>
        </p:txBody>
      </p:sp>
      <p:sp>
        <p:nvSpPr>
          <p:cNvPr id="48" name="TextBox 48"/>
          <p:cNvSpPr txBox="1"/>
          <p:nvPr/>
        </p:nvSpPr>
        <p:spPr>
          <a:xfrm>
            <a:off x="851889" y="2030669"/>
            <a:ext cx="3454879" cy="265714"/>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1: Resource Mapping</a:t>
            </a:r>
          </a:p>
        </p:txBody>
      </p:sp>
      <p:sp>
        <p:nvSpPr>
          <p:cNvPr id="49" name="TextBox 49"/>
          <p:cNvSpPr txBox="1"/>
          <p:nvPr/>
        </p:nvSpPr>
        <p:spPr>
          <a:xfrm>
            <a:off x="715243" y="3428803"/>
            <a:ext cx="3787056"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2: Building Relationships with Community Organizations</a:t>
            </a:r>
          </a:p>
        </p:txBody>
      </p:sp>
      <p:sp>
        <p:nvSpPr>
          <p:cNvPr id="50" name="TextBox 50"/>
          <p:cNvSpPr txBox="1"/>
          <p:nvPr/>
        </p:nvSpPr>
        <p:spPr>
          <a:xfrm>
            <a:off x="7293419" y="3157947"/>
            <a:ext cx="4080559" cy="714042"/>
          </a:xfrm>
          <a:prstGeom prst="rect">
            <a:avLst/>
          </a:prstGeom>
        </p:spPr>
        <p:txBody>
          <a:bodyPr lIns="0" tIns="0" rIns="0" bIns="0" rtlCol="0" anchor="t">
            <a:spAutoFit/>
          </a:bodyPr>
          <a:lstStyle/>
          <a:p>
            <a:pPr marL="0" lvl="1">
              <a:lnSpc>
                <a:spcPts val="1882"/>
              </a:lnSpc>
              <a:spcBef>
                <a:spcPct val="0"/>
              </a:spcBef>
            </a:pPr>
            <a:r>
              <a:rPr lang="en-US" sz="1300" b="1" spc="43" dirty="0">
                <a:solidFill>
                  <a:srgbClr val="FFFFFF"/>
                </a:solidFill>
                <a:latin typeface="Barlow Semi-Bold"/>
              </a:rPr>
              <a:t>Partner with local community agencies, organizations, and champions to understand challenges/barriers to a safe sleep environment </a:t>
            </a:r>
            <a:endParaRPr lang="en-US" sz="1300" spc="43" dirty="0">
              <a:solidFill>
                <a:srgbClr val="FFFFFF"/>
              </a:solidFill>
              <a:latin typeface="Barlow Semi-Bold"/>
            </a:endParaRPr>
          </a:p>
        </p:txBody>
      </p:sp>
      <p:sp>
        <p:nvSpPr>
          <p:cNvPr id="51" name="TextBox 51"/>
          <p:cNvSpPr txBox="1"/>
          <p:nvPr/>
        </p:nvSpPr>
        <p:spPr>
          <a:xfrm>
            <a:off x="715243" y="5301822"/>
            <a:ext cx="3787056"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3: Transfer of Care</a:t>
            </a:r>
          </a:p>
          <a:p>
            <a:pPr algn="ctr">
              <a:lnSpc>
                <a:spcPts val="2239"/>
              </a:lnSpc>
              <a:spcBef>
                <a:spcPct val="0"/>
              </a:spcBef>
            </a:pPr>
            <a:r>
              <a:rPr lang="en-US" sz="1600" spc="51">
                <a:solidFill>
                  <a:srgbClr val="000000"/>
                </a:solidFill>
                <a:latin typeface="Barlow Semi-Bold"/>
              </a:rPr>
              <a:t>to Community Providers</a:t>
            </a:r>
          </a:p>
        </p:txBody>
      </p:sp>
      <p:sp>
        <p:nvSpPr>
          <p:cNvPr id="56" name="TextBox 55">
            <a:extLst>
              <a:ext uri="{FF2B5EF4-FFF2-40B4-BE49-F238E27FC236}">
                <a16:creationId xmlns:a16="http://schemas.microsoft.com/office/drawing/2014/main" id="{AB0F7BDF-C613-8BB0-BFCB-8F26B40EC06E}"/>
              </a:ext>
            </a:extLst>
          </p:cNvPr>
          <p:cNvSpPr txBox="1"/>
          <p:nvPr/>
        </p:nvSpPr>
        <p:spPr>
          <a:xfrm>
            <a:off x="7146908" y="1121434"/>
            <a:ext cx="2667520" cy="523220"/>
          </a:xfrm>
          <a:prstGeom prst="rect">
            <a:avLst/>
          </a:prstGeom>
          <a:noFill/>
        </p:spPr>
        <p:txBody>
          <a:bodyPr wrap="square" lIns="91440" tIns="45720" rIns="91440" bIns="45720" rtlCol="0" anchor="t">
            <a:spAutoFit/>
          </a:bodyPr>
          <a:lstStyle/>
          <a:p>
            <a:r>
              <a:rPr lang="en-US" sz="2800" b="1">
                <a:latin typeface="Arial"/>
                <a:ea typeface="MS PGothic"/>
                <a:cs typeface="Arial"/>
              </a:rPr>
              <a:t>Change Ideas</a:t>
            </a:r>
          </a:p>
        </p:txBody>
      </p:sp>
      <p:grpSp>
        <p:nvGrpSpPr>
          <p:cNvPr id="52" name="Group 7">
            <a:extLst>
              <a:ext uri="{FF2B5EF4-FFF2-40B4-BE49-F238E27FC236}">
                <a16:creationId xmlns:a16="http://schemas.microsoft.com/office/drawing/2014/main" id="{8A92A364-B996-B49C-BDA0-BAA1F5A15866}"/>
              </a:ext>
            </a:extLst>
          </p:cNvPr>
          <p:cNvGrpSpPr/>
          <p:nvPr/>
        </p:nvGrpSpPr>
        <p:grpSpPr>
          <a:xfrm>
            <a:off x="5927702" y="4141709"/>
            <a:ext cx="5447408" cy="894497"/>
            <a:chOff x="0" y="-38100"/>
            <a:chExt cx="2156186" cy="531081"/>
          </a:xfrm>
        </p:grpSpPr>
        <p:sp>
          <p:nvSpPr>
            <p:cNvPr id="57" name="Freeform 8">
              <a:extLst>
                <a:ext uri="{FF2B5EF4-FFF2-40B4-BE49-F238E27FC236}">
                  <a16:creationId xmlns:a16="http://schemas.microsoft.com/office/drawing/2014/main" id="{00246169-A4F3-5ED8-8A94-4557BB21D7AB}"/>
                </a:ext>
              </a:extLst>
            </p:cNvPr>
            <p:cNvSpPr/>
            <p:nvPr/>
          </p:nvSpPr>
          <p:spPr>
            <a:xfrm>
              <a:off x="0" y="0"/>
              <a:ext cx="2156186" cy="492981"/>
            </a:xfrm>
            <a:custGeom>
              <a:avLst/>
              <a:gdLst/>
              <a:ahLst/>
              <a:cxnLst/>
              <a:rect l="l" t="t" r="r" b="b"/>
              <a:pathLst>
                <a:path w="2156186" h="492981">
                  <a:moveTo>
                    <a:pt x="28370" y="0"/>
                  </a:moveTo>
                  <a:lnTo>
                    <a:pt x="2127816" y="0"/>
                  </a:lnTo>
                  <a:cubicBezTo>
                    <a:pt x="2143484" y="0"/>
                    <a:pt x="2156186" y="12702"/>
                    <a:pt x="2156186" y="28370"/>
                  </a:cubicBezTo>
                  <a:lnTo>
                    <a:pt x="2156186" y="464611"/>
                  </a:lnTo>
                  <a:cubicBezTo>
                    <a:pt x="2156186" y="480279"/>
                    <a:pt x="2143484" y="492981"/>
                    <a:pt x="2127816" y="492981"/>
                  </a:cubicBezTo>
                  <a:lnTo>
                    <a:pt x="28370" y="492981"/>
                  </a:lnTo>
                  <a:cubicBezTo>
                    <a:pt x="12702" y="492981"/>
                    <a:pt x="0" y="480279"/>
                    <a:pt x="0" y="464611"/>
                  </a:cubicBezTo>
                  <a:lnTo>
                    <a:pt x="0" y="28370"/>
                  </a:lnTo>
                  <a:cubicBezTo>
                    <a:pt x="0" y="12702"/>
                    <a:pt x="12702" y="0"/>
                    <a:pt x="28370" y="0"/>
                  </a:cubicBezTo>
                  <a:close/>
                </a:path>
              </a:pathLst>
            </a:custGeom>
            <a:solidFill>
              <a:srgbClr val="F5668F"/>
            </a:solidFill>
          </p:spPr>
        </p:sp>
        <p:sp>
          <p:nvSpPr>
            <p:cNvPr id="58" name="TextBox 9">
              <a:extLst>
                <a:ext uri="{FF2B5EF4-FFF2-40B4-BE49-F238E27FC236}">
                  <a16:creationId xmlns:a16="http://schemas.microsoft.com/office/drawing/2014/main" id="{5DE913D1-6F60-94B9-10FF-534A5E538AB8}"/>
                </a:ext>
              </a:extLst>
            </p:cNvPr>
            <p:cNvSpPr txBox="1"/>
            <p:nvPr/>
          </p:nvSpPr>
          <p:spPr>
            <a:xfrm>
              <a:off x="0" y="-38100"/>
              <a:ext cx="2156186" cy="531081"/>
            </a:xfrm>
            <a:prstGeom prst="rect">
              <a:avLst/>
            </a:prstGeom>
            <a:solidFill>
              <a:srgbClr val="F5668F"/>
            </a:solidFill>
          </p:spPr>
          <p:txBody>
            <a:bodyPr lIns="33867" tIns="33867" rIns="33867" bIns="33867" rtlCol="0" anchor="ctr"/>
            <a:lstStyle/>
            <a:p>
              <a:pPr algn="ctr">
                <a:lnSpc>
                  <a:spcPts val="1882"/>
                </a:lnSpc>
              </a:pPr>
              <a:endParaRPr sz="800" b="1"/>
            </a:p>
          </p:txBody>
        </p:sp>
      </p:grpSp>
      <p:cxnSp>
        <p:nvCxnSpPr>
          <p:cNvPr id="59" name="Straight Arrow Connector 58">
            <a:extLst>
              <a:ext uri="{FF2B5EF4-FFF2-40B4-BE49-F238E27FC236}">
                <a16:creationId xmlns:a16="http://schemas.microsoft.com/office/drawing/2014/main" id="{6AB28071-935B-166B-0CEE-EC97EB10FF51}"/>
              </a:ext>
            </a:extLst>
          </p:cNvPr>
          <p:cNvCxnSpPr>
            <a:cxnSpLocks/>
          </p:cNvCxnSpPr>
          <p:nvPr/>
        </p:nvCxnSpPr>
        <p:spPr>
          <a:xfrm>
            <a:off x="4513168" y="3911173"/>
            <a:ext cx="1405107" cy="723662"/>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60" name="AutoShape 11">
            <a:extLst>
              <a:ext uri="{FF2B5EF4-FFF2-40B4-BE49-F238E27FC236}">
                <a16:creationId xmlns:a16="http://schemas.microsoft.com/office/drawing/2014/main" id="{A85E379C-4C1C-B6B4-A543-3DF6B25DACF8}"/>
              </a:ext>
            </a:extLst>
          </p:cNvPr>
          <p:cNvSpPr/>
          <p:nvPr/>
        </p:nvSpPr>
        <p:spPr>
          <a:xfrm flipV="1">
            <a:off x="7103235" y="4314817"/>
            <a:ext cx="0" cy="570703"/>
          </a:xfrm>
          <a:prstGeom prst="line">
            <a:avLst/>
          </a:prstGeom>
          <a:ln w="38100" cap="flat">
            <a:solidFill>
              <a:srgbClr val="FFFFFF"/>
            </a:solidFill>
            <a:prstDash val="solid"/>
            <a:headEnd type="none" w="sm" len="sm"/>
            <a:tailEnd type="none" w="sm" len="sm"/>
          </a:ln>
        </p:spPr>
      </p:sp>
      <p:sp>
        <p:nvSpPr>
          <p:cNvPr id="61" name="TextBox 60">
            <a:extLst>
              <a:ext uri="{FF2B5EF4-FFF2-40B4-BE49-F238E27FC236}">
                <a16:creationId xmlns:a16="http://schemas.microsoft.com/office/drawing/2014/main" id="{24C1FDA7-3400-B267-F027-73B2E0675C53}"/>
              </a:ext>
            </a:extLst>
          </p:cNvPr>
          <p:cNvSpPr txBox="1"/>
          <p:nvPr/>
        </p:nvSpPr>
        <p:spPr>
          <a:xfrm>
            <a:off x="7229605" y="4369496"/>
            <a:ext cx="4131501"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spc="43">
                <a:solidFill>
                  <a:srgbClr val="FFFFFF"/>
                </a:solidFill>
                <a:latin typeface="Barlow Semi-Bold"/>
              </a:rPr>
              <a:t>Endorse consistent safe sleep environment messaging and education</a:t>
            </a:r>
            <a:endParaRPr lang="en-US">
              <a:latin typeface="WordVisi_MSFontService"/>
            </a:endParaRPr>
          </a:p>
        </p:txBody>
      </p:sp>
      <p:sp>
        <p:nvSpPr>
          <p:cNvPr id="41" name="Freeform 41"/>
          <p:cNvSpPr/>
          <p:nvPr/>
        </p:nvSpPr>
        <p:spPr>
          <a:xfrm>
            <a:off x="6009818" y="4370622"/>
            <a:ext cx="998565" cy="457064"/>
          </a:xfrm>
          <a:custGeom>
            <a:avLst/>
            <a:gdLst/>
            <a:ahLst/>
            <a:cxnLst/>
            <a:rect l="l" t="t" r="r" b="b"/>
            <a:pathLst>
              <a:path w="1497847" h="685596">
                <a:moveTo>
                  <a:pt x="0" y="0"/>
                </a:moveTo>
                <a:lnTo>
                  <a:pt x="1497848" y="0"/>
                </a:lnTo>
                <a:lnTo>
                  <a:pt x="1497848" y="685596"/>
                </a:lnTo>
                <a:lnTo>
                  <a:pt x="0" y="685596"/>
                </a:lnTo>
                <a:lnTo>
                  <a:pt x="0" y="0"/>
                </a:lnTo>
                <a:close/>
              </a:path>
            </a:pathLst>
          </a:custGeom>
          <a:blipFill>
            <a:blip r:embed="rId17"/>
            <a:stretch>
              <a:fillRect l="-5505" t="-5280" r="-1688" b="-5202"/>
            </a:stretch>
          </a:blipFill>
        </p:spPr>
      </p:sp>
      <p:sp>
        <p:nvSpPr>
          <p:cNvPr id="63" name="Freeform 54">
            <a:extLst>
              <a:ext uri="{FF2B5EF4-FFF2-40B4-BE49-F238E27FC236}">
                <a16:creationId xmlns:a16="http://schemas.microsoft.com/office/drawing/2014/main" id="{76FF9F61-EDF0-6510-36D2-8E579D614428}"/>
              </a:ext>
            </a:extLst>
          </p:cNvPr>
          <p:cNvSpPr/>
          <p:nvPr/>
        </p:nvSpPr>
        <p:spPr>
          <a:xfrm>
            <a:off x="6204050" y="3194952"/>
            <a:ext cx="603775" cy="580379"/>
          </a:xfrm>
          <a:custGeom>
            <a:avLst/>
            <a:gdLst/>
            <a:ahLst/>
            <a:cxnLst/>
            <a:rect l="l" t="t" r="r" b="b"/>
            <a:pathLst>
              <a:path w="905663" h="870569">
                <a:moveTo>
                  <a:pt x="0" y="0"/>
                </a:moveTo>
                <a:lnTo>
                  <a:pt x="905664" y="0"/>
                </a:lnTo>
                <a:lnTo>
                  <a:pt x="905664" y="870568"/>
                </a:lnTo>
                <a:lnTo>
                  <a:pt x="0" y="870568"/>
                </a:lnTo>
                <a:lnTo>
                  <a:pt x="0" y="0"/>
                </a:lnTo>
                <a:close/>
              </a:path>
            </a:pathLst>
          </a:custGeom>
          <a:blipFill>
            <a:blip r:embed="rId18"/>
            <a:stretch>
              <a:fillRect/>
            </a:stretch>
          </a:blipFill>
        </p:spPr>
      </p:sp>
    </p:spTree>
    <p:extLst>
      <p:ext uri="{BB962C8B-B14F-4D97-AF65-F5344CB8AC3E}">
        <p14:creationId xmlns:p14="http://schemas.microsoft.com/office/powerpoint/2010/main" val="30304493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7" name="Straight Arrow Connector 56">
            <a:extLst>
              <a:ext uri="{FF2B5EF4-FFF2-40B4-BE49-F238E27FC236}">
                <a16:creationId xmlns:a16="http://schemas.microsoft.com/office/drawing/2014/main" id="{20BA68FA-6BDE-2EDB-723C-CD601AB032C2}"/>
              </a:ext>
            </a:extLst>
          </p:cNvPr>
          <p:cNvCxnSpPr>
            <a:cxnSpLocks/>
          </p:cNvCxnSpPr>
          <p:nvPr/>
        </p:nvCxnSpPr>
        <p:spPr>
          <a:xfrm>
            <a:off x="4521006" y="5717282"/>
            <a:ext cx="1405106" cy="3416"/>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A7B5C048-F156-0D3C-D55F-4D731E35FA2E}"/>
              </a:ext>
            </a:extLst>
          </p:cNvPr>
          <p:cNvCxnSpPr>
            <a:cxnSpLocks/>
          </p:cNvCxnSpPr>
          <p:nvPr/>
        </p:nvCxnSpPr>
        <p:spPr>
          <a:xfrm>
            <a:off x="4514380" y="2419699"/>
            <a:ext cx="1405106" cy="3416"/>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6352D6FE-962F-E499-92FF-86F2420A2EA5}"/>
              </a:ext>
            </a:extLst>
          </p:cNvPr>
          <p:cNvCxnSpPr>
            <a:cxnSpLocks/>
          </p:cNvCxnSpPr>
          <p:nvPr/>
        </p:nvCxnSpPr>
        <p:spPr>
          <a:xfrm>
            <a:off x="4501128" y="3952534"/>
            <a:ext cx="1405106" cy="3416"/>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 name="Freeform 2"/>
          <p:cNvSpPr/>
          <p:nvPr/>
        </p:nvSpPr>
        <p:spPr>
          <a:xfrm>
            <a:off x="5938142" y="5123272"/>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a:alphaModFix amt="40000"/>
              <a:extLst>
                <a:ext uri="{96DAC541-7B7A-43D3-8B79-37D633B846F1}">
                  <asvg:svgBlip xmlns:asvg="http://schemas.microsoft.com/office/drawing/2016/SVG/main" r:embed="rId3"/>
                </a:ext>
              </a:extLst>
            </a:blip>
            <a:stretch>
              <a:fillRect t="-154842"/>
            </a:stretch>
          </a:blipFill>
        </p:spPr>
      </p:sp>
      <p:grpSp>
        <p:nvGrpSpPr>
          <p:cNvPr id="3" name="Group 3"/>
          <p:cNvGrpSpPr/>
          <p:nvPr/>
        </p:nvGrpSpPr>
        <p:grpSpPr>
          <a:xfrm>
            <a:off x="5916567" y="5088892"/>
            <a:ext cx="5457846" cy="1085844"/>
            <a:chOff x="0" y="0"/>
            <a:chExt cx="2156186" cy="428975"/>
          </a:xfrm>
        </p:grpSpPr>
        <p:sp>
          <p:nvSpPr>
            <p:cNvPr id="4" name="Freeform 4"/>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53BF9D"/>
            </a:solidFill>
          </p:spPr>
        </p:sp>
        <p:sp>
          <p:nvSpPr>
            <p:cNvPr id="5" name="TextBox 5"/>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6" name="Freeform 6"/>
          <p:cNvSpPr/>
          <p:nvPr/>
        </p:nvSpPr>
        <p:spPr>
          <a:xfrm>
            <a:off x="5938142" y="3743335"/>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a:alphaModFix amt="40000"/>
              <a:extLst>
                <a:ext uri="{96DAC541-7B7A-43D3-8B79-37D633B846F1}">
                  <asvg:svgBlip xmlns:asvg="http://schemas.microsoft.com/office/drawing/2016/SVG/main" r:embed="rId3"/>
                </a:ext>
              </a:extLst>
            </a:blip>
            <a:stretch>
              <a:fillRect t="-154842"/>
            </a:stretch>
          </a:blipFill>
        </p:spPr>
      </p:sp>
      <p:sp>
        <p:nvSpPr>
          <p:cNvPr id="7" name="Freeform 7"/>
          <p:cNvSpPr/>
          <p:nvPr/>
        </p:nvSpPr>
        <p:spPr>
          <a:xfrm>
            <a:off x="5938142" y="2359430"/>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a:alphaModFix amt="40000"/>
              <a:extLst>
                <a:ext uri="{96DAC541-7B7A-43D3-8B79-37D633B846F1}">
                  <asvg:svgBlip xmlns:asvg="http://schemas.microsoft.com/office/drawing/2016/SVG/main" r:embed="rId3"/>
                </a:ext>
              </a:extLst>
            </a:blip>
            <a:stretch>
              <a:fillRect t="-154842"/>
            </a:stretch>
          </a:blipFill>
        </p:spPr>
      </p:sp>
      <p:sp>
        <p:nvSpPr>
          <p:cNvPr id="8" name="AutoShape 8"/>
          <p:cNvSpPr/>
          <p:nvPr/>
        </p:nvSpPr>
        <p:spPr>
          <a:xfrm flipV="1">
            <a:off x="7053305" y="5350862"/>
            <a:ext cx="0" cy="570703"/>
          </a:xfrm>
          <a:prstGeom prst="line">
            <a:avLst/>
          </a:prstGeom>
          <a:ln w="38100" cap="flat">
            <a:solidFill>
              <a:srgbClr val="FFFFFF"/>
            </a:solidFill>
            <a:prstDash val="solid"/>
            <a:headEnd type="none" w="sm" len="sm"/>
            <a:tailEnd type="none" w="sm" len="sm"/>
          </a:ln>
        </p:spPr>
      </p:sp>
      <p:sp>
        <p:nvSpPr>
          <p:cNvPr id="9" name="AutoShape 9"/>
          <p:cNvSpPr/>
          <p:nvPr/>
        </p:nvSpPr>
        <p:spPr>
          <a:xfrm>
            <a:off x="5916567" y="3113273"/>
            <a:ext cx="1488295" cy="0"/>
          </a:xfrm>
          <a:prstGeom prst="line">
            <a:avLst/>
          </a:prstGeom>
          <a:ln w="38100" cap="flat">
            <a:solidFill>
              <a:srgbClr val="000000"/>
            </a:solidFill>
            <a:prstDash val="solid"/>
            <a:headEnd type="none" w="sm" len="sm"/>
            <a:tailEnd type="none" w="sm" len="sm"/>
          </a:ln>
        </p:spPr>
      </p:sp>
      <p:sp>
        <p:nvSpPr>
          <p:cNvPr id="10" name="Freeform 10"/>
          <p:cNvSpPr/>
          <p:nvPr/>
        </p:nvSpPr>
        <p:spPr>
          <a:xfrm>
            <a:off x="-846965" y="4892042"/>
            <a:ext cx="1116149" cy="2426412"/>
          </a:xfrm>
          <a:custGeom>
            <a:avLst/>
            <a:gdLst/>
            <a:ahLst/>
            <a:cxnLst/>
            <a:rect l="l" t="t" r="r" b="b"/>
            <a:pathLst>
              <a:path w="1674224" h="3639618">
                <a:moveTo>
                  <a:pt x="0" y="0"/>
                </a:moveTo>
                <a:lnTo>
                  <a:pt x="1674224" y="0"/>
                </a:lnTo>
                <a:lnTo>
                  <a:pt x="1674224" y="3639618"/>
                </a:lnTo>
                <a:lnTo>
                  <a:pt x="0" y="3639618"/>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11" name="Freeform 11"/>
          <p:cNvSpPr/>
          <p:nvPr/>
        </p:nvSpPr>
        <p:spPr>
          <a:xfrm flipV="1">
            <a:off x="11924327" y="-98563"/>
            <a:ext cx="1116149" cy="2426412"/>
          </a:xfrm>
          <a:custGeom>
            <a:avLst/>
            <a:gdLst/>
            <a:ahLst/>
            <a:cxnLst/>
            <a:rect l="l" t="t" r="r" b="b"/>
            <a:pathLst>
              <a:path w="1674224" h="3639618">
                <a:moveTo>
                  <a:pt x="0" y="3639618"/>
                </a:moveTo>
                <a:lnTo>
                  <a:pt x="1674224" y="3639618"/>
                </a:lnTo>
                <a:lnTo>
                  <a:pt x="1674224" y="0"/>
                </a:lnTo>
                <a:lnTo>
                  <a:pt x="0" y="0"/>
                </a:lnTo>
                <a:lnTo>
                  <a:pt x="0" y="3639618"/>
                </a:lnTo>
                <a:close/>
              </a:path>
            </a:pathLst>
          </a:custGeom>
          <a:blipFill>
            <a:blip r:embed="rId4">
              <a:extLst>
                <a:ext uri="{96DAC541-7B7A-43D3-8B79-37D633B846F1}">
                  <asvg:svgBlip xmlns:asvg="http://schemas.microsoft.com/office/drawing/2016/SVG/main" r:embed="rId5"/>
                </a:ext>
              </a:extLst>
            </a:blip>
            <a:stretch>
              <a:fillRect/>
            </a:stretch>
          </a:blipFill>
        </p:spPr>
      </p:sp>
      <p:grpSp>
        <p:nvGrpSpPr>
          <p:cNvPr id="12" name="Group 12"/>
          <p:cNvGrpSpPr/>
          <p:nvPr/>
        </p:nvGrpSpPr>
        <p:grpSpPr>
          <a:xfrm>
            <a:off x="11377921" y="6168748"/>
            <a:ext cx="1368800" cy="1368800"/>
            <a:chOff x="0" y="0"/>
            <a:chExt cx="812800" cy="812800"/>
          </a:xfrm>
        </p:grpSpPr>
        <p:sp>
          <p:nvSpPr>
            <p:cNvPr id="13" name="Freeform 1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14" name="TextBox 14"/>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15" name="Group 15"/>
          <p:cNvGrpSpPr/>
          <p:nvPr/>
        </p:nvGrpSpPr>
        <p:grpSpPr>
          <a:xfrm>
            <a:off x="-415216" y="-654827"/>
            <a:ext cx="1368800" cy="1368800"/>
            <a:chOff x="0" y="0"/>
            <a:chExt cx="812800" cy="812800"/>
          </a:xfrm>
        </p:grpSpPr>
        <p:sp>
          <p:nvSpPr>
            <p:cNvPr id="16" name="Freeform 1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17" name="TextBox 17"/>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
        <p:nvSpPr>
          <p:cNvPr id="18" name="Freeform 18"/>
          <p:cNvSpPr/>
          <p:nvPr/>
        </p:nvSpPr>
        <p:spPr>
          <a:xfrm>
            <a:off x="3087435" y="6270053"/>
            <a:ext cx="1227815" cy="385227"/>
          </a:xfrm>
          <a:custGeom>
            <a:avLst/>
            <a:gdLst/>
            <a:ahLst/>
            <a:cxnLst/>
            <a:rect l="l" t="t" r="r" b="b"/>
            <a:pathLst>
              <a:path w="1841723" h="577841">
                <a:moveTo>
                  <a:pt x="0" y="0"/>
                </a:moveTo>
                <a:lnTo>
                  <a:pt x="1841723" y="0"/>
                </a:lnTo>
                <a:lnTo>
                  <a:pt x="1841723" y="577841"/>
                </a:lnTo>
                <a:lnTo>
                  <a:pt x="0" y="577841"/>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19" name="Freeform 19"/>
          <p:cNvSpPr/>
          <p:nvPr/>
        </p:nvSpPr>
        <p:spPr>
          <a:xfrm rot="16200000">
            <a:off x="6317404" y="5809543"/>
            <a:ext cx="1167003" cy="2743200"/>
          </a:xfrm>
          <a:custGeom>
            <a:avLst/>
            <a:gdLst/>
            <a:ahLst/>
            <a:cxnLst/>
            <a:rect l="l" t="t" r="r" b="b"/>
            <a:pathLst>
              <a:path w="1750505" h="4114800">
                <a:moveTo>
                  <a:pt x="0" y="0"/>
                </a:moveTo>
                <a:lnTo>
                  <a:pt x="1750504" y="0"/>
                </a:lnTo>
                <a:lnTo>
                  <a:pt x="1750504" y="4114800"/>
                </a:lnTo>
                <a:lnTo>
                  <a:pt x="0" y="41148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20" name="Freeform 20"/>
          <p:cNvSpPr/>
          <p:nvPr/>
        </p:nvSpPr>
        <p:spPr>
          <a:xfrm rot="16200000">
            <a:off x="5472130" y="-1701101"/>
            <a:ext cx="1167003" cy="2743200"/>
          </a:xfrm>
          <a:custGeom>
            <a:avLst/>
            <a:gdLst/>
            <a:ahLst/>
            <a:cxnLst/>
            <a:rect l="l" t="t" r="r" b="b"/>
            <a:pathLst>
              <a:path w="1750505" h="4114800">
                <a:moveTo>
                  <a:pt x="0" y="0"/>
                </a:moveTo>
                <a:lnTo>
                  <a:pt x="1750505" y="0"/>
                </a:lnTo>
                <a:lnTo>
                  <a:pt x="1750505" y="4114800"/>
                </a:lnTo>
                <a:lnTo>
                  <a:pt x="0" y="41148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21" name="Freeform 21"/>
          <p:cNvSpPr/>
          <p:nvPr/>
        </p:nvSpPr>
        <p:spPr>
          <a:xfrm>
            <a:off x="9783982" y="595611"/>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0"/>
            <a:stretch>
              <a:fillRect/>
            </a:stretch>
          </a:blipFill>
        </p:spPr>
      </p:sp>
      <p:grpSp>
        <p:nvGrpSpPr>
          <p:cNvPr id="22" name="Group 22"/>
          <p:cNvGrpSpPr/>
          <p:nvPr/>
        </p:nvGrpSpPr>
        <p:grpSpPr>
          <a:xfrm>
            <a:off x="685801" y="1820761"/>
            <a:ext cx="3816499" cy="1051523"/>
            <a:chOff x="0" y="0"/>
            <a:chExt cx="1300650" cy="358355"/>
          </a:xfrm>
        </p:grpSpPr>
        <p:sp>
          <p:nvSpPr>
            <p:cNvPr id="23" name="Freeform 23"/>
            <p:cNvSpPr/>
            <p:nvPr/>
          </p:nvSpPr>
          <p:spPr>
            <a:xfrm>
              <a:off x="0" y="0"/>
              <a:ext cx="1300650" cy="358355"/>
            </a:xfrm>
            <a:custGeom>
              <a:avLst/>
              <a:gdLst/>
              <a:ahLst/>
              <a:cxnLst/>
              <a:rect l="l" t="t" r="r" b="b"/>
              <a:pathLst>
                <a:path w="1300650" h="358355">
                  <a:moveTo>
                    <a:pt x="27047" y="0"/>
                  </a:moveTo>
                  <a:lnTo>
                    <a:pt x="1273603" y="0"/>
                  </a:lnTo>
                  <a:cubicBezTo>
                    <a:pt x="1288541" y="0"/>
                    <a:pt x="1300650" y="12109"/>
                    <a:pt x="1300650" y="27047"/>
                  </a:cubicBezTo>
                  <a:lnTo>
                    <a:pt x="1300650" y="331308"/>
                  </a:lnTo>
                  <a:cubicBezTo>
                    <a:pt x="1300650" y="338481"/>
                    <a:pt x="1297800" y="345361"/>
                    <a:pt x="1292728" y="350433"/>
                  </a:cubicBezTo>
                  <a:cubicBezTo>
                    <a:pt x="1287656" y="355506"/>
                    <a:pt x="1280776" y="358355"/>
                    <a:pt x="1273603" y="358355"/>
                  </a:cubicBezTo>
                  <a:lnTo>
                    <a:pt x="27047" y="358355"/>
                  </a:lnTo>
                  <a:cubicBezTo>
                    <a:pt x="19874" y="358355"/>
                    <a:pt x="12994" y="355506"/>
                    <a:pt x="7922" y="350433"/>
                  </a:cubicBezTo>
                  <a:cubicBezTo>
                    <a:pt x="2850" y="345361"/>
                    <a:pt x="0" y="338481"/>
                    <a:pt x="0" y="331308"/>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0CC0DF"/>
              </a:solidFill>
              <a:prstDash val="solid"/>
              <a:miter/>
            </a:ln>
          </p:spPr>
        </p:sp>
        <p:sp>
          <p:nvSpPr>
            <p:cNvPr id="24" name="TextBox 24"/>
            <p:cNvSpPr txBox="1"/>
            <p:nvPr/>
          </p:nvSpPr>
          <p:spPr>
            <a:xfrm>
              <a:off x="0" y="-38100"/>
              <a:ext cx="1300650" cy="396455"/>
            </a:xfrm>
            <a:prstGeom prst="rect">
              <a:avLst/>
            </a:prstGeom>
          </p:spPr>
          <p:txBody>
            <a:bodyPr lIns="33867" tIns="33867" rIns="33867" bIns="33867" rtlCol="0" anchor="ctr"/>
            <a:lstStyle/>
            <a:p>
              <a:pPr algn="ctr">
                <a:lnSpc>
                  <a:spcPts val="1882"/>
                </a:lnSpc>
              </a:pPr>
              <a:endParaRPr sz="800"/>
            </a:p>
          </p:txBody>
        </p:sp>
      </p:grpSp>
      <p:grpSp>
        <p:nvGrpSpPr>
          <p:cNvPr id="25" name="Group 25"/>
          <p:cNvGrpSpPr/>
          <p:nvPr/>
        </p:nvGrpSpPr>
        <p:grpSpPr>
          <a:xfrm>
            <a:off x="5892306" y="1803600"/>
            <a:ext cx="5457846" cy="1085844"/>
            <a:chOff x="0" y="0"/>
            <a:chExt cx="2156186" cy="428975"/>
          </a:xfrm>
        </p:grpSpPr>
        <p:sp>
          <p:nvSpPr>
            <p:cNvPr id="26" name="Freeform 26"/>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4373A4"/>
            </a:solidFill>
          </p:spPr>
        </p:sp>
        <p:sp>
          <p:nvSpPr>
            <p:cNvPr id="27" name="TextBox 27"/>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28" name="AutoShape 28"/>
          <p:cNvSpPr/>
          <p:nvPr/>
        </p:nvSpPr>
        <p:spPr>
          <a:xfrm flipV="1">
            <a:off x="7040605" y="2042498"/>
            <a:ext cx="0" cy="570703"/>
          </a:xfrm>
          <a:prstGeom prst="line">
            <a:avLst/>
          </a:prstGeom>
          <a:ln w="38100" cap="flat">
            <a:solidFill>
              <a:srgbClr val="FFFFFF"/>
            </a:solidFill>
            <a:prstDash val="solid"/>
            <a:headEnd type="none" w="sm" len="sm"/>
            <a:tailEnd type="none" w="sm" len="sm"/>
          </a:ln>
        </p:spPr>
      </p:sp>
      <p:grpSp>
        <p:nvGrpSpPr>
          <p:cNvPr id="29" name="Group 29"/>
          <p:cNvGrpSpPr/>
          <p:nvPr/>
        </p:nvGrpSpPr>
        <p:grpSpPr>
          <a:xfrm>
            <a:off x="685801" y="3339921"/>
            <a:ext cx="3816499" cy="1051523"/>
            <a:chOff x="0" y="0"/>
            <a:chExt cx="1300650" cy="358355"/>
          </a:xfrm>
        </p:grpSpPr>
        <p:sp>
          <p:nvSpPr>
            <p:cNvPr id="30" name="Freeform 30"/>
            <p:cNvSpPr/>
            <p:nvPr/>
          </p:nvSpPr>
          <p:spPr>
            <a:xfrm>
              <a:off x="0" y="0"/>
              <a:ext cx="1300650" cy="358355"/>
            </a:xfrm>
            <a:custGeom>
              <a:avLst/>
              <a:gdLst/>
              <a:ahLst/>
              <a:cxnLst/>
              <a:rect l="l" t="t" r="r" b="b"/>
              <a:pathLst>
                <a:path w="1300650" h="358355">
                  <a:moveTo>
                    <a:pt x="27047" y="0"/>
                  </a:moveTo>
                  <a:lnTo>
                    <a:pt x="1273603" y="0"/>
                  </a:lnTo>
                  <a:cubicBezTo>
                    <a:pt x="1288541" y="0"/>
                    <a:pt x="1300650" y="12109"/>
                    <a:pt x="1300650" y="27047"/>
                  </a:cubicBezTo>
                  <a:lnTo>
                    <a:pt x="1300650" y="331308"/>
                  </a:lnTo>
                  <a:cubicBezTo>
                    <a:pt x="1300650" y="338481"/>
                    <a:pt x="1297800" y="345361"/>
                    <a:pt x="1292728" y="350433"/>
                  </a:cubicBezTo>
                  <a:cubicBezTo>
                    <a:pt x="1287656" y="355506"/>
                    <a:pt x="1280776" y="358355"/>
                    <a:pt x="1273603" y="358355"/>
                  </a:cubicBezTo>
                  <a:lnTo>
                    <a:pt x="27047" y="358355"/>
                  </a:lnTo>
                  <a:cubicBezTo>
                    <a:pt x="19874" y="358355"/>
                    <a:pt x="12994" y="355506"/>
                    <a:pt x="7922" y="350433"/>
                  </a:cubicBezTo>
                  <a:cubicBezTo>
                    <a:pt x="2850" y="345361"/>
                    <a:pt x="0" y="338481"/>
                    <a:pt x="0" y="331308"/>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8299CE"/>
              </a:solidFill>
              <a:prstDash val="solid"/>
              <a:miter/>
            </a:ln>
          </p:spPr>
        </p:sp>
        <p:sp>
          <p:nvSpPr>
            <p:cNvPr id="31" name="TextBox 31"/>
            <p:cNvSpPr txBox="1"/>
            <p:nvPr/>
          </p:nvSpPr>
          <p:spPr>
            <a:xfrm>
              <a:off x="0" y="-38100"/>
              <a:ext cx="1300650" cy="396455"/>
            </a:xfrm>
            <a:prstGeom prst="rect">
              <a:avLst/>
            </a:prstGeom>
          </p:spPr>
          <p:txBody>
            <a:bodyPr lIns="33867" tIns="33867" rIns="33867" bIns="33867" rtlCol="0" anchor="ctr"/>
            <a:lstStyle/>
            <a:p>
              <a:pPr algn="ctr">
                <a:lnSpc>
                  <a:spcPts val="1882"/>
                </a:lnSpc>
              </a:pPr>
              <a:endParaRPr sz="800"/>
            </a:p>
          </p:txBody>
        </p:sp>
      </p:grpSp>
      <p:grpSp>
        <p:nvGrpSpPr>
          <p:cNvPr id="32" name="Group 32"/>
          <p:cNvGrpSpPr/>
          <p:nvPr/>
        </p:nvGrpSpPr>
        <p:grpSpPr>
          <a:xfrm>
            <a:off x="671079" y="5088892"/>
            <a:ext cx="3816499" cy="1051523"/>
            <a:chOff x="0" y="0"/>
            <a:chExt cx="1300650" cy="358355"/>
          </a:xfrm>
        </p:grpSpPr>
        <p:sp>
          <p:nvSpPr>
            <p:cNvPr id="33" name="Freeform 33"/>
            <p:cNvSpPr/>
            <p:nvPr/>
          </p:nvSpPr>
          <p:spPr>
            <a:xfrm>
              <a:off x="0" y="0"/>
              <a:ext cx="1300650" cy="358355"/>
            </a:xfrm>
            <a:custGeom>
              <a:avLst/>
              <a:gdLst/>
              <a:ahLst/>
              <a:cxnLst/>
              <a:rect l="l" t="t" r="r" b="b"/>
              <a:pathLst>
                <a:path w="1300650" h="358355">
                  <a:moveTo>
                    <a:pt x="27047" y="0"/>
                  </a:moveTo>
                  <a:lnTo>
                    <a:pt x="1273603" y="0"/>
                  </a:lnTo>
                  <a:cubicBezTo>
                    <a:pt x="1288541" y="0"/>
                    <a:pt x="1300650" y="12109"/>
                    <a:pt x="1300650" y="27047"/>
                  </a:cubicBezTo>
                  <a:lnTo>
                    <a:pt x="1300650" y="331308"/>
                  </a:lnTo>
                  <a:cubicBezTo>
                    <a:pt x="1300650" y="338481"/>
                    <a:pt x="1297800" y="345361"/>
                    <a:pt x="1292728" y="350433"/>
                  </a:cubicBezTo>
                  <a:cubicBezTo>
                    <a:pt x="1287656" y="355506"/>
                    <a:pt x="1280776" y="358355"/>
                    <a:pt x="1273603" y="358355"/>
                  </a:cubicBezTo>
                  <a:lnTo>
                    <a:pt x="27047" y="358355"/>
                  </a:lnTo>
                  <a:cubicBezTo>
                    <a:pt x="19874" y="358355"/>
                    <a:pt x="12994" y="355506"/>
                    <a:pt x="7922" y="350433"/>
                  </a:cubicBezTo>
                  <a:cubicBezTo>
                    <a:pt x="2850" y="345361"/>
                    <a:pt x="0" y="338481"/>
                    <a:pt x="0" y="331308"/>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BD4291"/>
              </a:solidFill>
              <a:prstDash val="solid"/>
              <a:miter/>
            </a:ln>
          </p:spPr>
        </p:sp>
        <p:sp>
          <p:nvSpPr>
            <p:cNvPr id="34" name="TextBox 34"/>
            <p:cNvSpPr txBox="1"/>
            <p:nvPr/>
          </p:nvSpPr>
          <p:spPr>
            <a:xfrm>
              <a:off x="0" y="-38100"/>
              <a:ext cx="1300650" cy="396455"/>
            </a:xfrm>
            <a:prstGeom prst="rect">
              <a:avLst/>
            </a:prstGeom>
          </p:spPr>
          <p:txBody>
            <a:bodyPr lIns="33867" tIns="33867" rIns="33867" bIns="33867" rtlCol="0" anchor="ctr"/>
            <a:lstStyle/>
            <a:p>
              <a:pPr algn="ctr">
                <a:lnSpc>
                  <a:spcPts val="1882"/>
                </a:lnSpc>
              </a:pPr>
              <a:endParaRPr sz="800"/>
            </a:p>
          </p:txBody>
        </p:sp>
      </p:grpSp>
      <p:sp>
        <p:nvSpPr>
          <p:cNvPr id="35" name="AutoShape 35"/>
          <p:cNvSpPr/>
          <p:nvPr/>
        </p:nvSpPr>
        <p:spPr>
          <a:xfrm>
            <a:off x="5892305" y="4803142"/>
            <a:ext cx="1488295" cy="0"/>
          </a:xfrm>
          <a:prstGeom prst="line">
            <a:avLst/>
          </a:prstGeom>
          <a:ln w="38100" cap="flat">
            <a:solidFill>
              <a:srgbClr val="000000"/>
            </a:solidFill>
            <a:prstDash val="solid"/>
            <a:headEnd type="none" w="sm" len="sm"/>
            <a:tailEnd type="none" w="sm" len="sm"/>
          </a:ln>
        </p:spPr>
      </p:sp>
      <p:sp>
        <p:nvSpPr>
          <p:cNvPr id="36" name="Freeform 36"/>
          <p:cNvSpPr/>
          <p:nvPr/>
        </p:nvSpPr>
        <p:spPr>
          <a:xfrm>
            <a:off x="6055631" y="595612"/>
            <a:ext cx="1060559" cy="1068573"/>
          </a:xfrm>
          <a:custGeom>
            <a:avLst/>
            <a:gdLst/>
            <a:ahLst/>
            <a:cxnLst/>
            <a:rect l="l" t="t" r="r" b="b"/>
            <a:pathLst>
              <a:path w="1590838" h="1602859">
                <a:moveTo>
                  <a:pt x="0" y="0"/>
                </a:moveTo>
                <a:lnTo>
                  <a:pt x="1590838" y="0"/>
                </a:lnTo>
                <a:lnTo>
                  <a:pt x="1590838" y="1602859"/>
                </a:lnTo>
                <a:lnTo>
                  <a:pt x="0" y="1602859"/>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grpSp>
        <p:nvGrpSpPr>
          <p:cNvPr id="37" name="Group 37"/>
          <p:cNvGrpSpPr/>
          <p:nvPr/>
        </p:nvGrpSpPr>
        <p:grpSpPr>
          <a:xfrm>
            <a:off x="5938142" y="3322761"/>
            <a:ext cx="5457846" cy="1085844"/>
            <a:chOff x="0" y="0"/>
            <a:chExt cx="2156186" cy="428975"/>
          </a:xfrm>
        </p:grpSpPr>
        <p:sp>
          <p:nvSpPr>
            <p:cNvPr id="38" name="Freeform 38"/>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FF914D"/>
            </a:solidFill>
          </p:spPr>
        </p:sp>
        <p:sp>
          <p:nvSpPr>
            <p:cNvPr id="39" name="TextBox 39"/>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40" name="AutoShape 40"/>
          <p:cNvSpPr/>
          <p:nvPr/>
        </p:nvSpPr>
        <p:spPr>
          <a:xfrm flipV="1">
            <a:off x="7027905" y="3552560"/>
            <a:ext cx="0" cy="570703"/>
          </a:xfrm>
          <a:prstGeom prst="line">
            <a:avLst/>
          </a:prstGeom>
          <a:ln w="38100" cap="flat">
            <a:solidFill>
              <a:srgbClr val="FFFFFF"/>
            </a:solidFill>
            <a:prstDash val="solid"/>
            <a:headEnd type="none" w="sm" len="sm"/>
            <a:tailEnd type="none" w="sm" len="sm"/>
          </a:ln>
        </p:spPr>
      </p:sp>
      <p:sp>
        <p:nvSpPr>
          <p:cNvPr id="41" name="Freeform 41"/>
          <p:cNvSpPr/>
          <p:nvPr/>
        </p:nvSpPr>
        <p:spPr>
          <a:xfrm>
            <a:off x="6096000" y="3429000"/>
            <a:ext cx="859376" cy="880283"/>
          </a:xfrm>
          <a:custGeom>
            <a:avLst/>
            <a:gdLst/>
            <a:ahLst/>
            <a:cxnLst/>
            <a:rect l="l" t="t" r="r" b="b"/>
            <a:pathLst>
              <a:path w="1289064" h="1320424">
                <a:moveTo>
                  <a:pt x="0" y="0"/>
                </a:moveTo>
                <a:lnTo>
                  <a:pt x="1289064" y="0"/>
                </a:lnTo>
                <a:lnTo>
                  <a:pt x="1289064" y="1320424"/>
                </a:lnTo>
                <a:lnTo>
                  <a:pt x="0" y="1320424"/>
                </a:lnTo>
                <a:lnTo>
                  <a:pt x="0" y="0"/>
                </a:lnTo>
                <a:close/>
              </a:path>
            </a:pathLst>
          </a:custGeom>
          <a:blipFill>
            <a:blip r:embed="rId13"/>
            <a:stretch>
              <a:fillRect/>
            </a:stretch>
          </a:blipFill>
        </p:spPr>
      </p:sp>
      <p:sp>
        <p:nvSpPr>
          <p:cNvPr id="42" name="Freeform 42"/>
          <p:cNvSpPr/>
          <p:nvPr/>
        </p:nvSpPr>
        <p:spPr>
          <a:xfrm>
            <a:off x="6196718" y="1897837"/>
            <a:ext cx="657942" cy="897936"/>
          </a:xfrm>
          <a:custGeom>
            <a:avLst/>
            <a:gdLst/>
            <a:ahLst/>
            <a:cxnLst/>
            <a:rect l="l" t="t" r="r" b="b"/>
            <a:pathLst>
              <a:path w="986913" h="1346904">
                <a:moveTo>
                  <a:pt x="0" y="0"/>
                </a:moveTo>
                <a:lnTo>
                  <a:pt x="986913" y="0"/>
                </a:lnTo>
                <a:lnTo>
                  <a:pt x="986913" y="1346904"/>
                </a:lnTo>
                <a:lnTo>
                  <a:pt x="0" y="1346904"/>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sp>
      <p:sp>
        <p:nvSpPr>
          <p:cNvPr id="43" name="Freeform 43"/>
          <p:cNvSpPr/>
          <p:nvPr/>
        </p:nvSpPr>
        <p:spPr>
          <a:xfrm>
            <a:off x="6161160" y="5280010"/>
            <a:ext cx="758794" cy="703609"/>
          </a:xfrm>
          <a:custGeom>
            <a:avLst/>
            <a:gdLst/>
            <a:ahLst/>
            <a:cxnLst/>
            <a:rect l="l" t="t" r="r" b="b"/>
            <a:pathLst>
              <a:path w="1138191" h="1055414">
                <a:moveTo>
                  <a:pt x="0" y="0"/>
                </a:moveTo>
                <a:lnTo>
                  <a:pt x="1138192" y="0"/>
                </a:lnTo>
                <a:lnTo>
                  <a:pt x="1138192" y="1055414"/>
                </a:lnTo>
                <a:lnTo>
                  <a:pt x="0" y="1055414"/>
                </a:lnTo>
                <a:lnTo>
                  <a:pt x="0" y="0"/>
                </a:lnTo>
                <a:close/>
              </a:path>
            </a:pathLst>
          </a:custGeom>
          <a:blipFill>
            <a:blip r:embed="rId16">
              <a:extLst>
                <a:ext uri="{96DAC541-7B7A-43D3-8B79-37D633B846F1}">
                  <asvg:svgBlip xmlns:asvg="http://schemas.microsoft.com/office/drawing/2016/SVG/main" r:embed="rId17"/>
                </a:ext>
              </a:extLst>
            </a:blip>
            <a:stretch>
              <a:fillRect/>
            </a:stretch>
          </a:blipFill>
        </p:spPr>
      </p:sp>
      <p:sp>
        <p:nvSpPr>
          <p:cNvPr id="44" name="TextBox 44"/>
          <p:cNvSpPr txBox="1"/>
          <p:nvPr/>
        </p:nvSpPr>
        <p:spPr>
          <a:xfrm>
            <a:off x="685800" y="538462"/>
            <a:ext cx="5974914" cy="908197"/>
          </a:xfrm>
          <a:prstGeom prst="rect">
            <a:avLst/>
          </a:prstGeom>
        </p:spPr>
        <p:txBody>
          <a:bodyPr lIns="0" tIns="0" rIns="0" bIns="0" rtlCol="0" anchor="t">
            <a:spAutoFit/>
          </a:bodyPr>
          <a:lstStyle/>
          <a:p>
            <a:pPr>
              <a:lnSpc>
                <a:spcPts val="3733"/>
              </a:lnSpc>
            </a:pPr>
            <a:r>
              <a:rPr lang="en-US" sz="2650" b="1" spc="111" dirty="0">
                <a:solidFill>
                  <a:srgbClr val="000000"/>
                </a:solidFill>
                <a:latin typeface="Barlow Bold"/>
              </a:rPr>
              <a:t>DRIVER 5: </a:t>
            </a:r>
          </a:p>
          <a:p>
            <a:pPr>
              <a:lnSpc>
                <a:spcPts val="3733"/>
              </a:lnSpc>
            </a:pPr>
            <a:r>
              <a:rPr lang="en-US" sz="2650" b="1" spc="111" dirty="0">
                <a:solidFill>
                  <a:srgbClr val="000000"/>
                </a:solidFill>
                <a:latin typeface="Barlow Bold"/>
              </a:rPr>
              <a:t>HEALTHCARE DATA UTILIZATION</a:t>
            </a:r>
            <a:r>
              <a:rPr lang="en-US" sz="2650" spc="111" dirty="0">
                <a:solidFill>
                  <a:srgbClr val="000000"/>
                </a:solidFill>
                <a:latin typeface="Barlow Bold"/>
              </a:rPr>
              <a:t>​</a:t>
            </a:r>
          </a:p>
        </p:txBody>
      </p:sp>
      <p:sp>
        <p:nvSpPr>
          <p:cNvPr id="45" name="TextBox 45"/>
          <p:cNvSpPr txBox="1"/>
          <p:nvPr/>
        </p:nvSpPr>
        <p:spPr>
          <a:xfrm>
            <a:off x="7002505" y="369410"/>
            <a:ext cx="4084512" cy="217239"/>
          </a:xfrm>
          <a:prstGeom prst="rect">
            <a:avLst/>
          </a:prstGeom>
        </p:spPr>
        <p:txBody>
          <a:bodyPr lIns="0" tIns="0" rIns="0" bIns="0" rtlCol="0" anchor="t">
            <a:spAutoFit/>
          </a:bodyPr>
          <a:lstStyle/>
          <a:p>
            <a:pPr marL="0" lvl="1">
              <a:lnSpc>
                <a:spcPts val="1882"/>
              </a:lnSpc>
              <a:spcBef>
                <a:spcPct val="0"/>
              </a:spcBef>
            </a:pPr>
            <a:r>
              <a:rPr lang="en-US" sz="1344" spc="43">
                <a:solidFill>
                  <a:srgbClr val="FFFFFF"/>
                </a:solidFill>
                <a:latin typeface="Barlow Bold"/>
              </a:rPr>
              <a:t>Complete local and online resource mapping</a:t>
            </a:r>
          </a:p>
        </p:txBody>
      </p:sp>
      <p:sp>
        <p:nvSpPr>
          <p:cNvPr id="46" name="TextBox 46"/>
          <p:cNvSpPr txBox="1"/>
          <p:nvPr/>
        </p:nvSpPr>
        <p:spPr>
          <a:xfrm>
            <a:off x="7184900" y="1967099"/>
            <a:ext cx="4054625" cy="715581"/>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Implement processes and protocols for improving the collection and accuracy of reported race and ethnicity data </a:t>
            </a:r>
            <a:endParaRPr lang="en-US" sz="1344" spc="43">
              <a:solidFill>
                <a:srgbClr val="FFFFFF"/>
              </a:solidFill>
              <a:latin typeface="Barlow Semi-Bold"/>
            </a:endParaRPr>
          </a:p>
        </p:txBody>
      </p:sp>
      <p:sp>
        <p:nvSpPr>
          <p:cNvPr id="47" name="TextBox 47"/>
          <p:cNvSpPr txBox="1"/>
          <p:nvPr/>
        </p:nvSpPr>
        <p:spPr>
          <a:xfrm>
            <a:off x="7184900" y="5392938"/>
            <a:ext cx="3770521" cy="471924"/>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Develop strategies to address bias, inequities, and disparities </a:t>
            </a:r>
            <a:endParaRPr lang="en-US" sz="1344" spc="43">
              <a:solidFill>
                <a:srgbClr val="FFFFFF"/>
              </a:solidFill>
              <a:latin typeface="Barlow Semi-Bold"/>
            </a:endParaRPr>
          </a:p>
        </p:txBody>
      </p:sp>
      <p:sp>
        <p:nvSpPr>
          <p:cNvPr id="48" name="TextBox 48"/>
          <p:cNvSpPr txBox="1"/>
          <p:nvPr/>
        </p:nvSpPr>
        <p:spPr>
          <a:xfrm>
            <a:off x="851889" y="2030669"/>
            <a:ext cx="3454879" cy="547842"/>
          </a:xfrm>
          <a:prstGeom prst="rect">
            <a:avLst/>
          </a:prstGeom>
        </p:spPr>
        <p:txBody>
          <a:bodyPr lIns="0" tIns="0" rIns="0" bIns="0" rtlCol="0" anchor="t">
            <a:spAutoFit/>
          </a:bodyPr>
          <a:lstStyle/>
          <a:p>
            <a:pPr algn="ctr">
              <a:lnSpc>
                <a:spcPts val="2239"/>
              </a:lnSpc>
              <a:spcBef>
                <a:spcPct val="0"/>
              </a:spcBef>
            </a:pPr>
            <a:r>
              <a:rPr lang="en-US" sz="1600" spc="51" dirty="0">
                <a:solidFill>
                  <a:srgbClr val="000000"/>
                </a:solidFill>
                <a:latin typeface="Barlow Semi-Bold"/>
              </a:rPr>
              <a:t>Secondary Driver 1: </a:t>
            </a:r>
            <a:endParaRPr lang="en-US" sz="1600" spc="51">
              <a:solidFill>
                <a:srgbClr val="000000"/>
              </a:solidFill>
              <a:latin typeface="Barlow Semi-Bold"/>
            </a:endParaRPr>
          </a:p>
          <a:p>
            <a:pPr algn="ctr">
              <a:lnSpc>
                <a:spcPts val="2239"/>
              </a:lnSpc>
              <a:spcBef>
                <a:spcPct val="0"/>
              </a:spcBef>
            </a:pPr>
            <a:r>
              <a:rPr lang="en-US" sz="1600" spc="51" dirty="0">
                <a:solidFill>
                  <a:srgbClr val="000000"/>
                </a:solidFill>
                <a:latin typeface="Barlow Semi-Bold"/>
              </a:rPr>
              <a:t>Accurate Healthcare Data Collection</a:t>
            </a:r>
          </a:p>
        </p:txBody>
      </p:sp>
      <p:sp>
        <p:nvSpPr>
          <p:cNvPr id="49" name="TextBox 49"/>
          <p:cNvSpPr txBox="1"/>
          <p:nvPr/>
        </p:nvSpPr>
        <p:spPr>
          <a:xfrm>
            <a:off x="715243" y="3540731"/>
            <a:ext cx="3787056"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2: </a:t>
            </a:r>
          </a:p>
          <a:p>
            <a:pPr algn="ctr">
              <a:lnSpc>
                <a:spcPts val="2239"/>
              </a:lnSpc>
              <a:spcBef>
                <a:spcPct val="0"/>
              </a:spcBef>
            </a:pPr>
            <a:r>
              <a:rPr lang="en-US" sz="1600" spc="51">
                <a:solidFill>
                  <a:srgbClr val="000000"/>
                </a:solidFill>
                <a:latin typeface="Barlow Semi-Bold"/>
              </a:rPr>
              <a:t>Dissemination of Stratified Data</a:t>
            </a:r>
          </a:p>
        </p:txBody>
      </p:sp>
      <p:sp>
        <p:nvSpPr>
          <p:cNvPr id="50" name="TextBox 50"/>
          <p:cNvSpPr txBox="1"/>
          <p:nvPr/>
        </p:nvSpPr>
        <p:spPr>
          <a:xfrm>
            <a:off x="7184900" y="3477160"/>
            <a:ext cx="4080559" cy="715581"/>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Develop and implement a process to review, analyze, and share data stratified by race, ethnicity and insurance status </a:t>
            </a:r>
            <a:endParaRPr lang="en-US" sz="1344" spc="43">
              <a:solidFill>
                <a:srgbClr val="FFFFFF"/>
              </a:solidFill>
              <a:latin typeface="Barlow Semi-Bold"/>
            </a:endParaRPr>
          </a:p>
        </p:txBody>
      </p:sp>
      <p:sp>
        <p:nvSpPr>
          <p:cNvPr id="51" name="TextBox 51"/>
          <p:cNvSpPr txBox="1"/>
          <p:nvPr/>
        </p:nvSpPr>
        <p:spPr>
          <a:xfrm>
            <a:off x="700522" y="5177773"/>
            <a:ext cx="3787056"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3: </a:t>
            </a:r>
          </a:p>
          <a:p>
            <a:pPr algn="ctr">
              <a:lnSpc>
                <a:spcPts val="2239"/>
              </a:lnSpc>
              <a:spcBef>
                <a:spcPct val="0"/>
              </a:spcBef>
            </a:pPr>
            <a:r>
              <a:rPr lang="en-US" sz="1600" spc="51">
                <a:solidFill>
                  <a:srgbClr val="000000"/>
                </a:solidFill>
                <a:latin typeface="Barlow Semi-Bold"/>
              </a:rPr>
              <a:t>Application of Data to Address Inequities</a:t>
            </a:r>
          </a:p>
        </p:txBody>
      </p:sp>
      <p:sp>
        <p:nvSpPr>
          <p:cNvPr id="54" name="TextBox 53">
            <a:extLst>
              <a:ext uri="{FF2B5EF4-FFF2-40B4-BE49-F238E27FC236}">
                <a16:creationId xmlns:a16="http://schemas.microsoft.com/office/drawing/2014/main" id="{3719DC3C-330E-96DC-F3E0-D6B8EE5E5A3C}"/>
              </a:ext>
            </a:extLst>
          </p:cNvPr>
          <p:cNvSpPr txBox="1"/>
          <p:nvPr/>
        </p:nvSpPr>
        <p:spPr>
          <a:xfrm>
            <a:off x="7340117" y="1280767"/>
            <a:ext cx="2667520" cy="523220"/>
          </a:xfrm>
          <a:prstGeom prst="rect">
            <a:avLst/>
          </a:prstGeom>
          <a:noFill/>
        </p:spPr>
        <p:txBody>
          <a:bodyPr wrap="square" lIns="91440" tIns="45720" rIns="91440" bIns="45720" rtlCol="0" anchor="t">
            <a:spAutoFit/>
          </a:bodyPr>
          <a:lstStyle/>
          <a:p>
            <a:r>
              <a:rPr lang="en-US" sz="2800" b="1">
                <a:latin typeface="Arial"/>
                <a:ea typeface="MS PGothic"/>
                <a:cs typeface="Arial"/>
              </a:rPr>
              <a:t>Change Ideas</a:t>
            </a:r>
          </a:p>
        </p:txBody>
      </p:sp>
    </p:spTree>
    <p:extLst>
      <p:ext uri="{BB962C8B-B14F-4D97-AF65-F5344CB8AC3E}">
        <p14:creationId xmlns:p14="http://schemas.microsoft.com/office/powerpoint/2010/main" val="7851159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1845693" y="484263"/>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3" name="Freeform 3"/>
          <p:cNvSpPr/>
          <p:nvPr/>
        </p:nvSpPr>
        <p:spPr>
          <a:xfrm>
            <a:off x="1845693" y="1550509"/>
            <a:ext cx="4030857" cy="685246"/>
          </a:xfrm>
          <a:custGeom>
            <a:avLst/>
            <a:gdLst/>
            <a:ahLst/>
            <a:cxnLst/>
            <a:rect l="l" t="t" r="r" b="b"/>
            <a:pathLst>
              <a:path w="6046286" h="1027869">
                <a:moveTo>
                  <a:pt x="0" y="0"/>
                </a:moveTo>
                <a:lnTo>
                  <a:pt x="6046286" y="0"/>
                </a:lnTo>
                <a:lnTo>
                  <a:pt x="6046286" y="1027868"/>
                </a:lnTo>
                <a:lnTo>
                  <a:pt x="0" y="1027868"/>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4" name="Freeform 4"/>
          <p:cNvSpPr/>
          <p:nvPr/>
        </p:nvSpPr>
        <p:spPr>
          <a:xfrm>
            <a:off x="1845693" y="2616754"/>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5" name="Freeform 5"/>
          <p:cNvSpPr/>
          <p:nvPr/>
        </p:nvSpPr>
        <p:spPr>
          <a:xfrm>
            <a:off x="1845693" y="3719974"/>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6" name="Freeform 6"/>
          <p:cNvSpPr/>
          <p:nvPr/>
        </p:nvSpPr>
        <p:spPr>
          <a:xfrm>
            <a:off x="1845693" y="4786220"/>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7" name="Freeform 7"/>
          <p:cNvSpPr/>
          <p:nvPr/>
        </p:nvSpPr>
        <p:spPr>
          <a:xfrm>
            <a:off x="4269331" y="1475298"/>
            <a:ext cx="1176995" cy="835667"/>
          </a:xfrm>
          <a:custGeom>
            <a:avLst/>
            <a:gdLst/>
            <a:ahLst/>
            <a:cxnLst/>
            <a:rect l="l" t="t" r="r" b="b"/>
            <a:pathLst>
              <a:path w="1765493" h="1253500">
                <a:moveTo>
                  <a:pt x="0" y="0"/>
                </a:moveTo>
                <a:lnTo>
                  <a:pt x="1765493" y="0"/>
                </a:lnTo>
                <a:lnTo>
                  <a:pt x="1765493" y="1253500"/>
                </a:lnTo>
                <a:lnTo>
                  <a:pt x="0" y="125350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8" name="Freeform 8"/>
          <p:cNvSpPr/>
          <p:nvPr/>
        </p:nvSpPr>
        <p:spPr>
          <a:xfrm>
            <a:off x="4435542" y="337989"/>
            <a:ext cx="844571" cy="977795"/>
          </a:xfrm>
          <a:custGeom>
            <a:avLst/>
            <a:gdLst/>
            <a:ahLst/>
            <a:cxnLst/>
            <a:rect l="l" t="t" r="r" b="b"/>
            <a:pathLst>
              <a:path w="1266856" h="1466693">
                <a:moveTo>
                  <a:pt x="0" y="0"/>
                </a:moveTo>
                <a:lnTo>
                  <a:pt x="1266857" y="0"/>
                </a:lnTo>
                <a:lnTo>
                  <a:pt x="1266857" y="1466693"/>
                </a:lnTo>
                <a:lnTo>
                  <a:pt x="0" y="1466693"/>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9" name="Freeform 9"/>
          <p:cNvSpPr/>
          <p:nvPr/>
        </p:nvSpPr>
        <p:spPr>
          <a:xfrm>
            <a:off x="4359071" y="2554817"/>
            <a:ext cx="997512" cy="874183"/>
          </a:xfrm>
          <a:custGeom>
            <a:avLst/>
            <a:gdLst/>
            <a:ahLst/>
            <a:cxnLst/>
            <a:rect l="l" t="t" r="r" b="b"/>
            <a:pathLst>
              <a:path w="1496268" h="1311275">
                <a:moveTo>
                  <a:pt x="0" y="0"/>
                </a:moveTo>
                <a:lnTo>
                  <a:pt x="1496269" y="0"/>
                </a:lnTo>
                <a:lnTo>
                  <a:pt x="1496269" y="1311275"/>
                </a:lnTo>
                <a:lnTo>
                  <a:pt x="0" y="1311275"/>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10" name="Freeform 10"/>
          <p:cNvSpPr/>
          <p:nvPr/>
        </p:nvSpPr>
        <p:spPr>
          <a:xfrm>
            <a:off x="4335393" y="3532928"/>
            <a:ext cx="1021191" cy="1080626"/>
          </a:xfrm>
          <a:custGeom>
            <a:avLst/>
            <a:gdLst/>
            <a:ahLst/>
            <a:cxnLst/>
            <a:rect l="l" t="t" r="r" b="b"/>
            <a:pathLst>
              <a:path w="1531787" h="1620939">
                <a:moveTo>
                  <a:pt x="0" y="0"/>
                </a:moveTo>
                <a:lnTo>
                  <a:pt x="1531787" y="0"/>
                </a:lnTo>
                <a:lnTo>
                  <a:pt x="1531787" y="1620939"/>
                </a:lnTo>
                <a:lnTo>
                  <a:pt x="0" y="1620939"/>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sp>
      <p:sp>
        <p:nvSpPr>
          <p:cNvPr id="11" name="Freeform 11"/>
          <p:cNvSpPr/>
          <p:nvPr/>
        </p:nvSpPr>
        <p:spPr>
          <a:xfrm>
            <a:off x="4437945" y="4715153"/>
            <a:ext cx="1008380" cy="1016000"/>
          </a:xfrm>
          <a:custGeom>
            <a:avLst/>
            <a:gdLst/>
            <a:ahLst/>
            <a:cxnLst/>
            <a:rect l="l" t="t" r="r" b="b"/>
            <a:pathLst>
              <a:path w="1512570" h="1524000">
                <a:moveTo>
                  <a:pt x="0" y="0"/>
                </a:moveTo>
                <a:lnTo>
                  <a:pt x="1512570" y="0"/>
                </a:lnTo>
                <a:lnTo>
                  <a:pt x="1512570" y="1524000"/>
                </a:lnTo>
                <a:lnTo>
                  <a:pt x="0" y="1524000"/>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sp>
      <p:sp>
        <p:nvSpPr>
          <p:cNvPr id="12" name="TextBox 12"/>
          <p:cNvSpPr txBox="1"/>
          <p:nvPr/>
        </p:nvSpPr>
        <p:spPr>
          <a:xfrm>
            <a:off x="2074739" y="618394"/>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1</a:t>
            </a:r>
          </a:p>
        </p:txBody>
      </p:sp>
      <p:sp>
        <p:nvSpPr>
          <p:cNvPr id="13" name="TextBox 13"/>
          <p:cNvSpPr txBox="1"/>
          <p:nvPr/>
        </p:nvSpPr>
        <p:spPr>
          <a:xfrm>
            <a:off x="2074739" y="1684639"/>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2</a:t>
            </a:r>
          </a:p>
        </p:txBody>
      </p:sp>
      <p:sp>
        <p:nvSpPr>
          <p:cNvPr id="14" name="TextBox 14"/>
          <p:cNvSpPr txBox="1"/>
          <p:nvPr/>
        </p:nvSpPr>
        <p:spPr>
          <a:xfrm>
            <a:off x="2074739" y="2750885"/>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3</a:t>
            </a:r>
          </a:p>
        </p:txBody>
      </p:sp>
      <p:sp>
        <p:nvSpPr>
          <p:cNvPr id="15" name="TextBox 15"/>
          <p:cNvSpPr txBox="1"/>
          <p:nvPr/>
        </p:nvSpPr>
        <p:spPr>
          <a:xfrm>
            <a:off x="6096000" y="711200"/>
            <a:ext cx="5573501" cy="337978"/>
          </a:xfrm>
          <a:prstGeom prst="rect">
            <a:avLst/>
          </a:prstGeom>
        </p:spPr>
        <p:txBody>
          <a:bodyPr lIns="0" tIns="0" rIns="0" bIns="0" rtlCol="0" anchor="t">
            <a:spAutoFit/>
          </a:bodyPr>
          <a:lstStyle/>
          <a:p>
            <a:pPr>
              <a:lnSpc>
                <a:spcPts val="2640"/>
              </a:lnSpc>
            </a:pPr>
            <a:r>
              <a:rPr lang="en-US" sz="2400">
                <a:solidFill>
                  <a:srgbClr val="545454"/>
                </a:solidFill>
                <a:latin typeface="DM Sans"/>
              </a:rPr>
              <a:t>Healthcare Professional Commitment</a:t>
            </a:r>
          </a:p>
        </p:txBody>
      </p:sp>
      <p:sp>
        <p:nvSpPr>
          <p:cNvPr id="16" name="TextBox 16"/>
          <p:cNvSpPr txBox="1"/>
          <p:nvPr/>
        </p:nvSpPr>
        <p:spPr>
          <a:xfrm>
            <a:off x="6096000" y="1727818"/>
            <a:ext cx="4569889" cy="362087"/>
          </a:xfrm>
          <a:prstGeom prst="rect">
            <a:avLst/>
          </a:prstGeom>
        </p:spPr>
        <p:txBody>
          <a:bodyPr lIns="0" tIns="0" rIns="0" bIns="0" rtlCol="0" anchor="t">
            <a:spAutoFit/>
          </a:bodyPr>
          <a:lstStyle/>
          <a:p>
            <a:pPr>
              <a:lnSpc>
                <a:spcPts val="2787"/>
              </a:lnSpc>
            </a:pPr>
            <a:r>
              <a:rPr lang="en-US" sz="2533">
                <a:solidFill>
                  <a:srgbClr val="545454"/>
                </a:solidFill>
                <a:latin typeface="DM Sans"/>
              </a:rPr>
              <a:t>Inclusive Clinical Environment</a:t>
            </a:r>
          </a:p>
        </p:txBody>
      </p:sp>
      <p:sp>
        <p:nvSpPr>
          <p:cNvPr id="17" name="TextBox 17"/>
          <p:cNvSpPr txBox="1"/>
          <p:nvPr/>
        </p:nvSpPr>
        <p:spPr>
          <a:xfrm>
            <a:off x="6096000" y="2825179"/>
            <a:ext cx="5573501" cy="337978"/>
          </a:xfrm>
          <a:prstGeom prst="rect">
            <a:avLst/>
          </a:prstGeom>
        </p:spPr>
        <p:txBody>
          <a:bodyPr lIns="0" tIns="0" rIns="0" bIns="0" rtlCol="0" anchor="t">
            <a:spAutoFit/>
          </a:bodyPr>
          <a:lstStyle/>
          <a:p>
            <a:pPr>
              <a:lnSpc>
                <a:spcPts val="2640"/>
              </a:lnSpc>
            </a:pPr>
            <a:r>
              <a:rPr lang="en-US" sz="2400">
                <a:solidFill>
                  <a:srgbClr val="545454"/>
                </a:solidFill>
                <a:latin typeface="DM Sans"/>
              </a:rPr>
              <a:t>Parents and Caregiver Empowerment</a:t>
            </a:r>
          </a:p>
        </p:txBody>
      </p:sp>
      <p:sp>
        <p:nvSpPr>
          <p:cNvPr id="18" name="TextBox 18"/>
          <p:cNvSpPr txBox="1"/>
          <p:nvPr/>
        </p:nvSpPr>
        <p:spPr>
          <a:xfrm>
            <a:off x="2074739" y="3854105"/>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4</a:t>
            </a:r>
          </a:p>
        </p:txBody>
      </p:sp>
      <p:sp>
        <p:nvSpPr>
          <p:cNvPr id="19" name="TextBox 19"/>
          <p:cNvSpPr txBox="1"/>
          <p:nvPr/>
        </p:nvSpPr>
        <p:spPr>
          <a:xfrm>
            <a:off x="2074739" y="4957670"/>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5</a:t>
            </a:r>
          </a:p>
        </p:txBody>
      </p:sp>
      <p:sp>
        <p:nvSpPr>
          <p:cNvPr id="20" name="TextBox 20"/>
          <p:cNvSpPr txBox="1"/>
          <p:nvPr/>
        </p:nvSpPr>
        <p:spPr>
          <a:xfrm>
            <a:off x="6096000" y="5000849"/>
            <a:ext cx="4569889" cy="362087"/>
          </a:xfrm>
          <a:prstGeom prst="rect">
            <a:avLst/>
          </a:prstGeom>
        </p:spPr>
        <p:txBody>
          <a:bodyPr lIns="0" tIns="0" rIns="0" bIns="0" rtlCol="0" anchor="t">
            <a:spAutoFit/>
          </a:bodyPr>
          <a:lstStyle/>
          <a:p>
            <a:pPr>
              <a:lnSpc>
                <a:spcPts val="2787"/>
              </a:lnSpc>
            </a:pPr>
            <a:r>
              <a:rPr lang="en-US" sz="2533">
                <a:solidFill>
                  <a:srgbClr val="545454"/>
                </a:solidFill>
                <a:latin typeface="DM Sans"/>
              </a:rPr>
              <a:t>Healthcare Data Utilization</a:t>
            </a:r>
          </a:p>
        </p:txBody>
      </p:sp>
      <p:sp>
        <p:nvSpPr>
          <p:cNvPr id="21" name="TextBox 21"/>
          <p:cNvSpPr txBox="1"/>
          <p:nvPr/>
        </p:nvSpPr>
        <p:spPr>
          <a:xfrm>
            <a:off x="6096000" y="3903413"/>
            <a:ext cx="4569889" cy="362087"/>
          </a:xfrm>
          <a:prstGeom prst="rect">
            <a:avLst/>
          </a:prstGeom>
        </p:spPr>
        <p:txBody>
          <a:bodyPr lIns="0" tIns="0" rIns="0" bIns="0" rtlCol="0" anchor="t">
            <a:spAutoFit/>
          </a:bodyPr>
          <a:lstStyle/>
          <a:p>
            <a:pPr>
              <a:lnSpc>
                <a:spcPts val="2787"/>
              </a:lnSpc>
            </a:pPr>
            <a:r>
              <a:rPr lang="en-US" sz="2533">
                <a:solidFill>
                  <a:srgbClr val="545454"/>
                </a:solidFill>
                <a:latin typeface="DM Sans"/>
              </a:rPr>
              <a:t>Community Partnerships</a:t>
            </a:r>
          </a:p>
        </p:txBody>
      </p:sp>
      <p:sp>
        <p:nvSpPr>
          <p:cNvPr id="23" name="Rounded Rectangle 6">
            <a:extLst>
              <a:ext uri="{FF2B5EF4-FFF2-40B4-BE49-F238E27FC236}">
                <a16:creationId xmlns:a16="http://schemas.microsoft.com/office/drawing/2014/main" id="{78B5A3B7-0107-74A6-42BE-EFADF14BEC3D}"/>
              </a:ext>
            </a:extLst>
          </p:cNvPr>
          <p:cNvSpPr/>
          <p:nvPr/>
        </p:nvSpPr>
        <p:spPr>
          <a:xfrm>
            <a:off x="1546973" y="99109"/>
            <a:ext cx="10059729" cy="5765369"/>
          </a:xfrm>
          <a:prstGeom prst="roundRect">
            <a:avLst/>
          </a:prstGeom>
          <a:noFill/>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endParaRPr lang="en-US" sz="1500">
              <a:ea typeface="Calibri"/>
              <a:cs typeface="Calibri"/>
            </a:endParaRPr>
          </a:p>
        </p:txBody>
      </p:sp>
      <p:pic>
        <p:nvPicPr>
          <p:cNvPr id="24" name="Picture 23" descr="A logo with a person in the middle&#10;&#10;Description automatically generated">
            <a:extLst>
              <a:ext uri="{FF2B5EF4-FFF2-40B4-BE49-F238E27FC236}">
                <a16:creationId xmlns:a16="http://schemas.microsoft.com/office/drawing/2014/main" id="{BB2CB55F-0790-7175-FF6E-777FF2A900CC}"/>
              </a:ext>
            </a:extLst>
          </p:cNvPr>
          <p:cNvPicPr>
            <a:picLocks noChangeAspect="1"/>
          </p:cNvPicPr>
          <p:nvPr/>
        </p:nvPicPr>
        <p:blipFill>
          <a:blip r:embed="rId16"/>
          <a:stretch>
            <a:fillRect/>
          </a:stretch>
        </p:blipFill>
        <p:spPr>
          <a:xfrm>
            <a:off x="138023" y="5872540"/>
            <a:ext cx="1939447" cy="886710"/>
          </a:xfrm>
          <a:prstGeom prst="rect">
            <a:avLst/>
          </a:prstGeom>
        </p:spPr>
      </p:pic>
    </p:spTree>
    <p:extLst>
      <p:ext uri="{BB962C8B-B14F-4D97-AF65-F5344CB8AC3E}">
        <p14:creationId xmlns:p14="http://schemas.microsoft.com/office/powerpoint/2010/main" val="1141813547"/>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SSI Readiness Survey</a:t>
            </a:r>
          </a:p>
        </p:txBody>
      </p:sp>
      <p:sp>
        <p:nvSpPr>
          <p:cNvPr id="3" name="Subtitle 2"/>
          <p:cNvSpPr>
            <a:spLocks noGrp="1"/>
          </p:cNvSpPr>
          <p:nvPr>
            <p:ph type="subTitle" idx="1"/>
          </p:nvPr>
        </p:nvSpPr>
        <p:spPr/>
        <p:txBody>
          <a:bodyPr vert="horz" lIns="91440" tIns="45720" rIns="91440" bIns="45720" rtlCol="0" anchor="t">
            <a:noAutofit/>
          </a:bodyPr>
          <a:lstStyle/>
          <a:p>
            <a:r>
              <a:rPr lang="en-US" dirty="0">
                <a:ea typeface="Lato"/>
                <a:cs typeface="Lato"/>
              </a:rPr>
              <a:t>53 Teams Reporting</a:t>
            </a:r>
            <a:endParaRPr lang="en-US" dirty="0"/>
          </a:p>
        </p:txBody>
      </p:sp>
    </p:spTree>
    <p:extLst>
      <p:ext uri="{BB962C8B-B14F-4D97-AF65-F5344CB8AC3E}">
        <p14:creationId xmlns:p14="http://schemas.microsoft.com/office/powerpoint/2010/main" val="20121072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C9D71-8472-37B2-2DA4-37F1220693E5}"/>
              </a:ext>
            </a:extLst>
          </p:cNvPr>
          <p:cNvSpPr>
            <a:spLocks noGrp="1"/>
          </p:cNvSpPr>
          <p:nvPr>
            <p:ph type="title"/>
          </p:nvPr>
        </p:nvSpPr>
        <p:spPr/>
        <p:txBody>
          <a:bodyPr/>
          <a:lstStyle/>
          <a:p>
            <a:r>
              <a:rPr lang="en-US" dirty="0">
                <a:ea typeface="Lato Medium"/>
                <a:cs typeface="Lato Medium"/>
              </a:rPr>
              <a:t>ESSI Readiness Survey</a:t>
            </a:r>
            <a:endParaRPr lang="en-US" dirty="0"/>
          </a:p>
        </p:txBody>
      </p:sp>
      <p:sp>
        <p:nvSpPr>
          <p:cNvPr id="3" name="Content Placeholder 2">
            <a:extLst>
              <a:ext uri="{FF2B5EF4-FFF2-40B4-BE49-F238E27FC236}">
                <a16:creationId xmlns:a16="http://schemas.microsoft.com/office/drawing/2014/main" id="{84541AC5-1E3B-8499-5879-C2F1A0A6D43C}"/>
              </a:ext>
            </a:extLst>
          </p:cNvPr>
          <p:cNvSpPr>
            <a:spLocks noGrp="1"/>
          </p:cNvSpPr>
          <p:nvPr>
            <p:ph idx="1"/>
          </p:nvPr>
        </p:nvSpPr>
        <p:spPr/>
        <p:txBody>
          <a:bodyPr vert="horz" lIns="91440" tIns="45720" rIns="91440" bIns="45720" rtlCol="0" anchor="t">
            <a:noAutofit/>
          </a:bodyPr>
          <a:lstStyle/>
          <a:p>
            <a:r>
              <a:rPr lang="en-US" dirty="0">
                <a:ea typeface="Lato"/>
                <a:cs typeface="Lato"/>
              </a:rPr>
              <a:t>ILPQC created a survey to help teams understand where they are at with key strategies that we will be implementing across this initiative</a:t>
            </a:r>
            <a:endParaRPr lang="en-US" dirty="0"/>
          </a:p>
          <a:p>
            <a:r>
              <a:rPr lang="en-US" dirty="0">
                <a:ea typeface="Lato"/>
                <a:cs typeface="Lato"/>
              </a:rPr>
              <a:t>All of these questions relate to they key drivers and change ideas we have shared in the key driver diagram</a:t>
            </a:r>
          </a:p>
          <a:p>
            <a:r>
              <a:rPr lang="en-US" dirty="0">
                <a:ea typeface="Lato"/>
                <a:cs typeface="Lato"/>
              </a:rPr>
              <a:t>53 teams have submitted their surveys </a:t>
            </a:r>
            <a:endParaRPr lang="en-US" dirty="0"/>
          </a:p>
          <a:p>
            <a:pPr lvl="1">
              <a:buClr>
                <a:srgbClr val="1C498B"/>
              </a:buClr>
            </a:pPr>
            <a:r>
              <a:rPr lang="en-US" dirty="0">
                <a:ea typeface="Lato"/>
                <a:cs typeface="Lato"/>
              </a:rPr>
              <a:t>25 teams with NICUs</a:t>
            </a:r>
            <a:endParaRPr lang="en-US" dirty="0"/>
          </a:p>
          <a:p>
            <a:pPr lvl="1">
              <a:buClr>
                <a:srgbClr val="1C498B"/>
              </a:buClr>
            </a:pPr>
            <a:r>
              <a:rPr lang="en-US" dirty="0">
                <a:ea typeface="Lato"/>
                <a:cs typeface="Lato"/>
              </a:rPr>
              <a:t>50 teams with Postpartum units</a:t>
            </a:r>
            <a:endParaRPr lang="en-US" dirty="0"/>
          </a:p>
          <a:p>
            <a:pPr>
              <a:buClr>
                <a:srgbClr val="F5668F"/>
              </a:buClr>
            </a:pPr>
            <a:r>
              <a:rPr lang="en-US" dirty="0">
                <a:ea typeface="Lato"/>
                <a:cs typeface="Lato"/>
              </a:rPr>
              <a:t>Let's take a look at your responses!</a:t>
            </a:r>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0A11F758-397A-9754-780E-7551DF08E02D}"/>
              </a:ext>
            </a:extLst>
          </p:cNvPr>
          <p:cNvSpPr>
            <a:spLocks noGrp="1"/>
          </p:cNvSpPr>
          <p:nvPr>
            <p:ph type="sldNum" sz="quarter" idx="10"/>
          </p:nvPr>
        </p:nvSpPr>
        <p:spPr/>
        <p:txBody>
          <a:bodyPr/>
          <a:lstStyle/>
          <a:p>
            <a:fld id="{97033E4B-E3EB-3D46-B2D8-3159663620FA}" type="slidenum">
              <a:rPr lang="en-US" smtClean="0"/>
              <a:pPr/>
              <a:t>36</a:t>
            </a:fld>
            <a:endParaRPr lang="en-US"/>
          </a:p>
        </p:txBody>
      </p:sp>
      <p:sp>
        <p:nvSpPr>
          <p:cNvPr id="5" name="Footer Placeholder 4">
            <a:extLst>
              <a:ext uri="{FF2B5EF4-FFF2-40B4-BE49-F238E27FC236}">
                <a16:creationId xmlns:a16="http://schemas.microsoft.com/office/drawing/2014/main" id="{89C871EE-9692-46BD-40D1-0F2EDE4FDC2C}"/>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609537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320039" y="451258"/>
            <a:ext cx="8229600" cy="1143000"/>
          </a:xfrm>
          <a:noFill/>
        </p:spPr>
        <p:txBody>
          <a:bodyPr>
            <a:normAutofit fontScale="90000"/>
          </a:bodyPr>
          <a:lstStyle/>
          <a:p>
            <a:r>
              <a:rPr lang="en-US" altLang="en-US">
                <a:ea typeface="Lato Medium"/>
                <a:cs typeface="Lato Medium"/>
              </a:rPr>
              <a:t>Nursing Education: </a:t>
            </a:r>
            <a:br>
              <a:rPr lang="en-US" altLang="en-US">
                <a:ea typeface="Lato Medium"/>
                <a:cs typeface="Lato Medium"/>
              </a:rPr>
            </a:br>
            <a:r>
              <a:rPr lang="en-US" altLang="en-US">
                <a:solidFill>
                  <a:schemeClr val="accent3"/>
                </a:solidFill>
                <a:ea typeface="Lato Medium"/>
                <a:cs typeface="Lato Medium"/>
              </a:rPr>
              <a:t>Top 5 Safe Sleep Educational Content</a:t>
            </a:r>
            <a:endParaRPr lang="en-US">
              <a:solidFill>
                <a:schemeClr val="accent3"/>
              </a:solidFill>
            </a:endParaRPr>
          </a:p>
        </p:txBody>
      </p:sp>
      <p:sp>
        <p:nvSpPr>
          <p:cNvPr id="19" name="TextBox 18">
            <a:extLst>
              <a:ext uri="{FF2B5EF4-FFF2-40B4-BE49-F238E27FC236}">
                <a16:creationId xmlns:a16="http://schemas.microsoft.com/office/drawing/2014/main" id="{F49C1F1A-614A-5749-1A3F-78980B65ADBC}"/>
              </a:ext>
            </a:extLst>
          </p:cNvPr>
          <p:cNvSpPr txBox="1"/>
          <p:nvPr/>
        </p:nvSpPr>
        <p:spPr>
          <a:xfrm>
            <a:off x="-1252778" y="1188201"/>
            <a:ext cx="5766658" cy="36138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lnSpc>
                <a:spcPct val="150000"/>
              </a:lnSpc>
            </a:pPr>
            <a:endParaRPr lang="en-US" sz="1300">
              <a:solidFill>
                <a:srgbClr val="000000"/>
              </a:solidFill>
              <a:cs typeface="Calibri" panose="020F0502020204030204"/>
            </a:endParaRPr>
          </a:p>
        </p:txBody>
      </p:sp>
      <p:sp>
        <p:nvSpPr>
          <p:cNvPr id="7" name="TextBox 6">
            <a:extLst>
              <a:ext uri="{FF2B5EF4-FFF2-40B4-BE49-F238E27FC236}">
                <a16:creationId xmlns:a16="http://schemas.microsoft.com/office/drawing/2014/main" id="{EAD90045-A731-42F5-ED3E-D5AE61B97B24}"/>
              </a:ext>
            </a:extLst>
          </p:cNvPr>
          <p:cNvSpPr txBox="1"/>
          <p:nvPr/>
        </p:nvSpPr>
        <p:spPr>
          <a:xfrm>
            <a:off x="-235056" y="1859338"/>
            <a:ext cx="6178656" cy="476130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lnSpc>
                <a:spcPct val="260000"/>
              </a:lnSpc>
            </a:pPr>
            <a:r>
              <a:rPr lang="en-US" sz="2000" b="1" dirty="0">
                <a:solidFill>
                  <a:schemeClr val="bg2">
                    <a:lumMod val="10000"/>
                  </a:schemeClr>
                </a:solidFill>
                <a:latin typeface="Calibri"/>
                <a:cs typeface="Helvetica"/>
              </a:rPr>
              <a:t>Endorsing and modeling back to sleep for every sleep</a:t>
            </a:r>
            <a:endParaRPr lang="en-US" sz="2000" b="1" dirty="0">
              <a:solidFill>
                <a:schemeClr val="bg2">
                  <a:lumMod val="10000"/>
                </a:schemeClr>
              </a:solidFill>
              <a:latin typeface="Calibri"/>
              <a:ea typeface="Calibri"/>
              <a:cs typeface="Calibri" panose="020F0502020204030204"/>
            </a:endParaRPr>
          </a:p>
          <a:p>
            <a:pPr algn="r">
              <a:lnSpc>
                <a:spcPct val="260000"/>
              </a:lnSpc>
            </a:pPr>
            <a:r>
              <a:rPr lang="en-US" sz="2000" b="1" dirty="0">
                <a:solidFill>
                  <a:srgbClr val="0C1525"/>
                </a:solidFill>
                <a:latin typeface="Calibri"/>
                <a:cs typeface="Calibri"/>
              </a:rPr>
              <a:t>Eliminating</a:t>
            </a:r>
            <a:r>
              <a:rPr lang="en-US" sz="2000" b="1" dirty="0">
                <a:solidFill>
                  <a:srgbClr val="0C1525"/>
                </a:solidFill>
                <a:ea typeface="+mn-lt"/>
                <a:cs typeface="+mn-lt"/>
              </a:rPr>
              <a:t> soft objects from cribs</a:t>
            </a:r>
            <a:endParaRPr lang="en-US" sz="2000" b="1" dirty="0">
              <a:solidFill>
                <a:srgbClr val="0C1625"/>
              </a:solidFill>
              <a:ea typeface="+mn-lt"/>
              <a:cs typeface="+mn-lt"/>
            </a:endParaRPr>
          </a:p>
          <a:p>
            <a:pPr algn="r">
              <a:lnSpc>
                <a:spcPct val="260000"/>
              </a:lnSpc>
            </a:pPr>
            <a:r>
              <a:rPr lang="en-US" sz="2000" b="1" dirty="0">
                <a:solidFill>
                  <a:srgbClr val="0C1525"/>
                </a:solidFill>
                <a:ea typeface="+mn-lt"/>
                <a:cs typeface="+mn-lt"/>
              </a:rPr>
              <a:t>Reducing the risk of suffocation or entrapment</a:t>
            </a:r>
          </a:p>
          <a:p>
            <a:pPr algn="r">
              <a:lnSpc>
                <a:spcPct val="260000"/>
              </a:lnSpc>
            </a:pPr>
            <a:r>
              <a:rPr lang="en-US" sz="2000" b="1" dirty="0">
                <a:solidFill>
                  <a:srgbClr val="0C1525"/>
                </a:solidFill>
                <a:ea typeface="+mn-lt"/>
                <a:cs typeface="+mn-lt"/>
              </a:rPr>
              <a:t>Sleeping supine on a non-inclined surface</a:t>
            </a:r>
          </a:p>
          <a:p>
            <a:pPr algn="r">
              <a:lnSpc>
                <a:spcPct val="260000"/>
              </a:lnSpc>
            </a:pPr>
            <a:r>
              <a:rPr lang="en-US" sz="2000" b="1" dirty="0">
                <a:solidFill>
                  <a:srgbClr val="0C1525"/>
                </a:solidFill>
                <a:ea typeface="+mn-lt"/>
                <a:cs typeface="+mn-lt"/>
              </a:rPr>
              <a:t>Infant sleep area free of hazards</a:t>
            </a:r>
          </a:p>
          <a:p>
            <a:pPr algn="r">
              <a:lnSpc>
                <a:spcPct val="260000"/>
              </a:lnSpc>
            </a:pPr>
            <a:endParaRPr lang="en-US" sz="2000">
              <a:solidFill>
                <a:srgbClr val="0C1525"/>
              </a:solidFill>
              <a:ea typeface="+mn-lt"/>
              <a:cs typeface="+mn-lt"/>
            </a:endParaRPr>
          </a:p>
        </p:txBody>
      </p:sp>
      <p:pic>
        <p:nvPicPr>
          <p:cNvPr id="8" name="Picture 7" descr="A graph with orange and white stripes&#10;&#10;Description automatically generated">
            <a:extLst>
              <a:ext uri="{FF2B5EF4-FFF2-40B4-BE49-F238E27FC236}">
                <a16:creationId xmlns:a16="http://schemas.microsoft.com/office/drawing/2014/main" id="{C35D8F09-AD36-2C9C-A62A-11A79D09C8EC}"/>
              </a:ext>
            </a:extLst>
          </p:cNvPr>
          <p:cNvPicPr>
            <a:picLocks noChangeAspect="1"/>
          </p:cNvPicPr>
          <p:nvPr/>
        </p:nvPicPr>
        <p:blipFill>
          <a:blip r:embed="rId3"/>
          <a:stretch>
            <a:fillRect/>
          </a:stretch>
        </p:blipFill>
        <p:spPr>
          <a:xfrm>
            <a:off x="5943600" y="2072887"/>
            <a:ext cx="5738176" cy="3816428"/>
          </a:xfrm>
          <a:prstGeom prst="rect">
            <a:avLst/>
          </a:prstGeom>
        </p:spPr>
      </p:pic>
    </p:spTree>
    <p:extLst>
      <p:ext uri="{BB962C8B-B14F-4D97-AF65-F5344CB8AC3E}">
        <p14:creationId xmlns:p14="http://schemas.microsoft.com/office/powerpoint/2010/main" val="29653893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2198A88-A679-4A37-3410-FE53E7BC9F11}"/>
              </a:ext>
            </a:extLst>
          </p:cNvPr>
          <p:cNvSpPr/>
          <p:nvPr/>
        </p:nvSpPr>
        <p:spPr>
          <a:xfrm>
            <a:off x="6553200" y="0"/>
            <a:ext cx="5638800" cy="15495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86" name="Title 1"/>
          <p:cNvSpPr>
            <a:spLocks noGrp="1"/>
          </p:cNvSpPr>
          <p:nvPr>
            <p:ph type="title"/>
          </p:nvPr>
        </p:nvSpPr>
        <p:spPr>
          <a:xfrm>
            <a:off x="396883" y="261130"/>
            <a:ext cx="8229600" cy="1143000"/>
          </a:xfrm>
          <a:noFill/>
        </p:spPr>
        <p:txBody>
          <a:bodyPr>
            <a:normAutofit fontScale="90000"/>
          </a:bodyPr>
          <a:lstStyle/>
          <a:p>
            <a:r>
              <a:rPr lang="en-US" altLang="en-US" dirty="0">
                <a:ea typeface="Lato Medium"/>
                <a:cs typeface="Lato Medium"/>
              </a:rPr>
              <a:t>Nursing Education: </a:t>
            </a:r>
            <a:br>
              <a:rPr lang="en-US" altLang="en-US" dirty="0">
                <a:ea typeface="Lato Medium"/>
                <a:cs typeface="Lato Medium"/>
              </a:rPr>
            </a:br>
            <a:r>
              <a:rPr lang="en-US" altLang="en-US" dirty="0">
                <a:solidFill>
                  <a:schemeClr val="accent3"/>
                </a:solidFill>
                <a:ea typeface="Lato Medium"/>
                <a:cs typeface="Lato Medium"/>
              </a:rPr>
              <a:t>Current Content</a:t>
            </a:r>
            <a:endParaRPr lang="en-US" dirty="0">
              <a:solidFill>
                <a:schemeClr val="accent3"/>
              </a:solidFill>
            </a:endParaRPr>
          </a:p>
        </p:txBody>
      </p:sp>
      <p:sp>
        <p:nvSpPr>
          <p:cNvPr id="19" name="TextBox 18">
            <a:extLst>
              <a:ext uri="{FF2B5EF4-FFF2-40B4-BE49-F238E27FC236}">
                <a16:creationId xmlns:a16="http://schemas.microsoft.com/office/drawing/2014/main" id="{F49C1F1A-614A-5749-1A3F-78980B65ADBC}"/>
              </a:ext>
            </a:extLst>
          </p:cNvPr>
          <p:cNvSpPr txBox="1"/>
          <p:nvPr/>
        </p:nvSpPr>
        <p:spPr>
          <a:xfrm>
            <a:off x="-1252778" y="1188201"/>
            <a:ext cx="5766658" cy="36138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lnSpc>
                <a:spcPct val="150000"/>
              </a:lnSpc>
            </a:pPr>
            <a:endParaRPr lang="en-US" sz="1300">
              <a:solidFill>
                <a:srgbClr val="000000"/>
              </a:solidFill>
              <a:cs typeface="Calibri" panose="020F0502020204030204"/>
            </a:endParaRPr>
          </a:p>
        </p:txBody>
      </p:sp>
      <p:sp>
        <p:nvSpPr>
          <p:cNvPr id="6" name="TextBox 5">
            <a:extLst>
              <a:ext uri="{FF2B5EF4-FFF2-40B4-BE49-F238E27FC236}">
                <a16:creationId xmlns:a16="http://schemas.microsoft.com/office/drawing/2014/main" id="{001FEC55-3964-F5A7-7AE0-6E293AC7CBD9}"/>
              </a:ext>
            </a:extLst>
          </p:cNvPr>
          <p:cNvSpPr txBox="1"/>
          <p:nvPr/>
        </p:nvSpPr>
        <p:spPr>
          <a:xfrm>
            <a:off x="4724400" y="3200400"/>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p>
        </p:txBody>
      </p:sp>
      <p:sp>
        <p:nvSpPr>
          <p:cNvPr id="7" name="TextBox 6">
            <a:extLst>
              <a:ext uri="{FF2B5EF4-FFF2-40B4-BE49-F238E27FC236}">
                <a16:creationId xmlns:a16="http://schemas.microsoft.com/office/drawing/2014/main" id="{EAD90045-A731-42F5-ED3E-D5AE61B97B24}"/>
              </a:ext>
            </a:extLst>
          </p:cNvPr>
          <p:cNvSpPr txBox="1"/>
          <p:nvPr/>
        </p:nvSpPr>
        <p:spPr>
          <a:xfrm>
            <a:off x="-738041" y="368221"/>
            <a:ext cx="8447354" cy="60293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lnSpc>
                <a:spcPct val="200000"/>
              </a:lnSpc>
            </a:pPr>
            <a:r>
              <a:rPr lang="en-US" sz="1500">
                <a:solidFill>
                  <a:srgbClr val="0C1525"/>
                </a:solidFill>
                <a:ea typeface="+mn-lt"/>
                <a:cs typeface="+mn-lt"/>
              </a:rPr>
              <a:t>Proper swaddling techniques</a:t>
            </a:r>
          </a:p>
          <a:p>
            <a:pPr algn="r">
              <a:lnSpc>
                <a:spcPct val="200000"/>
              </a:lnSpc>
            </a:pPr>
            <a:r>
              <a:rPr lang="en-US" sz="1500">
                <a:solidFill>
                  <a:srgbClr val="0C1525"/>
                </a:solidFill>
                <a:ea typeface="+mn-lt"/>
                <a:cs typeface="+mn-lt"/>
              </a:rPr>
              <a:t>Avoiding smoke and nicotine</a:t>
            </a:r>
          </a:p>
          <a:p>
            <a:pPr algn="r">
              <a:lnSpc>
                <a:spcPct val="200000"/>
              </a:lnSpc>
            </a:pPr>
            <a:r>
              <a:rPr lang="en-US" sz="1500">
                <a:solidFill>
                  <a:srgbClr val="0C1525"/>
                </a:solidFill>
                <a:ea typeface="+mn-lt"/>
                <a:cs typeface="+mn-lt"/>
              </a:rPr>
              <a:t>Endorsing the use of a crib, bassinet, or play yard</a:t>
            </a:r>
          </a:p>
          <a:p>
            <a:pPr algn="r">
              <a:lnSpc>
                <a:spcPct val="200000"/>
              </a:lnSpc>
            </a:pPr>
            <a:r>
              <a:rPr lang="en-US" sz="1500">
                <a:solidFill>
                  <a:srgbClr val="0C1525"/>
                </a:solidFill>
                <a:ea typeface="+mn-lt"/>
                <a:cs typeface="+mn-lt"/>
              </a:rPr>
              <a:t>Avoiding alcohol, cannabis, opioids and illicit drug use</a:t>
            </a:r>
          </a:p>
          <a:p>
            <a:pPr algn="r">
              <a:lnSpc>
                <a:spcPct val="200000"/>
              </a:lnSpc>
            </a:pPr>
            <a:r>
              <a:rPr lang="en-US" sz="1500">
                <a:solidFill>
                  <a:srgbClr val="0C1525"/>
                </a:solidFill>
                <a:ea typeface="+mn-lt"/>
                <a:cs typeface="+mn-lt"/>
              </a:rPr>
              <a:t>Avoiding overheating and head covering</a:t>
            </a:r>
          </a:p>
          <a:p>
            <a:pPr algn="r">
              <a:lnSpc>
                <a:spcPct val="200000"/>
              </a:lnSpc>
            </a:pPr>
            <a:r>
              <a:rPr lang="en-US" sz="1500">
                <a:solidFill>
                  <a:srgbClr val="0C1525"/>
                </a:solidFill>
                <a:ea typeface="+mn-lt"/>
                <a:cs typeface="+mn-lt"/>
              </a:rPr>
              <a:t>Sleeping in parents room but on a separate surface</a:t>
            </a:r>
          </a:p>
          <a:p>
            <a:pPr algn="r">
              <a:lnSpc>
                <a:spcPct val="200000"/>
              </a:lnSpc>
            </a:pPr>
            <a:r>
              <a:rPr lang="en-US" sz="1500">
                <a:solidFill>
                  <a:srgbClr val="0C1525"/>
                </a:solidFill>
                <a:ea typeface="+mn-lt"/>
                <a:cs typeface="+mn-lt"/>
              </a:rPr>
              <a:t>Promotion of human milk feeding</a:t>
            </a:r>
          </a:p>
          <a:p>
            <a:pPr algn="r">
              <a:lnSpc>
                <a:spcPct val="200000"/>
              </a:lnSpc>
            </a:pPr>
            <a:r>
              <a:rPr lang="en-US" sz="1500">
                <a:solidFill>
                  <a:srgbClr val="0C1525"/>
                </a:solidFill>
                <a:ea typeface="+mn-lt"/>
                <a:cs typeface="+mn-lt"/>
              </a:rPr>
              <a:t>Promoting supervised awake tummy time</a:t>
            </a:r>
          </a:p>
          <a:p>
            <a:pPr algn="r">
              <a:lnSpc>
                <a:spcPct val="200000"/>
              </a:lnSpc>
            </a:pPr>
            <a:r>
              <a:rPr lang="en-US" sz="1500">
                <a:solidFill>
                  <a:srgbClr val="0C1525"/>
                </a:solidFill>
                <a:ea typeface="+mn-lt"/>
                <a:cs typeface="+mn-lt"/>
              </a:rPr>
              <a:t>Recommending immunizations in accordance with guidelines from AAP / CDC</a:t>
            </a:r>
          </a:p>
          <a:p>
            <a:pPr algn="r">
              <a:lnSpc>
                <a:spcPct val="200000"/>
              </a:lnSpc>
            </a:pPr>
            <a:r>
              <a:rPr lang="en-US" sz="1500">
                <a:solidFill>
                  <a:srgbClr val="0C1525"/>
                </a:solidFill>
                <a:ea typeface="+mn-lt"/>
                <a:cs typeface="+mn-lt"/>
              </a:rPr>
              <a:t>Offering a pacifier</a:t>
            </a:r>
          </a:p>
          <a:p>
            <a:pPr algn="r">
              <a:lnSpc>
                <a:spcPct val="200000"/>
              </a:lnSpc>
            </a:pPr>
            <a:r>
              <a:rPr lang="en-US" sz="1500">
                <a:solidFill>
                  <a:srgbClr val="0C1525"/>
                </a:solidFill>
                <a:ea typeface="+mn-lt"/>
                <a:cs typeface="+mn-lt"/>
              </a:rPr>
              <a:t>Transitioning to supine for preterm infants</a:t>
            </a:r>
          </a:p>
          <a:p>
            <a:pPr algn="r">
              <a:lnSpc>
                <a:spcPct val="200000"/>
              </a:lnSpc>
            </a:pPr>
            <a:r>
              <a:rPr lang="en-US" sz="1500">
                <a:solidFill>
                  <a:srgbClr val="0C1525"/>
                </a:solidFill>
                <a:ea typeface="+mn-lt"/>
                <a:cs typeface="+mn-lt"/>
              </a:rPr>
              <a:t>Not using home cardiorespiratory / commercial devices as strategy to reduce SIDS</a:t>
            </a:r>
          </a:p>
          <a:p>
            <a:pPr algn="r">
              <a:lnSpc>
                <a:spcPct val="200000"/>
              </a:lnSpc>
            </a:pPr>
            <a:r>
              <a:rPr lang="en-US" sz="1500">
                <a:solidFill>
                  <a:srgbClr val="0C1525"/>
                </a:solidFill>
                <a:ea typeface="+mn-lt"/>
                <a:cs typeface="+mn-lt"/>
              </a:rPr>
              <a:t>Use of sling or cloth carrier</a:t>
            </a:r>
          </a:p>
        </p:txBody>
      </p:sp>
      <p:pic>
        <p:nvPicPr>
          <p:cNvPr id="5" name="Picture 4" descr="A graph with numbers and lines&#10;&#10;Description automatically generated">
            <a:extLst>
              <a:ext uri="{FF2B5EF4-FFF2-40B4-BE49-F238E27FC236}">
                <a16:creationId xmlns:a16="http://schemas.microsoft.com/office/drawing/2014/main" id="{B252F46F-0231-5E3F-FDB0-26F7B8891B64}"/>
              </a:ext>
            </a:extLst>
          </p:cNvPr>
          <p:cNvPicPr>
            <a:picLocks noChangeAspect="1"/>
          </p:cNvPicPr>
          <p:nvPr/>
        </p:nvPicPr>
        <p:blipFill>
          <a:blip r:embed="rId3"/>
          <a:stretch>
            <a:fillRect/>
          </a:stretch>
        </p:blipFill>
        <p:spPr>
          <a:xfrm>
            <a:off x="7699894" y="600314"/>
            <a:ext cx="4279336" cy="5843358"/>
          </a:xfrm>
          <a:prstGeom prst="rect">
            <a:avLst/>
          </a:prstGeom>
        </p:spPr>
      </p:pic>
    </p:spTree>
    <p:extLst>
      <p:ext uri="{BB962C8B-B14F-4D97-AF65-F5344CB8AC3E}">
        <p14:creationId xmlns:p14="http://schemas.microsoft.com/office/powerpoint/2010/main" val="180018864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320039" y="208304"/>
            <a:ext cx="7080143" cy="1143000"/>
          </a:xfrm>
          <a:noFill/>
        </p:spPr>
        <p:txBody>
          <a:bodyPr>
            <a:normAutofit fontScale="90000"/>
          </a:bodyPr>
          <a:lstStyle/>
          <a:p>
            <a:r>
              <a:rPr lang="en-US" altLang="en-US" dirty="0">
                <a:ea typeface="Lato Medium"/>
                <a:cs typeface="Lato Medium"/>
              </a:rPr>
              <a:t>Current Safe Sleep Educational Content: </a:t>
            </a:r>
            <a:br>
              <a:rPr lang="en-US" altLang="en-US" dirty="0">
                <a:ea typeface="Lato Medium"/>
                <a:cs typeface="Lato Medium"/>
              </a:rPr>
            </a:br>
            <a:r>
              <a:rPr lang="en-US" altLang="en-US" dirty="0">
                <a:solidFill>
                  <a:schemeClr val="accent3"/>
                </a:solidFill>
                <a:ea typeface="Lato Medium"/>
                <a:cs typeface="Lato Medium"/>
              </a:rPr>
              <a:t>Providers </a:t>
            </a:r>
            <a:r>
              <a:rPr lang="en-US" altLang="en-US" sz="2000" b="0" dirty="0">
                <a:solidFill>
                  <a:schemeClr val="accent3"/>
                </a:solidFill>
                <a:ea typeface="Lato Medium"/>
                <a:cs typeface="Lato Medium"/>
              </a:rPr>
              <a:t>(</a:t>
            </a:r>
            <a:r>
              <a:rPr lang="en-US" sz="2000" b="0" dirty="0">
                <a:solidFill>
                  <a:schemeClr val="accent3"/>
                </a:solidFill>
                <a:ea typeface="+mj-lt"/>
                <a:cs typeface="+mj-lt"/>
              </a:rPr>
              <a:t>MD, DO, APN, PA)</a:t>
            </a:r>
            <a:r>
              <a:rPr lang="en-US" b="0" dirty="0">
                <a:solidFill>
                  <a:schemeClr val="accent3"/>
                </a:solidFill>
                <a:ea typeface="+mj-lt"/>
                <a:cs typeface="+mj-lt"/>
              </a:rPr>
              <a:t> </a:t>
            </a:r>
            <a:endParaRPr lang="en-US" altLang="en-US" dirty="0">
              <a:solidFill>
                <a:schemeClr val="accent3"/>
              </a:solidFill>
            </a:endParaRPr>
          </a:p>
        </p:txBody>
      </p:sp>
      <p:sp>
        <p:nvSpPr>
          <p:cNvPr id="5" name="TextBox 4">
            <a:extLst>
              <a:ext uri="{FF2B5EF4-FFF2-40B4-BE49-F238E27FC236}">
                <a16:creationId xmlns:a16="http://schemas.microsoft.com/office/drawing/2014/main" id="{E069BE35-38BF-B866-0B62-A243ACB6F110}"/>
              </a:ext>
            </a:extLst>
          </p:cNvPr>
          <p:cNvSpPr txBox="1"/>
          <p:nvPr/>
        </p:nvSpPr>
        <p:spPr>
          <a:xfrm>
            <a:off x="3459049" y="5249370"/>
            <a:ext cx="95572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cs typeface="Calibri" panose="020F0502020204030204"/>
              </a:rPr>
              <a:t>None</a:t>
            </a:r>
          </a:p>
        </p:txBody>
      </p:sp>
      <p:sp>
        <p:nvSpPr>
          <p:cNvPr id="6" name="TextBox 5">
            <a:extLst>
              <a:ext uri="{FF2B5EF4-FFF2-40B4-BE49-F238E27FC236}">
                <a16:creationId xmlns:a16="http://schemas.microsoft.com/office/drawing/2014/main" id="{137890F0-FB58-2F7F-C68D-9B504512854C}"/>
              </a:ext>
            </a:extLst>
          </p:cNvPr>
          <p:cNvSpPr txBox="1"/>
          <p:nvPr/>
        </p:nvSpPr>
        <p:spPr>
          <a:xfrm>
            <a:off x="8764404" y="5249371"/>
            <a:ext cx="95572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cs typeface="Calibri" panose="020F0502020204030204"/>
              </a:rPr>
              <a:t>Unsure</a:t>
            </a:r>
          </a:p>
        </p:txBody>
      </p:sp>
      <p:sp>
        <p:nvSpPr>
          <p:cNvPr id="7" name="TextBox 6">
            <a:extLst>
              <a:ext uri="{FF2B5EF4-FFF2-40B4-BE49-F238E27FC236}">
                <a16:creationId xmlns:a16="http://schemas.microsoft.com/office/drawing/2014/main" id="{1F35585C-3549-CE9C-A34A-3452229F6833}"/>
              </a:ext>
            </a:extLst>
          </p:cNvPr>
          <p:cNvSpPr txBox="1"/>
          <p:nvPr/>
        </p:nvSpPr>
        <p:spPr>
          <a:xfrm>
            <a:off x="6445563" y="5249371"/>
            <a:ext cx="2056721"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cs typeface="Calibri" panose="020F0502020204030204"/>
              </a:rPr>
              <a:t>Providing information on low cost/free cribs if needed</a:t>
            </a:r>
            <a:endParaRPr lang="en-US"/>
          </a:p>
        </p:txBody>
      </p:sp>
      <p:sp>
        <p:nvSpPr>
          <p:cNvPr id="9" name="TextBox 8">
            <a:extLst>
              <a:ext uri="{FF2B5EF4-FFF2-40B4-BE49-F238E27FC236}">
                <a16:creationId xmlns:a16="http://schemas.microsoft.com/office/drawing/2014/main" id="{9BD0DB87-BFB9-248F-9187-16322CEC9C89}"/>
              </a:ext>
            </a:extLst>
          </p:cNvPr>
          <p:cNvSpPr txBox="1"/>
          <p:nvPr/>
        </p:nvSpPr>
        <p:spPr>
          <a:xfrm>
            <a:off x="5011970" y="5249370"/>
            <a:ext cx="1433593"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cs typeface="Calibri" panose="020F0502020204030204"/>
              </a:rPr>
              <a:t>Screening for safe sleep practices at home</a:t>
            </a:r>
            <a:endParaRPr lang="en-US"/>
          </a:p>
        </p:txBody>
      </p:sp>
      <p:sp>
        <p:nvSpPr>
          <p:cNvPr id="10" name="TextBox 9">
            <a:extLst>
              <a:ext uri="{FF2B5EF4-FFF2-40B4-BE49-F238E27FC236}">
                <a16:creationId xmlns:a16="http://schemas.microsoft.com/office/drawing/2014/main" id="{C8307CA0-040F-CDB1-5F4D-16A04C6E74DF}"/>
              </a:ext>
            </a:extLst>
          </p:cNvPr>
          <p:cNvSpPr txBox="1"/>
          <p:nvPr/>
        </p:nvSpPr>
        <p:spPr>
          <a:xfrm>
            <a:off x="1227299" y="5249370"/>
            <a:ext cx="1933154"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cs typeface="Calibri" panose="020F0502020204030204"/>
              </a:rPr>
              <a:t>Modeling and implementing safe sleep</a:t>
            </a:r>
            <a:endParaRPr lang="en-US"/>
          </a:p>
        </p:txBody>
      </p:sp>
      <p:pic>
        <p:nvPicPr>
          <p:cNvPr id="3" name="Picture 2" descr="A graph with numbers and a bar&#10;&#10;Description automatically generated">
            <a:extLst>
              <a:ext uri="{FF2B5EF4-FFF2-40B4-BE49-F238E27FC236}">
                <a16:creationId xmlns:a16="http://schemas.microsoft.com/office/drawing/2014/main" id="{4DA2BC9A-416B-F3D1-6F75-394A69766AB0}"/>
              </a:ext>
            </a:extLst>
          </p:cNvPr>
          <p:cNvPicPr>
            <a:picLocks noChangeAspect="1"/>
          </p:cNvPicPr>
          <p:nvPr/>
        </p:nvPicPr>
        <p:blipFill>
          <a:blip r:embed="rId3"/>
          <a:stretch>
            <a:fillRect/>
          </a:stretch>
        </p:blipFill>
        <p:spPr>
          <a:xfrm>
            <a:off x="1803948" y="1332160"/>
            <a:ext cx="7789483" cy="3997235"/>
          </a:xfrm>
          <a:prstGeom prst="rect">
            <a:avLst/>
          </a:prstGeom>
        </p:spPr>
      </p:pic>
      <p:sp>
        <p:nvSpPr>
          <p:cNvPr id="2" name="Oval 1">
            <a:extLst>
              <a:ext uri="{FF2B5EF4-FFF2-40B4-BE49-F238E27FC236}">
                <a16:creationId xmlns:a16="http://schemas.microsoft.com/office/drawing/2014/main" id="{7330CC31-B3A7-BD29-D948-42396E6C6267}"/>
              </a:ext>
            </a:extLst>
          </p:cNvPr>
          <p:cNvSpPr/>
          <p:nvPr/>
        </p:nvSpPr>
        <p:spPr>
          <a:xfrm>
            <a:off x="3160453" y="1351304"/>
            <a:ext cx="1603276" cy="4821396"/>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A7BE87F4-6794-48BE-89AA-1C7A7ABFF9A4}"/>
              </a:ext>
            </a:extLst>
          </p:cNvPr>
          <p:cNvSpPr/>
          <p:nvPr/>
        </p:nvSpPr>
        <p:spPr>
          <a:xfrm>
            <a:off x="8433358" y="3428999"/>
            <a:ext cx="1603276" cy="2631693"/>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468543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4FB2C5-4B3C-7E91-CA87-3073F37E77A6}"/>
              </a:ext>
            </a:extLst>
          </p:cNvPr>
          <p:cNvSpPr>
            <a:spLocks noGrp="1"/>
          </p:cNvSpPr>
          <p:nvPr>
            <p:ph type="title"/>
          </p:nvPr>
        </p:nvSpPr>
        <p:spPr>
          <a:xfrm>
            <a:off x="322053" y="494521"/>
            <a:ext cx="10972800" cy="1325563"/>
          </a:xfrm>
        </p:spPr>
        <p:txBody>
          <a:bodyPr/>
          <a:lstStyle/>
          <a:p>
            <a:r>
              <a:rPr lang="en-US" sz="4800" dirty="0">
                <a:ea typeface="Lato Medium"/>
                <a:cs typeface="Lato Medium"/>
              </a:rPr>
              <a:t>Perinatal Quality Collaboratives</a:t>
            </a:r>
            <a:endParaRPr lang="en-US" sz="4800" dirty="0"/>
          </a:p>
        </p:txBody>
      </p:sp>
      <p:sp>
        <p:nvSpPr>
          <p:cNvPr id="4" name="Slide Number Placeholder 3">
            <a:extLst>
              <a:ext uri="{FF2B5EF4-FFF2-40B4-BE49-F238E27FC236}">
                <a16:creationId xmlns:a16="http://schemas.microsoft.com/office/drawing/2014/main" id="{63DEFAF9-454E-3C08-F10F-41AED50590FD}"/>
              </a:ext>
            </a:extLst>
          </p:cNvPr>
          <p:cNvSpPr>
            <a:spLocks noGrp="1"/>
          </p:cNvSpPr>
          <p:nvPr>
            <p:ph type="sldNum" sz="quarter" idx="10"/>
          </p:nvPr>
        </p:nvSpPr>
        <p:spPr/>
        <p:txBody>
          <a:bodyPr/>
          <a:lstStyle/>
          <a:p>
            <a:fld id="{97033E4B-E3EB-3D46-B2D8-3159663620FA}" type="slidenum">
              <a:rPr lang="en-US" smtClean="0"/>
              <a:pPr/>
              <a:t>4</a:t>
            </a:fld>
            <a:endParaRPr lang="en-US"/>
          </a:p>
        </p:txBody>
      </p:sp>
      <p:sp>
        <p:nvSpPr>
          <p:cNvPr id="5" name="Footer Placeholder 4">
            <a:extLst>
              <a:ext uri="{FF2B5EF4-FFF2-40B4-BE49-F238E27FC236}">
                <a16:creationId xmlns:a16="http://schemas.microsoft.com/office/drawing/2014/main" id="{E81B968C-C847-94C5-465F-168357A410A4}"/>
              </a:ext>
            </a:extLst>
          </p:cNvPr>
          <p:cNvSpPr>
            <a:spLocks noGrp="1"/>
          </p:cNvSpPr>
          <p:nvPr>
            <p:ph type="ftr" sz="quarter" idx="11"/>
          </p:nvPr>
        </p:nvSpPr>
        <p:spPr/>
        <p:txBody>
          <a:bodyPr/>
          <a:lstStyle/>
          <a:p>
            <a:pPr algn="l"/>
            <a:r>
              <a:rPr lang="en-US"/>
              <a:t>Illinois Perinatal Quality Collaborative</a:t>
            </a:r>
          </a:p>
        </p:txBody>
      </p:sp>
      <p:sp>
        <p:nvSpPr>
          <p:cNvPr id="8" name="Content Placeholder 7">
            <a:extLst>
              <a:ext uri="{FF2B5EF4-FFF2-40B4-BE49-F238E27FC236}">
                <a16:creationId xmlns:a16="http://schemas.microsoft.com/office/drawing/2014/main" id="{D5D1F0C8-27BB-1F4F-9B28-F7D9F4C8AE47}"/>
              </a:ext>
            </a:extLst>
          </p:cNvPr>
          <p:cNvSpPr>
            <a:spLocks noGrp="1"/>
          </p:cNvSpPr>
          <p:nvPr>
            <p:ph idx="1"/>
          </p:nvPr>
        </p:nvSpPr>
        <p:spPr>
          <a:xfrm>
            <a:off x="609600" y="1955021"/>
            <a:ext cx="7076536" cy="4351338"/>
          </a:xfrm>
        </p:spPr>
        <p:txBody>
          <a:bodyPr vert="horz" lIns="91440" tIns="45720" rIns="91440" bIns="45720" rtlCol="0" anchor="t">
            <a:noAutofit/>
          </a:bodyPr>
          <a:lstStyle/>
          <a:p>
            <a:pPr marL="342900" indent="-342900">
              <a:spcBef>
                <a:spcPts val="0"/>
              </a:spcBef>
              <a:spcAft>
                <a:spcPts val="0"/>
              </a:spcAft>
              <a:buFont typeface="Arial,Sans-Serif" panose="020B0604020202020204" pitchFamily="34" charset="0"/>
            </a:pPr>
            <a:r>
              <a:rPr lang="en-US" dirty="0">
                <a:solidFill>
                  <a:srgbClr val="000000"/>
                </a:solidFill>
                <a:latin typeface="Arial"/>
                <a:ea typeface="Lato"/>
                <a:cs typeface="Arial"/>
              </a:rPr>
              <a:t>Perinatal Quality Collaboratives are statewide networks of hospital teams, perinatal clinicians, patients, public health leaders, and policymakers committed to improving healthcare and outcomes for birthing people and babies.</a:t>
            </a:r>
          </a:p>
          <a:p>
            <a:pPr marL="342900" indent="-342900">
              <a:spcBef>
                <a:spcPts val="0"/>
              </a:spcBef>
              <a:spcAft>
                <a:spcPts val="0"/>
              </a:spcAft>
              <a:buFont typeface="Arial,Sans-Serif" panose="020B0604020202020204" pitchFamily="34" charset="0"/>
            </a:pPr>
            <a:endParaRPr lang="en-US" dirty="0">
              <a:latin typeface="Arial"/>
              <a:cs typeface="Arial"/>
            </a:endParaRPr>
          </a:p>
          <a:p>
            <a:pPr marL="342900" indent="-342900">
              <a:spcBef>
                <a:spcPts val="0"/>
              </a:spcBef>
              <a:spcAft>
                <a:spcPts val="0"/>
              </a:spcAft>
              <a:buFont typeface="Arial,Sans-Serif" panose="020B0604020202020204" pitchFamily="34" charset="0"/>
            </a:pPr>
            <a:r>
              <a:rPr lang="en-US" dirty="0">
                <a:solidFill>
                  <a:srgbClr val="000000"/>
                </a:solidFill>
                <a:latin typeface="Arial"/>
                <a:ea typeface="Lato"/>
                <a:cs typeface="Arial"/>
              </a:rPr>
              <a:t>ILPQC is a perinatal quality collaborative made up of close to 90 Illinois hospitals participating in one or more initiatives. 100% of Illinois births are touched by an ILPQC initiative.</a:t>
            </a:r>
            <a:endParaRPr lang="en-US">
              <a:ea typeface="Lato"/>
            </a:endParaRPr>
          </a:p>
        </p:txBody>
      </p:sp>
      <p:pic>
        <p:nvPicPr>
          <p:cNvPr id="10" name="Picture 9">
            <a:extLst>
              <a:ext uri="{FF2B5EF4-FFF2-40B4-BE49-F238E27FC236}">
                <a16:creationId xmlns:a16="http://schemas.microsoft.com/office/drawing/2014/main" id="{27AD21F3-6E15-AA0D-7CE8-DF86AF6A975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482268" y="1695871"/>
            <a:ext cx="3369848" cy="4341876"/>
          </a:xfrm>
          <a:prstGeom prst="rect">
            <a:avLst/>
          </a:prstGeom>
        </p:spPr>
      </p:pic>
    </p:spTree>
    <p:extLst>
      <p:ext uri="{BB962C8B-B14F-4D97-AF65-F5344CB8AC3E}">
        <p14:creationId xmlns:p14="http://schemas.microsoft.com/office/powerpoint/2010/main" val="3241722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320039" y="208304"/>
            <a:ext cx="7080143" cy="1143000"/>
          </a:xfrm>
          <a:noFill/>
        </p:spPr>
        <p:txBody>
          <a:bodyPr>
            <a:normAutofit fontScale="90000"/>
          </a:bodyPr>
          <a:lstStyle/>
          <a:p>
            <a:r>
              <a:rPr lang="en-US" altLang="en-US">
                <a:ea typeface="Lato Medium"/>
                <a:cs typeface="Lato Medium"/>
              </a:rPr>
              <a:t>Current Safe Sleep Educational Content: </a:t>
            </a:r>
            <a:endParaRPr lang="en-US" altLang="en-US">
              <a:solidFill>
                <a:schemeClr val="accent3"/>
              </a:solidFill>
            </a:endParaRPr>
          </a:p>
        </p:txBody>
      </p:sp>
      <p:pic>
        <p:nvPicPr>
          <p:cNvPr id="2" name="Picture 1" descr="A graph with numbers and a bar&#10;&#10;Description automatically generated">
            <a:extLst>
              <a:ext uri="{FF2B5EF4-FFF2-40B4-BE49-F238E27FC236}">
                <a16:creationId xmlns:a16="http://schemas.microsoft.com/office/drawing/2014/main" id="{D549A1D4-41B1-1D6F-42CB-8A4CB202EBC2}"/>
              </a:ext>
            </a:extLst>
          </p:cNvPr>
          <p:cNvPicPr>
            <a:picLocks noChangeAspect="1"/>
          </p:cNvPicPr>
          <p:nvPr/>
        </p:nvPicPr>
        <p:blipFill rotWithShape="1">
          <a:blip r:embed="rId3"/>
          <a:srcRect l="1321" r="132" b="336"/>
          <a:stretch/>
        </p:blipFill>
        <p:spPr>
          <a:xfrm>
            <a:off x="495305" y="2330244"/>
            <a:ext cx="9195229" cy="3657430"/>
          </a:xfrm>
          <a:prstGeom prst="rect">
            <a:avLst/>
          </a:prstGeom>
        </p:spPr>
      </p:pic>
      <p:sp>
        <p:nvSpPr>
          <p:cNvPr id="4" name="TextBox 3">
            <a:extLst>
              <a:ext uri="{FF2B5EF4-FFF2-40B4-BE49-F238E27FC236}">
                <a16:creationId xmlns:a16="http://schemas.microsoft.com/office/drawing/2014/main" id="{EA09FBC4-EFF6-9AB4-25A1-D6ED252CED0D}"/>
              </a:ext>
            </a:extLst>
          </p:cNvPr>
          <p:cNvSpPr txBox="1"/>
          <p:nvPr/>
        </p:nvSpPr>
        <p:spPr>
          <a:xfrm>
            <a:off x="320039" y="1351304"/>
            <a:ext cx="10775971" cy="104644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600" b="1" dirty="0">
                <a:solidFill>
                  <a:srgbClr val="F58366"/>
                </a:solidFill>
                <a:ea typeface="+mn-lt"/>
                <a:cs typeface="+mn-lt"/>
              </a:rPr>
              <a:t>Does your hospital offer safe sleep educational content for other staff? </a:t>
            </a:r>
            <a:endParaRPr lang="en-US" sz="2600" b="1">
              <a:solidFill>
                <a:srgbClr val="F58366"/>
              </a:solidFill>
              <a:ea typeface="+mn-lt"/>
              <a:cs typeface="+mn-lt"/>
            </a:endParaRPr>
          </a:p>
          <a:p>
            <a:r>
              <a:rPr lang="en-US" dirty="0">
                <a:solidFill>
                  <a:srgbClr val="F58366"/>
                </a:solidFill>
                <a:ea typeface="+mn-lt"/>
                <a:cs typeface="+mn-lt"/>
              </a:rPr>
              <a:t>(i.e. PCT, hearing consultants, lactation consultants, environmental service staff, food service staff, birth certificate registrars)</a:t>
            </a:r>
            <a:endParaRPr lang="en-US" dirty="0"/>
          </a:p>
        </p:txBody>
      </p:sp>
    </p:spTree>
    <p:extLst>
      <p:ext uri="{BB962C8B-B14F-4D97-AF65-F5344CB8AC3E}">
        <p14:creationId xmlns:p14="http://schemas.microsoft.com/office/powerpoint/2010/main" val="28883926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3F377-28A9-F2D5-76A8-8CDE2A9E7535}"/>
              </a:ext>
            </a:extLst>
          </p:cNvPr>
          <p:cNvSpPr>
            <a:spLocks noGrp="1"/>
          </p:cNvSpPr>
          <p:nvPr>
            <p:ph type="title"/>
          </p:nvPr>
        </p:nvSpPr>
        <p:spPr>
          <a:xfrm>
            <a:off x="221411" y="135087"/>
            <a:ext cx="10972800" cy="1325563"/>
          </a:xfrm>
        </p:spPr>
        <p:txBody>
          <a:bodyPr/>
          <a:lstStyle/>
          <a:p>
            <a:r>
              <a:rPr lang="en-US" dirty="0">
                <a:ea typeface="Lato Medium"/>
                <a:cs typeface="Lato Medium"/>
              </a:rPr>
              <a:t>Respectful Care - </a:t>
            </a:r>
            <a:br>
              <a:rPr lang="en-US" dirty="0">
                <a:ea typeface="Lato Medium"/>
                <a:cs typeface="Lato Medium"/>
              </a:rPr>
            </a:br>
            <a:r>
              <a:rPr lang="en-US" dirty="0">
                <a:ea typeface="Lato Medium"/>
                <a:cs typeface="Lato Medium"/>
              </a:rPr>
              <a:t>Provider, Nurse and Staff Education</a:t>
            </a:r>
            <a:endParaRPr lang="en-US" dirty="0"/>
          </a:p>
        </p:txBody>
      </p:sp>
      <p:sp>
        <p:nvSpPr>
          <p:cNvPr id="4" name="Slide Number Placeholder 3">
            <a:extLst>
              <a:ext uri="{FF2B5EF4-FFF2-40B4-BE49-F238E27FC236}">
                <a16:creationId xmlns:a16="http://schemas.microsoft.com/office/drawing/2014/main" id="{B13D8681-4EEB-D787-F499-A1B98BC6CC81}"/>
              </a:ext>
            </a:extLst>
          </p:cNvPr>
          <p:cNvSpPr>
            <a:spLocks noGrp="1"/>
          </p:cNvSpPr>
          <p:nvPr>
            <p:ph type="sldNum" sz="quarter" idx="10"/>
          </p:nvPr>
        </p:nvSpPr>
        <p:spPr/>
        <p:txBody>
          <a:bodyPr/>
          <a:lstStyle/>
          <a:p>
            <a:fld id="{97033E4B-E3EB-3D46-B2D8-3159663620FA}" type="slidenum">
              <a:rPr lang="en-US" smtClean="0"/>
              <a:pPr/>
              <a:t>41</a:t>
            </a:fld>
            <a:endParaRPr lang="en-US"/>
          </a:p>
        </p:txBody>
      </p:sp>
      <p:sp>
        <p:nvSpPr>
          <p:cNvPr id="5" name="Footer Placeholder 4">
            <a:extLst>
              <a:ext uri="{FF2B5EF4-FFF2-40B4-BE49-F238E27FC236}">
                <a16:creationId xmlns:a16="http://schemas.microsoft.com/office/drawing/2014/main" id="{F311C763-309B-DB8E-4FAF-E8BF5314B6A6}"/>
              </a:ext>
            </a:extLst>
          </p:cNvPr>
          <p:cNvSpPr>
            <a:spLocks noGrp="1"/>
          </p:cNvSpPr>
          <p:nvPr>
            <p:ph type="ftr" sz="quarter" idx="11"/>
          </p:nvPr>
        </p:nvSpPr>
        <p:spPr/>
        <p:txBody>
          <a:bodyPr/>
          <a:lstStyle/>
          <a:p>
            <a:pPr algn="l"/>
            <a:r>
              <a:rPr lang="en-US"/>
              <a:t>Illinois Perinatal Quality Collaborative</a:t>
            </a:r>
          </a:p>
        </p:txBody>
      </p:sp>
      <p:sp>
        <p:nvSpPr>
          <p:cNvPr id="6" name="TextBox 5">
            <a:extLst>
              <a:ext uri="{FF2B5EF4-FFF2-40B4-BE49-F238E27FC236}">
                <a16:creationId xmlns:a16="http://schemas.microsoft.com/office/drawing/2014/main" id="{F6338EC5-0A81-7DC2-69F0-D3BF4953F92A}"/>
              </a:ext>
            </a:extLst>
          </p:cNvPr>
          <p:cNvSpPr txBox="1"/>
          <p:nvPr/>
        </p:nvSpPr>
        <p:spPr>
          <a:xfrm>
            <a:off x="109267" y="1360099"/>
            <a:ext cx="5503653" cy="181385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b="1">
                <a:solidFill>
                  <a:srgbClr val="444C55"/>
                </a:solidFill>
                <a:ea typeface="Calibri"/>
                <a:cs typeface="Calibri"/>
              </a:rPr>
              <a:t>Do you currently have any education for providers, nurses, and staff about listening to parents and caregivers, providing respectful care and building trust, and addressing implicit bias and engaging in anti-racism? </a:t>
            </a:r>
          </a:p>
        </p:txBody>
      </p:sp>
      <p:sp>
        <p:nvSpPr>
          <p:cNvPr id="7" name="TextBox 6">
            <a:extLst>
              <a:ext uri="{FF2B5EF4-FFF2-40B4-BE49-F238E27FC236}">
                <a16:creationId xmlns:a16="http://schemas.microsoft.com/office/drawing/2014/main" id="{3AA2C132-6976-52A2-A4F0-D81D09CBB1EA}"/>
              </a:ext>
            </a:extLst>
          </p:cNvPr>
          <p:cNvSpPr txBox="1"/>
          <p:nvPr/>
        </p:nvSpPr>
        <p:spPr>
          <a:xfrm>
            <a:off x="7456098" y="1963947"/>
            <a:ext cx="376399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a:solidFill>
                  <a:srgbClr val="444444"/>
                </a:solidFill>
              </a:rPr>
              <a:t>If yes, how is it provided?</a:t>
            </a:r>
            <a:endParaRPr lang="en-US">
              <a:ea typeface="Calibri" panose="020F0502020204030204"/>
              <a:cs typeface="Calibri" panose="020F0502020204030204"/>
            </a:endParaRPr>
          </a:p>
        </p:txBody>
      </p:sp>
      <p:pic>
        <p:nvPicPr>
          <p:cNvPr id="8" name="Picture 7" descr="A pie chart with a number of circles&#10;&#10;Description automatically generated">
            <a:extLst>
              <a:ext uri="{FF2B5EF4-FFF2-40B4-BE49-F238E27FC236}">
                <a16:creationId xmlns:a16="http://schemas.microsoft.com/office/drawing/2014/main" id="{F6AF464B-BCF9-C413-1A61-5938E8025FD8}"/>
              </a:ext>
            </a:extLst>
          </p:cNvPr>
          <p:cNvPicPr>
            <a:picLocks noChangeAspect="1"/>
          </p:cNvPicPr>
          <p:nvPr/>
        </p:nvPicPr>
        <p:blipFill>
          <a:blip r:embed="rId3"/>
          <a:stretch>
            <a:fillRect/>
          </a:stretch>
        </p:blipFill>
        <p:spPr>
          <a:xfrm>
            <a:off x="612475" y="3330468"/>
            <a:ext cx="4008407" cy="3345707"/>
          </a:xfrm>
          <a:prstGeom prst="rect">
            <a:avLst/>
          </a:prstGeom>
        </p:spPr>
      </p:pic>
      <p:pic>
        <p:nvPicPr>
          <p:cNvPr id="9" name="Picture 8">
            <a:extLst>
              <a:ext uri="{FF2B5EF4-FFF2-40B4-BE49-F238E27FC236}">
                <a16:creationId xmlns:a16="http://schemas.microsoft.com/office/drawing/2014/main" id="{8553280F-F27E-3A70-1DDD-92D0DF0018F9}"/>
              </a:ext>
            </a:extLst>
          </p:cNvPr>
          <p:cNvPicPr>
            <a:picLocks noChangeAspect="1"/>
          </p:cNvPicPr>
          <p:nvPr/>
        </p:nvPicPr>
        <p:blipFill>
          <a:blip r:embed="rId4"/>
          <a:stretch>
            <a:fillRect/>
          </a:stretch>
        </p:blipFill>
        <p:spPr>
          <a:xfrm>
            <a:off x="5601420" y="2575826"/>
            <a:ext cx="6524444" cy="3963592"/>
          </a:xfrm>
          <a:prstGeom prst="rect">
            <a:avLst/>
          </a:prstGeom>
        </p:spPr>
      </p:pic>
    </p:spTree>
    <p:extLst>
      <p:ext uri="{BB962C8B-B14F-4D97-AF65-F5344CB8AC3E}">
        <p14:creationId xmlns:p14="http://schemas.microsoft.com/office/powerpoint/2010/main" val="16175591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3DB2FD-422B-6FE2-6A77-68A0BED56A59}"/>
              </a:ext>
            </a:extLst>
          </p:cNvPr>
          <p:cNvSpPr>
            <a:spLocks noGrp="1"/>
          </p:cNvSpPr>
          <p:nvPr>
            <p:ph type="title"/>
          </p:nvPr>
        </p:nvSpPr>
        <p:spPr>
          <a:xfrm>
            <a:off x="609600" y="58676"/>
            <a:ext cx="10972800" cy="1325563"/>
          </a:xfrm>
        </p:spPr>
        <p:txBody>
          <a:bodyPr/>
          <a:lstStyle/>
          <a:p>
            <a:r>
              <a:rPr lang="en-US">
                <a:ea typeface="Lato Medium"/>
                <a:cs typeface="Lato Medium"/>
              </a:rPr>
              <a:t>Safe Sleep Education Delivery</a:t>
            </a:r>
            <a:endParaRPr lang="en-US"/>
          </a:p>
        </p:txBody>
      </p:sp>
      <p:sp>
        <p:nvSpPr>
          <p:cNvPr id="4" name="Slide Number Placeholder 3">
            <a:extLst>
              <a:ext uri="{FF2B5EF4-FFF2-40B4-BE49-F238E27FC236}">
                <a16:creationId xmlns:a16="http://schemas.microsoft.com/office/drawing/2014/main" id="{330AD7BD-9E2F-C844-CD5A-F991D18C893C}"/>
              </a:ext>
            </a:extLst>
          </p:cNvPr>
          <p:cNvSpPr>
            <a:spLocks noGrp="1"/>
          </p:cNvSpPr>
          <p:nvPr>
            <p:ph type="sldNum" sz="quarter" idx="10"/>
          </p:nvPr>
        </p:nvSpPr>
        <p:spPr/>
        <p:txBody>
          <a:bodyPr/>
          <a:lstStyle/>
          <a:p>
            <a:fld id="{97033E4B-E3EB-3D46-B2D8-3159663620FA}" type="slidenum">
              <a:rPr lang="en-US" smtClean="0"/>
              <a:pPr/>
              <a:t>42</a:t>
            </a:fld>
            <a:endParaRPr lang="en-US"/>
          </a:p>
        </p:txBody>
      </p:sp>
      <p:sp>
        <p:nvSpPr>
          <p:cNvPr id="5" name="Footer Placeholder 4">
            <a:extLst>
              <a:ext uri="{FF2B5EF4-FFF2-40B4-BE49-F238E27FC236}">
                <a16:creationId xmlns:a16="http://schemas.microsoft.com/office/drawing/2014/main" id="{7D76078D-15B1-D507-AAE3-58346542B21B}"/>
              </a:ext>
            </a:extLst>
          </p:cNvPr>
          <p:cNvSpPr>
            <a:spLocks noGrp="1"/>
          </p:cNvSpPr>
          <p:nvPr>
            <p:ph type="ftr" sz="quarter" idx="11"/>
          </p:nvPr>
        </p:nvSpPr>
        <p:spPr/>
        <p:txBody>
          <a:bodyPr/>
          <a:lstStyle/>
          <a:p>
            <a:pPr algn="l"/>
            <a:r>
              <a:rPr lang="en-US"/>
              <a:t>Illinois Perinatal Quality Collaborative</a:t>
            </a:r>
          </a:p>
        </p:txBody>
      </p:sp>
      <p:sp>
        <p:nvSpPr>
          <p:cNvPr id="7" name="TextBox 6">
            <a:extLst>
              <a:ext uri="{FF2B5EF4-FFF2-40B4-BE49-F238E27FC236}">
                <a16:creationId xmlns:a16="http://schemas.microsoft.com/office/drawing/2014/main" id="{C2C4A4FB-85F0-1A6F-FCE0-0B66658A2386}"/>
              </a:ext>
            </a:extLst>
          </p:cNvPr>
          <p:cNvSpPr txBox="1"/>
          <p:nvPr/>
        </p:nvSpPr>
        <p:spPr>
          <a:xfrm>
            <a:off x="613116" y="999612"/>
            <a:ext cx="7610741"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600" b="1">
                <a:solidFill>
                  <a:srgbClr val="F58366"/>
                </a:solidFill>
                <a:ea typeface="+mn-lt"/>
                <a:cs typeface="+mn-lt"/>
              </a:rPr>
              <a:t>Who primarily delivers safe sleep education content to parents and caregivers on your unit?</a:t>
            </a:r>
            <a:endParaRPr lang="en-US"/>
          </a:p>
        </p:txBody>
      </p:sp>
      <p:pic>
        <p:nvPicPr>
          <p:cNvPr id="10" name="Picture 9">
            <a:extLst>
              <a:ext uri="{FF2B5EF4-FFF2-40B4-BE49-F238E27FC236}">
                <a16:creationId xmlns:a16="http://schemas.microsoft.com/office/drawing/2014/main" id="{66E5EB26-086B-E77E-CBE6-BB12DE36113C}"/>
              </a:ext>
            </a:extLst>
          </p:cNvPr>
          <p:cNvPicPr>
            <a:picLocks noChangeAspect="1"/>
          </p:cNvPicPr>
          <p:nvPr/>
        </p:nvPicPr>
        <p:blipFill>
          <a:blip r:embed="rId4"/>
          <a:stretch>
            <a:fillRect/>
          </a:stretch>
        </p:blipFill>
        <p:spPr>
          <a:xfrm>
            <a:off x="1582615" y="1980953"/>
            <a:ext cx="9648091" cy="4736617"/>
          </a:xfrm>
          <a:prstGeom prst="rect">
            <a:avLst/>
          </a:prstGeom>
        </p:spPr>
      </p:pic>
    </p:spTree>
    <p:extLst>
      <p:ext uri="{BB962C8B-B14F-4D97-AF65-F5344CB8AC3E}">
        <p14:creationId xmlns:p14="http://schemas.microsoft.com/office/powerpoint/2010/main" val="3429336150"/>
      </p:ext>
    </p:extLst>
  </p:cSld>
  <p:clrMapOvr>
    <a:masterClrMapping/>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descr="A graph of a number of people&#10;&#10;Description automatically generated with medium confidence">
            <a:extLst>
              <a:ext uri="{FF2B5EF4-FFF2-40B4-BE49-F238E27FC236}">
                <a16:creationId xmlns:a16="http://schemas.microsoft.com/office/drawing/2014/main" id="{08D44723-8D30-ADFE-7EB9-C3E94CCC247D}"/>
              </a:ext>
            </a:extLst>
          </p:cNvPr>
          <p:cNvPicPr>
            <a:picLocks noChangeAspect="1"/>
          </p:cNvPicPr>
          <p:nvPr/>
        </p:nvPicPr>
        <p:blipFill>
          <a:blip r:embed="rId3"/>
          <a:stretch>
            <a:fillRect/>
          </a:stretch>
        </p:blipFill>
        <p:spPr>
          <a:xfrm>
            <a:off x="499263" y="1783033"/>
            <a:ext cx="5233169" cy="2140842"/>
          </a:xfrm>
          <a:prstGeom prst="rect">
            <a:avLst/>
          </a:prstGeom>
        </p:spPr>
      </p:pic>
      <p:sp>
        <p:nvSpPr>
          <p:cNvPr id="2" name="Title 1">
            <a:extLst>
              <a:ext uri="{FF2B5EF4-FFF2-40B4-BE49-F238E27FC236}">
                <a16:creationId xmlns:a16="http://schemas.microsoft.com/office/drawing/2014/main" id="{626EF7A8-30AC-3AF9-E10B-D7595223D641}"/>
              </a:ext>
            </a:extLst>
          </p:cNvPr>
          <p:cNvSpPr>
            <a:spLocks noGrp="1"/>
          </p:cNvSpPr>
          <p:nvPr>
            <p:ph type="title"/>
          </p:nvPr>
        </p:nvSpPr>
        <p:spPr>
          <a:xfrm>
            <a:off x="298944" y="271011"/>
            <a:ext cx="10972800" cy="1325563"/>
          </a:xfrm>
        </p:spPr>
        <p:txBody>
          <a:bodyPr/>
          <a:lstStyle/>
          <a:p>
            <a:r>
              <a:rPr lang="en-US" dirty="0">
                <a:ea typeface="Lato Medium"/>
                <a:cs typeface="Lato Medium"/>
              </a:rPr>
              <a:t>Parent/Caregiver Safe Sleep </a:t>
            </a:r>
            <a:br>
              <a:rPr lang="en-US" dirty="0">
                <a:ea typeface="Lato Medium"/>
                <a:cs typeface="Lato Medium"/>
              </a:rPr>
            </a:br>
            <a:r>
              <a:rPr lang="en-US" dirty="0">
                <a:ea typeface="Lato Medium"/>
                <a:cs typeface="Lato Medium"/>
              </a:rPr>
              <a:t>Education Delivery </a:t>
            </a:r>
            <a:br>
              <a:rPr lang="en-US" dirty="0">
                <a:ea typeface="Lato Medium"/>
                <a:cs typeface="Lato Medium"/>
              </a:rPr>
            </a:br>
            <a:endParaRPr lang="en-US">
              <a:ea typeface="Lato Medium"/>
              <a:cs typeface="Lato Medium"/>
            </a:endParaRPr>
          </a:p>
        </p:txBody>
      </p:sp>
      <p:sp>
        <p:nvSpPr>
          <p:cNvPr id="49" name="Rectangle 48">
            <a:extLst>
              <a:ext uri="{FF2B5EF4-FFF2-40B4-BE49-F238E27FC236}">
                <a16:creationId xmlns:a16="http://schemas.microsoft.com/office/drawing/2014/main" id="{1B4056B3-3D40-2836-5998-C6A461A209D5}"/>
              </a:ext>
            </a:extLst>
          </p:cNvPr>
          <p:cNvSpPr/>
          <p:nvPr/>
        </p:nvSpPr>
        <p:spPr>
          <a:xfrm>
            <a:off x="-241514" y="6475364"/>
            <a:ext cx="12199453" cy="89761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Rounded Corners 6">
            <a:extLst>
              <a:ext uri="{FF2B5EF4-FFF2-40B4-BE49-F238E27FC236}">
                <a16:creationId xmlns:a16="http://schemas.microsoft.com/office/drawing/2014/main" id="{FB2FAB7A-9566-B8EC-8ED1-E4703DD71B86}"/>
              </a:ext>
            </a:extLst>
          </p:cNvPr>
          <p:cNvSpPr/>
          <p:nvPr/>
        </p:nvSpPr>
        <p:spPr>
          <a:xfrm>
            <a:off x="295864" y="1374553"/>
            <a:ext cx="5647755" cy="5305048"/>
          </a:xfrm>
          <a:prstGeom prst="roundRect">
            <a:avLst/>
          </a:prstGeom>
          <a:noFill/>
          <a:ln w="57150">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id="{8A721789-37F4-3D0E-72F9-4CCF302E9033}"/>
              </a:ext>
            </a:extLst>
          </p:cNvPr>
          <p:cNvSpPr txBox="1"/>
          <p:nvPr/>
        </p:nvSpPr>
        <p:spPr>
          <a:xfrm rot="19200000">
            <a:off x="266386" y="3984771"/>
            <a:ext cx="671593"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Calibri" panose="020F0502020204030204"/>
              </a:rPr>
              <a:t>Verbal</a:t>
            </a:r>
            <a:endParaRPr lang="en-US" sz="1200"/>
          </a:p>
        </p:txBody>
      </p:sp>
      <p:sp>
        <p:nvSpPr>
          <p:cNvPr id="34" name="TextBox 33">
            <a:extLst>
              <a:ext uri="{FF2B5EF4-FFF2-40B4-BE49-F238E27FC236}">
                <a16:creationId xmlns:a16="http://schemas.microsoft.com/office/drawing/2014/main" id="{04997F4E-1775-D4D4-FB88-75C5EDAD72D6}"/>
              </a:ext>
            </a:extLst>
          </p:cNvPr>
          <p:cNvSpPr txBox="1"/>
          <p:nvPr/>
        </p:nvSpPr>
        <p:spPr>
          <a:xfrm rot="19080000">
            <a:off x="207011" y="4226701"/>
            <a:ext cx="1562745"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Calibri" panose="020F0502020204030204"/>
              </a:rPr>
              <a:t>Printed hand-outs</a:t>
            </a:r>
            <a:endParaRPr lang="en-US" sz="1200" err="1"/>
          </a:p>
        </p:txBody>
      </p:sp>
      <p:sp>
        <p:nvSpPr>
          <p:cNvPr id="35" name="TextBox 34">
            <a:extLst>
              <a:ext uri="{FF2B5EF4-FFF2-40B4-BE49-F238E27FC236}">
                <a16:creationId xmlns:a16="http://schemas.microsoft.com/office/drawing/2014/main" id="{8490E2C3-55ED-0ED4-1078-84867381C3FD}"/>
              </a:ext>
            </a:extLst>
          </p:cNvPr>
          <p:cNvSpPr txBox="1"/>
          <p:nvPr/>
        </p:nvSpPr>
        <p:spPr>
          <a:xfrm rot="18960000">
            <a:off x="1412456" y="4075661"/>
            <a:ext cx="929898"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Calibri" panose="020F0502020204030204"/>
              </a:rPr>
              <a:t>Modeling</a:t>
            </a:r>
            <a:endParaRPr lang="en-US" sz="1200"/>
          </a:p>
        </p:txBody>
      </p:sp>
      <p:sp>
        <p:nvSpPr>
          <p:cNvPr id="36" name="TextBox 35">
            <a:extLst>
              <a:ext uri="{FF2B5EF4-FFF2-40B4-BE49-F238E27FC236}">
                <a16:creationId xmlns:a16="http://schemas.microsoft.com/office/drawing/2014/main" id="{3BB42030-8160-99C6-7371-C19637371515}"/>
              </a:ext>
            </a:extLst>
          </p:cNvPr>
          <p:cNvSpPr txBox="1"/>
          <p:nvPr/>
        </p:nvSpPr>
        <p:spPr>
          <a:xfrm rot="18960000">
            <a:off x="1310460" y="4362546"/>
            <a:ext cx="1885626"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Calibri" panose="020F0502020204030204"/>
              </a:rPr>
              <a:t>Conversation w/ parents &amp; caregivers</a:t>
            </a:r>
            <a:endParaRPr lang="en-US" sz="1200"/>
          </a:p>
        </p:txBody>
      </p:sp>
      <p:sp>
        <p:nvSpPr>
          <p:cNvPr id="37" name="TextBox 36">
            <a:extLst>
              <a:ext uri="{FF2B5EF4-FFF2-40B4-BE49-F238E27FC236}">
                <a16:creationId xmlns:a16="http://schemas.microsoft.com/office/drawing/2014/main" id="{D944D259-7D82-958E-F093-966E7865ED7C}"/>
              </a:ext>
            </a:extLst>
          </p:cNvPr>
          <p:cNvSpPr txBox="1"/>
          <p:nvPr/>
        </p:nvSpPr>
        <p:spPr>
          <a:xfrm rot="19080000">
            <a:off x="2497822" y="4095116"/>
            <a:ext cx="150462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Calibri" panose="020F0502020204030204"/>
              </a:rPr>
              <a:t>Teach back</a:t>
            </a:r>
          </a:p>
        </p:txBody>
      </p:sp>
      <p:sp>
        <p:nvSpPr>
          <p:cNvPr id="38" name="TextBox 37">
            <a:extLst>
              <a:ext uri="{FF2B5EF4-FFF2-40B4-BE49-F238E27FC236}">
                <a16:creationId xmlns:a16="http://schemas.microsoft.com/office/drawing/2014/main" id="{BC94C6A4-0F8D-067C-BBDE-92C66985107A}"/>
              </a:ext>
            </a:extLst>
          </p:cNvPr>
          <p:cNvSpPr txBox="1"/>
          <p:nvPr/>
        </p:nvSpPr>
        <p:spPr>
          <a:xfrm rot="19080000">
            <a:off x="2342523" y="4288222"/>
            <a:ext cx="2273084"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endParaRPr lang="en-US" sz="1200">
              <a:cs typeface="Calibri" panose="020F0502020204030204"/>
            </a:endParaRPr>
          </a:p>
          <a:p>
            <a:pPr algn="ctr"/>
            <a:r>
              <a:rPr lang="en-US" sz="1200">
                <a:cs typeface="Calibri" panose="020F0502020204030204"/>
              </a:rPr>
              <a:t>Individualized family-centered educational strategies</a:t>
            </a:r>
          </a:p>
        </p:txBody>
      </p:sp>
      <p:sp>
        <p:nvSpPr>
          <p:cNvPr id="39" name="TextBox 38">
            <a:extLst>
              <a:ext uri="{FF2B5EF4-FFF2-40B4-BE49-F238E27FC236}">
                <a16:creationId xmlns:a16="http://schemas.microsoft.com/office/drawing/2014/main" id="{7A04C046-5B72-E2BC-27F2-01C0122D065D}"/>
              </a:ext>
            </a:extLst>
          </p:cNvPr>
          <p:cNvSpPr txBox="1"/>
          <p:nvPr/>
        </p:nvSpPr>
        <p:spPr>
          <a:xfrm rot="19080000">
            <a:off x="4380672" y="3984772"/>
            <a:ext cx="723254"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Calibri" panose="020F0502020204030204"/>
              </a:rPr>
              <a:t>Video</a:t>
            </a:r>
          </a:p>
        </p:txBody>
      </p:sp>
      <p:sp>
        <p:nvSpPr>
          <p:cNvPr id="40" name="TextBox 39">
            <a:extLst>
              <a:ext uri="{FF2B5EF4-FFF2-40B4-BE49-F238E27FC236}">
                <a16:creationId xmlns:a16="http://schemas.microsoft.com/office/drawing/2014/main" id="{15701C2E-EF99-5AF9-D8DB-DD1C19E07059}"/>
              </a:ext>
            </a:extLst>
          </p:cNvPr>
          <p:cNvSpPr txBox="1"/>
          <p:nvPr/>
        </p:nvSpPr>
        <p:spPr>
          <a:xfrm>
            <a:off x="753388" y="5518011"/>
            <a:ext cx="3732508" cy="104613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41" name="TextBox 40">
            <a:extLst>
              <a:ext uri="{FF2B5EF4-FFF2-40B4-BE49-F238E27FC236}">
                <a16:creationId xmlns:a16="http://schemas.microsoft.com/office/drawing/2014/main" id="{7379DA01-2EF0-A346-A662-7F23B2127EE1}"/>
              </a:ext>
            </a:extLst>
          </p:cNvPr>
          <p:cNvSpPr txBox="1"/>
          <p:nvPr/>
        </p:nvSpPr>
        <p:spPr>
          <a:xfrm>
            <a:off x="391047" y="5141868"/>
            <a:ext cx="4777004"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i="1">
                <a:solidFill>
                  <a:schemeClr val="accent1"/>
                </a:solidFill>
                <a:cs typeface="Calibri"/>
              </a:rPr>
              <a:t>Aside from discharge,</a:t>
            </a:r>
            <a:r>
              <a:rPr lang="en-US" b="1">
                <a:solidFill>
                  <a:schemeClr val="accent1"/>
                </a:solidFill>
                <a:cs typeface="Calibri" panose="020F0502020204030204"/>
              </a:rPr>
              <a:t> </a:t>
            </a:r>
          </a:p>
          <a:p>
            <a:r>
              <a:rPr lang="en-US" b="1">
                <a:solidFill>
                  <a:schemeClr val="accent1"/>
                </a:solidFill>
                <a:cs typeface="Calibri" panose="020F0502020204030204"/>
              </a:rPr>
              <a:t>content delivered: </a:t>
            </a:r>
          </a:p>
        </p:txBody>
      </p:sp>
      <p:sp>
        <p:nvSpPr>
          <p:cNvPr id="43" name="TextBox 42">
            <a:extLst>
              <a:ext uri="{FF2B5EF4-FFF2-40B4-BE49-F238E27FC236}">
                <a16:creationId xmlns:a16="http://schemas.microsoft.com/office/drawing/2014/main" id="{BB00C222-B28A-7783-45B6-570F50262261}"/>
              </a:ext>
            </a:extLst>
          </p:cNvPr>
          <p:cNvSpPr txBox="1"/>
          <p:nvPr/>
        </p:nvSpPr>
        <p:spPr>
          <a:xfrm rot="19080000">
            <a:off x="5030321" y="3985033"/>
            <a:ext cx="723254"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Calibri" panose="020F0502020204030204"/>
              </a:rPr>
              <a:t>Other</a:t>
            </a:r>
          </a:p>
        </p:txBody>
      </p:sp>
      <p:sp>
        <p:nvSpPr>
          <p:cNvPr id="44" name="TextBox 43">
            <a:extLst>
              <a:ext uri="{FF2B5EF4-FFF2-40B4-BE49-F238E27FC236}">
                <a16:creationId xmlns:a16="http://schemas.microsoft.com/office/drawing/2014/main" id="{02784A32-4687-45BE-E74C-45D4E096CEBE}"/>
              </a:ext>
            </a:extLst>
          </p:cNvPr>
          <p:cNvSpPr txBox="1"/>
          <p:nvPr/>
        </p:nvSpPr>
        <p:spPr>
          <a:xfrm>
            <a:off x="602182" y="5726510"/>
            <a:ext cx="3738966" cy="6924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a:cs typeface="Calibri" panose="020F0502020204030204"/>
              </a:rPr>
              <a:t>(32)   Admission to unit </a:t>
            </a:r>
          </a:p>
          <a:p>
            <a:r>
              <a:rPr lang="en-US" sz="1300">
                <a:cs typeface="Calibri" panose="020F0502020204030204"/>
              </a:rPr>
              <a:t>(26)   Prenatal classes</a:t>
            </a:r>
          </a:p>
          <a:p>
            <a:r>
              <a:rPr lang="en-US" sz="1300">
                <a:cs typeface="Calibri" panose="020F0502020204030204"/>
              </a:rPr>
              <a:t>(25)   </a:t>
            </a:r>
            <a:r>
              <a:rPr lang="en-US" sz="1300">
                <a:ea typeface="+mn-lt"/>
                <a:cs typeface="+mn-lt"/>
              </a:rPr>
              <a:t>Anytime baby is in sleep environment </a:t>
            </a:r>
          </a:p>
        </p:txBody>
      </p:sp>
      <p:sp>
        <p:nvSpPr>
          <p:cNvPr id="51" name="TextBox 50">
            <a:extLst>
              <a:ext uri="{FF2B5EF4-FFF2-40B4-BE49-F238E27FC236}">
                <a16:creationId xmlns:a16="http://schemas.microsoft.com/office/drawing/2014/main" id="{2B8C1492-BA4C-5D85-9326-D4D3751E6D7D}"/>
              </a:ext>
            </a:extLst>
          </p:cNvPr>
          <p:cNvSpPr txBox="1"/>
          <p:nvPr/>
        </p:nvSpPr>
        <p:spPr>
          <a:xfrm>
            <a:off x="877076" y="1442501"/>
            <a:ext cx="4982732"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dirty="0">
                <a:solidFill>
                  <a:srgbClr val="7030A0"/>
                </a:solidFill>
                <a:cs typeface="Calibri"/>
              </a:rPr>
              <a:t>In the Postpartum Unit (n=50):</a:t>
            </a:r>
          </a:p>
        </p:txBody>
      </p:sp>
      <p:sp>
        <p:nvSpPr>
          <p:cNvPr id="56" name="TextBox 55">
            <a:extLst>
              <a:ext uri="{FF2B5EF4-FFF2-40B4-BE49-F238E27FC236}">
                <a16:creationId xmlns:a16="http://schemas.microsoft.com/office/drawing/2014/main" id="{465C5899-0800-1A67-BADB-DAC23FD2928A}"/>
              </a:ext>
            </a:extLst>
          </p:cNvPr>
          <p:cNvSpPr txBox="1"/>
          <p:nvPr/>
        </p:nvSpPr>
        <p:spPr>
          <a:xfrm>
            <a:off x="3616961" y="5557300"/>
            <a:ext cx="2104481" cy="10926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a:cs typeface="Calibri" panose="020F0502020204030204"/>
              </a:rPr>
              <a:t>(21)   On antepartum / L&amp;D</a:t>
            </a:r>
          </a:p>
          <a:p>
            <a:r>
              <a:rPr lang="en-US" sz="1300">
                <a:cs typeface="Calibri" panose="020F0502020204030204"/>
              </a:rPr>
              <a:t>(15)   After feeding</a:t>
            </a:r>
          </a:p>
          <a:p>
            <a:r>
              <a:rPr lang="en-US" sz="1300">
                <a:cs typeface="Calibri" panose="020F0502020204030204"/>
              </a:rPr>
              <a:t>(14)  Lactation consultation</a:t>
            </a:r>
            <a:endParaRPr lang="en-US" sz="1300"/>
          </a:p>
          <a:p>
            <a:r>
              <a:rPr lang="en-US" sz="1300">
                <a:cs typeface="Calibri" panose="020F0502020204030204"/>
              </a:rPr>
              <a:t>(6)    Other</a:t>
            </a:r>
          </a:p>
          <a:p>
            <a:r>
              <a:rPr lang="en-US" sz="1300">
                <a:cs typeface="Calibri" panose="020F0502020204030204"/>
              </a:rPr>
              <a:t>(5)    Prenatal visits</a:t>
            </a:r>
          </a:p>
        </p:txBody>
      </p:sp>
      <p:sp>
        <p:nvSpPr>
          <p:cNvPr id="3" name="Slide Number Placeholder 3">
            <a:extLst>
              <a:ext uri="{FF2B5EF4-FFF2-40B4-BE49-F238E27FC236}">
                <a16:creationId xmlns:a16="http://schemas.microsoft.com/office/drawing/2014/main" id="{EB143F22-9315-510B-9783-2C0769D514F7}"/>
              </a:ext>
            </a:extLst>
          </p:cNvPr>
          <p:cNvSpPr>
            <a:spLocks noGrp="1"/>
          </p:cNvSpPr>
          <p:nvPr>
            <p:ph type="sldNum" sz="quarter" idx="10"/>
          </p:nvPr>
        </p:nvSpPr>
        <p:spPr>
          <a:xfrm>
            <a:off x="8839200" y="6356350"/>
            <a:ext cx="2743200" cy="365125"/>
          </a:xfrm>
        </p:spPr>
        <p:txBody>
          <a:bodyPr/>
          <a:lstStyle/>
          <a:p>
            <a:fld id="{97033E4B-E3EB-3D46-B2D8-3159663620FA}" type="slidenum">
              <a:rPr lang="en-US" smtClean="0"/>
              <a:pPr/>
              <a:t>43</a:t>
            </a:fld>
            <a:endParaRPr lang="en-US"/>
          </a:p>
        </p:txBody>
      </p:sp>
      <p:pic>
        <p:nvPicPr>
          <p:cNvPr id="5" name="Picture 4" descr="A graph with numbers and a bar&#10;&#10;Description automatically generated">
            <a:extLst>
              <a:ext uri="{FF2B5EF4-FFF2-40B4-BE49-F238E27FC236}">
                <a16:creationId xmlns:a16="http://schemas.microsoft.com/office/drawing/2014/main" id="{B7DF36DF-F891-2FBF-B007-ECDD66F019AF}"/>
              </a:ext>
            </a:extLst>
          </p:cNvPr>
          <p:cNvPicPr>
            <a:picLocks noChangeAspect="1"/>
          </p:cNvPicPr>
          <p:nvPr/>
        </p:nvPicPr>
        <p:blipFill rotWithShape="1">
          <a:blip r:embed="rId4"/>
          <a:srcRect t="2582"/>
          <a:stretch/>
        </p:blipFill>
        <p:spPr>
          <a:xfrm>
            <a:off x="6513058" y="1955547"/>
            <a:ext cx="5388257" cy="1914057"/>
          </a:xfrm>
          <a:prstGeom prst="rect">
            <a:avLst/>
          </a:prstGeom>
        </p:spPr>
      </p:pic>
      <p:sp>
        <p:nvSpPr>
          <p:cNvPr id="6" name="Rectangle: Rounded Corners 6">
            <a:extLst>
              <a:ext uri="{FF2B5EF4-FFF2-40B4-BE49-F238E27FC236}">
                <a16:creationId xmlns:a16="http://schemas.microsoft.com/office/drawing/2014/main" id="{C8CBF643-EECE-186F-890A-E77D470E1D50}"/>
              </a:ext>
            </a:extLst>
          </p:cNvPr>
          <p:cNvSpPr/>
          <p:nvPr/>
        </p:nvSpPr>
        <p:spPr>
          <a:xfrm>
            <a:off x="6276338" y="1374553"/>
            <a:ext cx="5783102" cy="5305048"/>
          </a:xfrm>
          <a:prstGeom prst="roundRect">
            <a:avLst/>
          </a:prstGeom>
          <a:noFill/>
          <a:ln w="571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9D897086-E6BA-012D-1320-EFFEB9FABF03}"/>
              </a:ext>
            </a:extLst>
          </p:cNvPr>
          <p:cNvSpPr txBox="1"/>
          <p:nvPr/>
        </p:nvSpPr>
        <p:spPr>
          <a:xfrm>
            <a:off x="6855721" y="1446784"/>
            <a:ext cx="3150030"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dirty="0">
                <a:solidFill>
                  <a:schemeClr val="accent3"/>
                </a:solidFill>
                <a:cs typeface="Calibri"/>
              </a:rPr>
              <a:t>In the NICU (n=25):</a:t>
            </a:r>
          </a:p>
        </p:txBody>
      </p:sp>
      <p:sp>
        <p:nvSpPr>
          <p:cNvPr id="8" name="TextBox 7">
            <a:extLst>
              <a:ext uri="{FF2B5EF4-FFF2-40B4-BE49-F238E27FC236}">
                <a16:creationId xmlns:a16="http://schemas.microsoft.com/office/drawing/2014/main" id="{8C62A39C-9677-6FF0-322A-746575F75F5C}"/>
              </a:ext>
            </a:extLst>
          </p:cNvPr>
          <p:cNvSpPr txBox="1"/>
          <p:nvPr/>
        </p:nvSpPr>
        <p:spPr>
          <a:xfrm rot="-2400000">
            <a:off x="6244746" y="3892017"/>
            <a:ext cx="671593"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Calibri" panose="020F0502020204030204"/>
              </a:rPr>
              <a:t>Verbal</a:t>
            </a:r>
            <a:endParaRPr lang="en-US" sz="1200"/>
          </a:p>
        </p:txBody>
      </p:sp>
      <p:sp>
        <p:nvSpPr>
          <p:cNvPr id="9" name="TextBox 8">
            <a:extLst>
              <a:ext uri="{FF2B5EF4-FFF2-40B4-BE49-F238E27FC236}">
                <a16:creationId xmlns:a16="http://schemas.microsoft.com/office/drawing/2014/main" id="{2420A1AD-ED5E-31F5-1E10-A6B96289A74B}"/>
              </a:ext>
            </a:extLst>
          </p:cNvPr>
          <p:cNvSpPr txBox="1"/>
          <p:nvPr/>
        </p:nvSpPr>
        <p:spPr>
          <a:xfrm rot="19080000">
            <a:off x="6343910" y="4121110"/>
            <a:ext cx="1562745"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Calibri" panose="020F0502020204030204"/>
              </a:rPr>
              <a:t>Printed hand-outs</a:t>
            </a:r>
            <a:endParaRPr lang="en-US" sz="1200"/>
          </a:p>
        </p:txBody>
      </p:sp>
      <p:sp>
        <p:nvSpPr>
          <p:cNvPr id="10" name="TextBox 9">
            <a:extLst>
              <a:ext uri="{FF2B5EF4-FFF2-40B4-BE49-F238E27FC236}">
                <a16:creationId xmlns:a16="http://schemas.microsoft.com/office/drawing/2014/main" id="{8A36108A-3466-D1ED-D81F-C2F8A6487ECB}"/>
              </a:ext>
            </a:extLst>
          </p:cNvPr>
          <p:cNvSpPr txBox="1"/>
          <p:nvPr/>
        </p:nvSpPr>
        <p:spPr>
          <a:xfrm rot="18960000">
            <a:off x="7689815" y="3957274"/>
            <a:ext cx="929898"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Calibri" panose="020F0502020204030204"/>
              </a:rPr>
              <a:t>Modeling</a:t>
            </a:r>
            <a:endParaRPr lang="en-US" sz="1200"/>
          </a:p>
        </p:txBody>
      </p:sp>
      <p:sp>
        <p:nvSpPr>
          <p:cNvPr id="11" name="TextBox 10">
            <a:extLst>
              <a:ext uri="{FF2B5EF4-FFF2-40B4-BE49-F238E27FC236}">
                <a16:creationId xmlns:a16="http://schemas.microsoft.com/office/drawing/2014/main" id="{3D9E8D59-2343-F3BE-19E0-4FD1080B55F0}"/>
              </a:ext>
            </a:extLst>
          </p:cNvPr>
          <p:cNvSpPr txBox="1"/>
          <p:nvPr/>
        </p:nvSpPr>
        <p:spPr>
          <a:xfrm rot="-2640000">
            <a:off x="7773236" y="4250643"/>
            <a:ext cx="1885626"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Calibri" panose="020F0502020204030204"/>
              </a:rPr>
              <a:t>Conversation w/ parents &amp; caregivers</a:t>
            </a:r>
            <a:endParaRPr lang="en-US" sz="1200"/>
          </a:p>
        </p:txBody>
      </p:sp>
      <p:sp>
        <p:nvSpPr>
          <p:cNvPr id="12" name="TextBox 11">
            <a:extLst>
              <a:ext uri="{FF2B5EF4-FFF2-40B4-BE49-F238E27FC236}">
                <a16:creationId xmlns:a16="http://schemas.microsoft.com/office/drawing/2014/main" id="{AEE74B80-FC1F-5017-5397-71FA8DEF10BB}"/>
              </a:ext>
            </a:extLst>
          </p:cNvPr>
          <p:cNvSpPr txBox="1"/>
          <p:nvPr/>
        </p:nvSpPr>
        <p:spPr>
          <a:xfrm rot="-2520000">
            <a:off x="9033896" y="3990373"/>
            <a:ext cx="150462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Calibri" panose="020F0502020204030204"/>
              </a:rPr>
              <a:t>Teach back</a:t>
            </a:r>
          </a:p>
        </p:txBody>
      </p:sp>
      <p:sp>
        <p:nvSpPr>
          <p:cNvPr id="13" name="TextBox 12">
            <a:extLst>
              <a:ext uri="{FF2B5EF4-FFF2-40B4-BE49-F238E27FC236}">
                <a16:creationId xmlns:a16="http://schemas.microsoft.com/office/drawing/2014/main" id="{C0E44D89-C873-6ABE-5347-B84D087CCD6D}"/>
              </a:ext>
            </a:extLst>
          </p:cNvPr>
          <p:cNvSpPr txBox="1"/>
          <p:nvPr/>
        </p:nvSpPr>
        <p:spPr>
          <a:xfrm rot="-2520000">
            <a:off x="8968579" y="4196661"/>
            <a:ext cx="2273084" cy="6924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endParaRPr lang="en-US" sz="1300">
              <a:cs typeface="Calibri" panose="020F0502020204030204"/>
            </a:endParaRPr>
          </a:p>
          <a:p>
            <a:pPr algn="ctr"/>
            <a:r>
              <a:rPr lang="en-US" sz="1300">
                <a:cs typeface="Calibri" panose="020F0502020204030204"/>
              </a:rPr>
              <a:t>Individualized family-centered educational strategies</a:t>
            </a:r>
          </a:p>
        </p:txBody>
      </p:sp>
      <p:sp>
        <p:nvSpPr>
          <p:cNvPr id="14" name="TextBox 13">
            <a:extLst>
              <a:ext uri="{FF2B5EF4-FFF2-40B4-BE49-F238E27FC236}">
                <a16:creationId xmlns:a16="http://schemas.microsoft.com/office/drawing/2014/main" id="{C1EBB598-D682-DF52-08BE-5D9E2A2F4A53}"/>
              </a:ext>
            </a:extLst>
          </p:cNvPr>
          <p:cNvSpPr txBox="1"/>
          <p:nvPr/>
        </p:nvSpPr>
        <p:spPr>
          <a:xfrm rot="-2520000">
            <a:off x="11156514" y="3899250"/>
            <a:ext cx="723254"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Calibri" panose="020F0502020204030204"/>
              </a:rPr>
              <a:t>Video</a:t>
            </a:r>
          </a:p>
        </p:txBody>
      </p:sp>
      <p:sp>
        <p:nvSpPr>
          <p:cNvPr id="15" name="TextBox 14">
            <a:extLst>
              <a:ext uri="{FF2B5EF4-FFF2-40B4-BE49-F238E27FC236}">
                <a16:creationId xmlns:a16="http://schemas.microsoft.com/office/drawing/2014/main" id="{1D6BC39A-C59E-67D2-0841-201A4CFD0610}"/>
              </a:ext>
            </a:extLst>
          </p:cNvPr>
          <p:cNvSpPr txBox="1"/>
          <p:nvPr/>
        </p:nvSpPr>
        <p:spPr>
          <a:xfrm>
            <a:off x="6342266" y="5015243"/>
            <a:ext cx="5498694" cy="19082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i="1">
                <a:solidFill>
                  <a:schemeClr val="accent1"/>
                </a:solidFill>
                <a:cs typeface="Calibri"/>
              </a:rPr>
              <a:t>Aside from discharge,</a:t>
            </a:r>
            <a:r>
              <a:rPr lang="en-US" b="1">
                <a:solidFill>
                  <a:schemeClr val="accent1"/>
                </a:solidFill>
                <a:cs typeface="Calibri" panose="020F0502020204030204"/>
              </a:rPr>
              <a:t> </a:t>
            </a:r>
          </a:p>
          <a:p>
            <a:r>
              <a:rPr lang="en-US" b="1">
                <a:solidFill>
                  <a:schemeClr val="accent1"/>
                </a:solidFill>
                <a:cs typeface="Calibri" panose="020F0502020204030204"/>
              </a:rPr>
              <a:t>content is delivered: </a:t>
            </a:r>
          </a:p>
          <a:p>
            <a:r>
              <a:rPr lang="en-US" sz="1600">
                <a:cs typeface="Calibri" panose="020F0502020204030204"/>
              </a:rPr>
              <a:t>	(15)        Anytime baby is in sleep environment </a:t>
            </a:r>
          </a:p>
          <a:p>
            <a:r>
              <a:rPr lang="en-US" sz="1600">
                <a:cs typeface="Calibri" panose="020F0502020204030204"/>
              </a:rPr>
              <a:t>	(8)          Admission to NICU</a:t>
            </a:r>
          </a:p>
          <a:p>
            <a:r>
              <a:rPr lang="en-US" sz="1600">
                <a:cs typeface="Calibri" panose="020F0502020204030204"/>
              </a:rPr>
              <a:t>	(8)          After feeding</a:t>
            </a:r>
          </a:p>
          <a:p>
            <a:r>
              <a:rPr lang="en-US" sz="1600">
                <a:cs typeface="Calibri" panose="020F0502020204030204"/>
              </a:rPr>
              <a:t>	(7)          On rounds</a:t>
            </a:r>
          </a:p>
          <a:p>
            <a:endParaRPr lang="en-US">
              <a:cs typeface="Calibri" panose="020F0502020204030204"/>
            </a:endParaRPr>
          </a:p>
        </p:txBody>
      </p:sp>
    </p:spTree>
    <p:extLst>
      <p:ext uri="{BB962C8B-B14F-4D97-AF65-F5344CB8AC3E}">
        <p14:creationId xmlns:p14="http://schemas.microsoft.com/office/powerpoint/2010/main" val="29175912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320039" y="234135"/>
            <a:ext cx="8229600" cy="1143000"/>
          </a:xfrm>
          <a:noFill/>
        </p:spPr>
        <p:txBody>
          <a:bodyPr>
            <a:normAutofit fontScale="90000"/>
          </a:bodyPr>
          <a:lstStyle/>
          <a:p>
            <a:r>
              <a:rPr lang="en-US" altLang="en-US">
                <a:ea typeface="Lato Medium"/>
                <a:cs typeface="Lato Medium"/>
              </a:rPr>
              <a:t>Current Safe Sleep Educational Content: </a:t>
            </a:r>
            <a:br>
              <a:rPr lang="en-US" altLang="en-US">
                <a:ea typeface="Lato Medium"/>
                <a:cs typeface="Lato Medium"/>
              </a:rPr>
            </a:br>
            <a:r>
              <a:rPr lang="en-US" altLang="en-US">
                <a:solidFill>
                  <a:schemeClr val="accent3"/>
                </a:solidFill>
                <a:ea typeface="Lato Medium"/>
                <a:cs typeface="Lato Medium"/>
              </a:rPr>
              <a:t>For Parents/Caregivers</a:t>
            </a:r>
            <a:endParaRPr lang="en-US">
              <a:solidFill>
                <a:schemeClr val="accent3"/>
              </a:solidFill>
            </a:endParaRPr>
          </a:p>
        </p:txBody>
      </p:sp>
      <p:sp>
        <p:nvSpPr>
          <p:cNvPr id="19" name="TextBox 18">
            <a:extLst>
              <a:ext uri="{FF2B5EF4-FFF2-40B4-BE49-F238E27FC236}">
                <a16:creationId xmlns:a16="http://schemas.microsoft.com/office/drawing/2014/main" id="{F49C1F1A-614A-5749-1A3F-78980B65ADBC}"/>
              </a:ext>
            </a:extLst>
          </p:cNvPr>
          <p:cNvSpPr txBox="1"/>
          <p:nvPr/>
        </p:nvSpPr>
        <p:spPr>
          <a:xfrm>
            <a:off x="-2006" y="1836272"/>
            <a:ext cx="3750652" cy="538775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lnSpc>
                <a:spcPct val="300000"/>
              </a:lnSpc>
            </a:pPr>
            <a:r>
              <a:rPr lang="en-US" sz="1300">
                <a:solidFill>
                  <a:srgbClr val="000000"/>
                </a:solidFill>
                <a:latin typeface="Calibri"/>
                <a:ea typeface="+mn-lt"/>
                <a:cs typeface="Calibri"/>
              </a:rPr>
              <a:t>Endorsing and modeling Back to sleep for every sleep</a:t>
            </a:r>
            <a:endParaRPr lang="en-US">
              <a:latin typeface="Calibri"/>
              <a:cs typeface="Calibri"/>
            </a:endParaRPr>
          </a:p>
          <a:p>
            <a:pPr algn="r">
              <a:lnSpc>
                <a:spcPct val="300000"/>
              </a:lnSpc>
            </a:pPr>
            <a:r>
              <a:rPr lang="en-US" sz="1300">
                <a:solidFill>
                  <a:srgbClr val="000000"/>
                </a:solidFill>
                <a:latin typeface="Calibri"/>
                <a:ea typeface="+mn-lt"/>
                <a:cs typeface="Calibri"/>
              </a:rPr>
              <a:t>Eliminating soft objects from infants bed</a:t>
            </a:r>
            <a:endParaRPr lang="en-US">
              <a:latin typeface="Calibri"/>
              <a:cs typeface="Calibri"/>
            </a:endParaRPr>
          </a:p>
          <a:p>
            <a:pPr algn="r">
              <a:lnSpc>
                <a:spcPct val="300000"/>
              </a:lnSpc>
            </a:pPr>
            <a:r>
              <a:rPr lang="en-US" sz="1300">
                <a:solidFill>
                  <a:srgbClr val="000000"/>
                </a:solidFill>
                <a:latin typeface="Calibri"/>
                <a:ea typeface="+mn-lt"/>
                <a:cs typeface="Calibri"/>
              </a:rPr>
              <a:t>Reducing the risk of suffocation or entrapment</a:t>
            </a:r>
            <a:endParaRPr lang="en-US">
              <a:latin typeface="Calibri"/>
              <a:cs typeface="Calibri"/>
            </a:endParaRPr>
          </a:p>
          <a:p>
            <a:pPr algn="r">
              <a:lnSpc>
                <a:spcPct val="300000"/>
              </a:lnSpc>
            </a:pPr>
            <a:r>
              <a:rPr lang="en-US" sz="1300">
                <a:solidFill>
                  <a:srgbClr val="000000"/>
                </a:solidFill>
                <a:latin typeface="Calibri"/>
                <a:ea typeface="+mn-lt"/>
                <a:cs typeface="Calibri"/>
              </a:rPr>
              <a:t>Endorsing the use of a crib, bassinet, or play yard</a:t>
            </a:r>
            <a:endParaRPr lang="en-US">
              <a:latin typeface="Calibri"/>
              <a:cs typeface="Calibri"/>
            </a:endParaRPr>
          </a:p>
          <a:p>
            <a:pPr algn="r">
              <a:lnSpc>
                <a:spcPct val="300000"/>
              </a:lnSpc>
            </a:pPr>
            <a:r>
              <a:rPr lang="en-US" sz="1300">
                <a:solidFill>
                  <a:srgbClr val="000000"/>
                </a:solidFill>
                <a:latin typeface="Calibri"/>
                <a:ea typeface="+mn-lt"/>
                <a:cs typeface="Calibri"/>
              </a:rPr>
              <a:t>Infant sleep area free of hazards</a:t>
            </a:r>
            <a:endParaRPr lang="en-US">
              <a:latin typeface="Calibri"/>
              <a:cs typeface="Calibri"/>
            </a:endParaRPr>
          </a:p>
          <a:p>
            <a:pPr algn="r">
              <a:lnSpc>
                <a:spcPct val="300000"/>
              </a:lnSpc>
            </a:pPr>
            <a:r>
              <a:rPr lang="en-US" sz="1300">
                <a:solidFill>
                  <a:srgbClr val="000000"/>
                </a:solidFill>
                <a:latin typeface="Calibri"/>
                <a:ea typeface="+mn-lt"/>
                <a:cs typeface="Calibri"/>
              </a:rPr>
              <a:t>Avoiding smoke and nicotine</a:t>
            </a:r>
            <a:endParaRPr lang="en-US">
              <a:latin typeface="Calibri"/>
              <a:cs typeface="Calibri"/>
            </a:endParaRPr>
          </a:p>
          <a:p>
            <a:pPr algn="r">
              <a:lnSpc>
                <a:spcPct val="300000"/>
              </a:lnSpc>
            </a:pPr>
            <a:r>
              <a:rPr lang="en-US" sz="1300">
                <a:solidFill>
                  <a:srgbClr val="000000"/>
                </a:solidFill>
                <a:latin typeface="Calibri"/>
                <a:ea typeface="+mn-lt"/>
                <a:cs typeface="Calibri"/>
              </a:rPr>
              <a:t>Sleeping in parents room but on a separate surface</a:t>
            </a:r>
            <a:endParaRPr lang="en-US">
              <a:latin typeface="Calibri"/>
              <a:cs typeface="Calibri"/>
            </a:endParaRPr>
          </a:p>
          <a:p>
            <a:pPr algn="r">
              <a:lnSpc>
                <a:spcPct val="300000"/>
              </a:lnSpc>
            </a:pPr>
            <a:r>
              <a:rPr lang="en-US" sz="1300">
                <a:solidFill>
                  <a:srgbClr val="000000"/>
                </a:solidFill>
                <a:latin typeface="Calibri"/>
                <a:ea typeface="+mn-lt"/>
                <a:cs typeface="Calibri"/>
              </a:rPr>
              <a:t>Proper swaddling techniques</a:t>
            </a:r>
            <a:endParaRPr lang="en-US">
              <a:latin typeface="Calibri"/>
              <a:cs typeface="Calibri"/>
            </a:endParaRPr>
          </a:p>
        </p:txBody>
      </p:sp>
      <p:sp>
        <p:nvSpPr>
          <p:cNvPr id="25" name="TextBox 24">
            <a:extLst>
              <a:ext uri="{FF2B5EF4-FFF2-40B4-BE49-F238E27FC236}">
                <a16:creationId xmlns:a16="http://schemas.microsoft.com/office/drawing/2014/main" id="{6DD46D80-F576-4F56-C047-1645F85E88F8}"/>
              </a:ext>
            </a:extLst>
          </p:cNvPr>
          <p:cNvSpPr txBox="1"/>
          <p:nvPr/>
        </p:nvSpPr>
        <p:spPr>
          <a:xfrm>
            <a:off x="621348" y="1520402"/>
            <a:ext cx="5426866" cy="461665"/>
          </a:xfrm>
          <a:prstGeom prst="rect">
            <a:avLst/>
          </a:prstGeom>
          <a:noFill/>
        </p:spPr>
        <p:txBody>
          <a:bodyPr wrap="square" lIns="91440" tIns="45720" rIns="91440" bIns="45720" anchor="t">
            <a:spAutoFit/>
          </a:bodyPr>
          <a:lstStyle/>
          <a:p>
            <a:r>
              <a:rPr lang="en-US" altLang="en-US" sz="2400" b="1" i="1" dirty="0">
                <a:solidFill>
                  <a:srgbClr val="7030A0"/>
                </a:solidFill>
                <a:cs typeface="Calibri"/>
              </a:rPr>
              <a:t>In the Postpartum Unit (n=50) </a:t>
            </a:r>
            <a:endParaRPr lang="en-US" sz="2400" b="1" i="1" dirty="0">
              <a:solidFill>
                <a:srgbClr val="7030A0"/>
              </a:solidFill>
              <a:cs typeface="Calibri"/>
            </a:endParaRPr>
          </a:p>
        </p:txBody>
      </p:sp>
      <p:sp>
        <p:nvSpPr>
          <p:cNvPr id="26" name="TextBox 25">
            <a:extLst>
              <a:ext uri="{FF2B5EF4-FFF2-40B4-BE49-F238E27FC236}">
                <a16:creationId xmlns:a16="http://schemas.microsoft.com/office/drawing/2014/main" id="{585B113D-37B0-A626-E412-E3D462910528}"/>
              </a:ext>
            </a:extLst>
          </p:cNvPr>
          <p:cNvSpPr txBox="1"/>
          <p:nvPr/>
        </p:nvSpPr>
        <p:spPr>
          <a:xfrm>
            <a:off x="6712420" y="1373219"/>
            <a:ext cx="8705850" cy="461665"/>
          </a:xfrm>
          <a:prstGeom prst="rect">
            <a:avLst/>
          </a:prstGeom>
          <a:noFill/>
        </p:spPr>
        <p:txBody>
          <a:bodyPr wrap="square" lIns="91440" tIns="45720" rIns="91440" bIns="45720" anchor="t">
            <a:spAutoFit/>
          </a:bodyPr>
          <a:lstStyle/>
          <a:p>
            <a:r>
              <a:rPr lang="en-US" altLang="en-US" sz="2400" b="1" i="1" dirty="0">
                <a:solidFill>
                  <a:schemeClr val="accent3"/>
                </a:solidFill>
                <a:cs typeface="Calibri"/>
              </a:rPr>
              <a:t>In the NICU (n=45)</a:t>
            </a:r>
            <a:endParaRPr lang="en-US" sz="2400" b="1" i="1" dirty="0">
              <a:solidFill>
                <a:schemeClr val="accent3"/>
              </a:solidFill>
              <a:cs typeface="Calibri"/>
            </a:endParaRPr>
          </a:p>
        </p:txBody>
      </p:sp>
      <p:pic>
        <p:nvPicPr>
          <p:cNvPr id="30" name="Picture 29" descr="A graph with purple bars and numbers&#10;&#10;Description automatically generated">
            <a:extLst>
              <a:ext uri="{FF2B5EF4-FFF2-40B4-BE49-F238E27FC236}">
                <a16:creationId xmlns:a16="http://schemas.microsoft.com/office/drawing/2014/main" id="{7C811E55-ECAD-3DB2-ED1E-6C3277975D20}"/>
              </a:ext>
            </a:extLst>
          </p:cNvPr>
          <p:cNvPicPr>
            <a:picLocks noChangeAspect="1"/>
          </p:cNvPicPr>
          <p:nvPr/>
        </p:nvPicPr>
        <p:blipFill>
          <a:blip r:embed="rId3"/>
          <a:stretch>
            <a:fillRect/>
          </a:stretch>
        </p:blipFill>
        <p:spPr>
          <a:xfrm>
            <a:off x="3672445" y="2073672"/>
            <a:ext cx="2011907" cy="4689170"/>
          </a:xfrm>
          <a:prstGeom prst="rect">
            <a:avLst/>
          </a:prstGeom>
        </p:spPr>
      </p:pic>
      <p:pic>
        <p:nvPicPr>
          <p:cNvPr id="34" name="Picture 33" descr="A graph with numbers and a bar&#10;&#10;Description automatically generated with medium confidence">
            <a:extLst>
              <a:ext uri="{FF2B5EF4-FFF2-40B4-BE49-F238E27FC236}">
                <a16:creationId xmlns:a16="http://schemas.microsoft.com/office/drawing/2014/main" id="{725F1567-74AE-74BF-46A3-33692062231A}"/>
              </a:ext>
            </a:extLst>
          </p:cNvPr>
          <p:cNvPicPr>
            <a:picLocks noChangeAspect="1"/>
          </p:cNvPicPr>
          <p:nvPr/>
        </p:nvPicPr>
        <p:blipFill>
          <a:blip r:embed="rId4"/>
          <a:stretch>
            <a:fillRect/>
          </a:stretch>
        </p:blipFill>
        <p:spPr>
          <a:xfrm>
            <a:off x="9801717" y="1897490"/>
            <a:ext cx="2011907" cy="4910784"/>
          </a:xfrm>
          <a:prstGeom prst="rect">
            <a:avLst/>
          </a:prstGeom>
        </p:spPr>
      </p:pic>
      <p:sp>
        <p:nvSpPr>
          <p:cNvPr id="28" name="TextBox 27">
            <a:extLst>
              <a:ext uri="{FF2B5EF4-FFF2-40B4-BE49-F238E27FC236}">
                <a16:creationId xmlns:a16="http://schemas.microsoft.com/office/drawing/2014/main" id="{93A8A5E1-3594-CBAC-27AF-5DFAE0C2C2B3}"/>
              </a:ext>
            </a:extLst>
          </p:cNvPr>
          <p:cNvSpPr txBox="1"/>
          <p:nvPr/>
        </p:nvSpPr>
        <p:spPr>
          <a:xfrm>
            <a:off x="5436371" y="1718403"/>
            <a:ext cx="4415070" cy="5012654"/>
          </a:xfrm>
          <a:prstGeom prst="rect">
            <a:avLst/>
          </a:prstGeom>
          <a:noFill/>
        </p:spPr>
        <p:txBody>
          <a:bodyPr wrap="square">
            <a:spAutoFit/>
          </a:bodyPr>
          <a:lstStyle/>
          <a:p>
            <a:pPr algn="r">
              <a:lnSpc>
                <a:spcPct val="250000"/>
              </a:lnSpc>
            </a:pPr>
            <a:r>
              <a:rPr lang="en-US" sz="1300">
                <a:solidFill>
                  <a:srgbClr val="000000"/>
                </a:solidFill>
                <a:latin typeface="Calibri"/>
                <a:ea typeface="+mn-lt"/>
                <a:cs typeface="Calibri"/>
              </a:rPr>
              <a:t>Avoiding smoke and nicotine</a:t>
            </a:r>
            <a:endParaRPr lang="en-US" sz="1300">
              <a:latin typeface="Calibri"/>
              <a:cs typeface="Calibri"/>
            </a:endParaRPr>
          </a:p>
          <a:p>
            <a:pPr algn="r">
              <a:lnSpc>
                <a:spcPct val="250000"/>
              </a:lnSpc>
            </a:pPr>
            <a:r>
              <a:rPr lang="en-US" sz="1300">
                <a:solidFill>
                  <a:srgbClr val="000000"/>
                </a:solidFill>
                <a:latin typeface="Calibri"/>
                <a:ea typeface="+mn-lt"/>
                <a:cs typeface="Calibri"/>
              </a:rPr>
              <a:t>Promoting supervised awake tummy time</a:t>
            </a:r>
            <a:endParaRPr lang="en-US" sz="1300">
              <a:latin typeface="Calibri"/>
              <a:cs typeface="Calibri"/>
            </a:endParaRPr>
          </a:p>
          <a:p>
            <a:pPr algn="r">
              <a:lnSpc>
                <a:spcPct val="250000"/>
              </a:lnSpc>
            </a:pPr>
            <a:r>
              <a:rPr lang="en-US" sz="1300">
                <a:solidFill>
                  <a:srgbClr val="000000"/>
                </a:solidFill>
                <a:latin typeface="Calibri"/>
                <a:ea typeface="+mn-lt"/>
                <a:cs typeface="Calibri"/>
              </a:rPr>
              <a:t>Eliminating soft objects from infants bed</a:t>
            </a:r>
            <a:endParaRPr lang="en-US" sz="1300">
              <a:latin typeface="Calibri"/>
              <a:cs typeface="Calibri"/>
            </a:endParaRPr>
          </a:p>
          <a:p>
            <a:pPr algn="r">
              <a:lnSpc>
                <a:spcPct val="250000"/>
              </a:lnSpc>
            </a:pPr>
            <a:r>
              <a:rPr lang="en-US" sz="1300">
                <a:solidFill>
                  <a:srgbClr val="000000"/>
                </a:solidFill>
                <a:latin typeface="Calibri"/>
                <a:ea typeface="+mn-lt"/>
                <a:cs typeface="Calibri"/>
              </a:rPr>
              <a:t>Promotion of human milk feeding</a:t>
            </a:r>
            <a:endParaRPr lang="en-US" sz="1300">
              <a:latin typeface="Calibri"/>
              <a:cs typeface="Calibri"/>
            </a:endParaRPr>
          </a:p>
          <a:p>
            <a:pPr algn="r">
              <a:lnSpc>
                <a:spcPct val="250000"/>
              </a:lnSpc>
            </a:pPr>
            <a:r>
              <a:rPr lang="en-US" sz="1300">
                <a:solidFill>
                  <a:srgbClr val="000000"/>
                </a:solidFill>
                <a:latin typeface="Calibri"/>
                <a:ea typeface="+mn-lt"/>
                <a:cs typeface="Calibri"/>
              </a:rPr>
              <a:t>Infant sleep area free of hazards</a:t>
            </a:r>
            <a:endParaRPr lang="en-US" sz="1300">
              <a:latin typeface="Calibri"/>
              <a:cs typeface="Calibri"/>
            </a:endParaRPr>
          </a:p>
          <a:p>
            <a:pPr algn="r">
              <a:lnSpc>
                <a:spcPct val="250000"/>
              </a:lnSpc>
            </a:pPr>
            <a:r>
              <a:rPr lang="en-US" sz="1300">
                <a:solidFill>
                  <a:srgbClr val="000000"/>
                </a:solidFill>
                <a:latin typeface="Calibri"/>
                <a:ea typeface="+mn-lt"/>
                <a:cs typeface="Calibri"/>
              </a:rPr>
              <a:t>Endorsing the use of a crib, bassinet, or play yard</a:t>
            </a:r>
            <a:endParaRPr lang="en-US" sz="1300">
              <a:latin typeface="Calibri"/>
              <a:cs typeface="Calibri"/>
            </a:endParaRPr>
          </a:p>
          <a:p>
            <a:pPr algn="r">
              <a:lnSpc>
                <a:spcPct val="250000"/>
              </a:lnSpc>
            </a:pPr>
            <a:r>
              <a:rPr lang="en-US" sz="1300">
                <a:solidFill>
                  <a:srgbClr val="000000"/>
                </a:solidFill>
                <a:latin typeface="Calibri"/>
                <a:ea typeface="+mn-lt"/>
                <a:cs typeface="Calibri"/>
              </a:rPr>
              <a:t>Reducing the risk of suffocation or entrapment</a:t>
            </a:r>
            <a:endParaRPr lang="en-US" sz="1300">
              <a:latin typeface="Calibri"/>
              <a:cs typeface="Calibri"/>
            </a:endParaRPr>
          </a:p>
          <a:p>
            <a:pPr algn="r">
              <a:lnSpc>
                <a:spcPct val="250000"/>
              </a:lnSpc>
            </a:pPr>
            <a:r>
              <a:rPr lang="en-US" sz="1300">
                <a:solidFill>
                  <a:srgbClr val="000000"/>
                </a:solidFill>
                <a:latin typeface="Calibri"/>
                <a:ea typeface="+mn-lt"/>
                <a:cs typeface="Calibri"/>
              </a:rPr>
              <a:t>Recommending immunizations w/ guidelines from AAP/CDC</a:t>
            </a:r>
            <a:endParaRPr lang="en-US" sz="1300">
              <a:latin typeface="Calibri"/>
              <a:cs typeface="Calibri"/>
            </a:endParaRPr>
          </a:p>
          <a:p>
            <a:pPr algn="r">
              <a:lnSpc>
                <a:spcPct val="250000"/>
              </a:lnSpc>
            </a:pPr>
            <a:r>
              <a:rPr lang="en-US" sz="1300">
                <a:solidFill>
                  <a:srgbClr val="000000"/>
                </a:solidFill>
                <a:latin typeface="Calibri"/>
                <a:ea typeface="+mn-lt"/>
                <a:cs typeface="Calibri"/>
              </a:rPr>
              <a:t>Sleeping supine on a non-inclined surface</a:t>
            </a:r>
            <a:endParaRPr lang="en-US" sz="1300">
              <a:latin typeface="Calibri"/>
              <a:cs typeface="Calibri"/>
            </a:endParaRPr>
          </a:p>
          <a:p>
            <a:pPr algn="r">
              <a:lnSpc>
                <a:spcPct val="250000"/>
              </a:lnSpc>
            </a:pPr>
            <a:r>
              <a:rPr lang="en-US" sz="1300">
                <a:solidFill>
                  <a:srgbClr val="000000"/>
                </a:solidFill>
                <a:latin typeface="Calibri"/>
                <a:ea typeface="+mn-lt"/>
                <a:cs typeface="Calibri"/>
              </a:rPr>
              <a:t>Endorsing and modeling Back to sleep for every sleep</a:t>
            </a:r>
            <a:endParaRPr lang="en-US" sz="1300">
              <a:latin typeface="Calibri"/>
              <a:cs typeface="Calibri"/>
            </a:endParaRPr>
          </a:p>
        </p:txBody>
      </p:sp>
    </p:spTree>
    <p:extLst>
      <p:ext uri="{BB962C8B-B14F-4D97-AF65-F5344CB8AC3E}">
        <p14:creationId xmlns:p14="http://schemas.microsoft.com/office/powerpoint/2010/main" val="333990610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graph with purple bars and numbers&#10;&#10;Description automatically generated">
            <a:extLst>
              <a:ext uri="{FF2B5EF4-FFF2-40B4-BE49-F238E27FC236}">
                <a16:creationId xmlns:a16="http://schemas.microsoft.com/office/drawing/2014/main" id="{118B0107-5549-8B62-2E1B-B1827B41E5C9}"/>
              </a:ext>
            </a:extLst>
          </p:cNvPr>
          <p:cNvPicPr>
            <a:picLocks noChangeAspect="1"/>
          </p:cNvPicPr>
          <p:nvPr/>
        </p:nvPicPr>
        <p:blipFill>
          <a:blip r:embed="rId3"/>
          <a:stretch>
            <a:fillRect/>
          </a:stretch>
        </p:blipFill>
        <p:spPr>
          <a:xfrm>
            <a:off x="4047511" y="1858421"/>
            <a:ext cx="1675608" cy="4999579"/>
          </a:xfrm>
          <a:prstGeom prst="rect">
            <a:avLst/>
          </a:prstGeom>
        </p:spPr>
      </p:pic>
      <p:sp>
        <p:nvSpPr>
          <p:cNvPr id="16386" name="Title 1"/>
          <p:cNvSpPr>
            <a:spLocks noGrp="1"/>
          </p:cNvSpPr>
          <p:nvPr>
            <p:ph type="title"/>
          </p:nvPr>
        </p:nvSpPr>
        <p:spPr>
          <a:xfrm>
            <a:off x="320039" y="234135"/>
            <a:ext cx="8229600" cy="1143000"/>
          </a:xfrm>
          <a:noFill/>
        </p:spPr>
        <p:txBody>
          <a:bodyPr>
            <a:normAutofit fontScale="90000"/>
          </a:bodyPr>
          <a:lstStyle/>
          <a:p>
            <a:r>
              <a:rPr lang="en-US" altLang="en-US">
                <a:ea typeface="Lato Medium"/>
                <a:cs typeface="Lato Medium"/>
              </a:rPr>
              <a:t>Current Safe Sleep Educational Content: </a:t>
            </a:r>
            <a:br>
              <a:rPr lang="en-US" altLang="en-US">
                <a:ea typeface="Lato Medium"/>
                <a:cs typeface="Lato Medium"/>
              </a:rPr>
            </a:br>
            <a:r>
              <a:rPr lang="en-US" altLang="en-US">
                <a:solidFill>
                  <a:schemeClr val="accent3"/>
                </a:solidFill>
                <a:ea typeface="Lato Medium"/>
                <a:cs typeface="Lato Medium"/>
              </a:rPr>
              <a:t>For Parents/Caregivers</a:t>
            </a:r>
            <a:endParaRPr lang="en-US">
              <a:solidFill>
                <a:schemeClr val="accent3"/>
              </a:solidFill>
            </a:endParaRPr>
          </a:p>
        </p:txBody>
      </p:sp>
      <p:sp>
        <p:nvSpPr>
          <p:cNvPr id="19" name="TextBox 18">
            <a:extLst>
              <a:ext uri="{FF2B5EF4-FFF2-40B4-BE49-F238E27FC236}">
                <a16:creationId xmlns:a16="http://schemas.microsoft.com/office/drawing/2014/main" id="{F49C1F1A-614A-5749-1A3F-78980B65ADBC}"/>
              </a:ext>
            </a:extLst>
          </p:cNvPr>
          <p:cNvSpPr txBox="1"/>
          <p:nvPr/>
        </p:nvSpPr>
        <p:spPr>
          <a:xfrm>
            <a:off x="243608" y="1619948"/>
            <a:ext cx="3792829" cy="52761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lnSpc>
                <a:spcPct val="229000"/>
              </a:lnSpc>
            </a:pPr>
            <a:r>
              <a:rPr lang="en-US" sz="1500">
                <a:solidFill>
                  <a:srgbClr val="000000"/>
                </a:solidFill>
                <a:latin typeface="Calibri"/>
                <a:ea typeface="+mn-lt"/>
                <a:cs typeface="Calibri"/>
              </a:rPr>
              <a:t>Sleeping supine on a non-inclined surface</a:t>
            </a:r>
            <a:endParaRPr lang="en-US" sz="1500">
              <a:latin typeface="Calibri"/>
              <a:cs typeface="Calibri"/>
            </a:endParaRPr>
          </a:p>
          <a:p>
            <a:pPr algn="r">
              <a:lnSpc>
                <a:spcPct val="229000"/>
              </a:lnSpc>
            </a:pPr>
            <a:r>
              <a:rPr lang="en-US" sz="1500">
                <a:solidFill>
                  <a:srgbClr val="000000"/>
                </a:solidFill>
                <a:latin typeface="Calibri"/>
                <a:ea typeface="+mn-lt"/>
                <a:cs typeface="Calibri"/>
              </a:rPr>
              <a:t>Promotion of human milk feeding</a:t>
            </a:r>
            <a:endParaRPr lang="en-US" sz="1500">
              <a:latin typeface="Calibri"/>
              <a:cs typeface="Calibri"/>
            </a:endParaRPr>
          </a:p>
          <a:p>
            <a:pPr algn="r">
              <a:lnSpc>
                <a:spcPct val="229000"/>
              </a:lnSpc>
            </a:pPr>
            <a:r>
              <a:rPr lang="en-US" sz="1500">
                <a:solidFill>
                  <a:srgbClr val="000000"/>
                </a:solidFill>
                <a:latin typeface="Calibri"/>
                <a:ea typeface="+mn-lt"/>
                <a:cs typeface="Calibri"/>
              </a:rPr>
              <a:t>Avoiding alcohol, cannabis, opioid</a:t>
            </a:r>
            <a:endParaRPr lang="en-US" sz="1500">
              <a:latin typeface="Calibri"/>
              <a:cs typeface="Calibri"/>
            </a:endParaRPr>
          </a:p>
          <a:p>
            <a:pPr algn="r">
              <a:lnSpc>
                <a:spcPct val="229000"/>
              </a:lnSpc>
            </a:pPr>
            <a:r>
              <a:rPr lang="en-US" sz="1500">
                <a:solidFill>
                  <a:srgbClr val="000000"/>
                </a:solidFill>
                <a:latin typeface="Calibri"/>
                <a:ea typeface="+mn-lt"/>
                <a:cs typeface="Calibri"/>
              </a:rPr>
              <a:t>Avoiding overheating and head covering</a:t>
            </a:r>
            <a:endParaRPr lang="en-US" sz="1500">
              <a:latin typeface="Calibri"/>
              <a:cs typeface="Calibri"/>
            </a:endParaRPr>
          </a:p>
          <a:p>
            <a:pPr algn="r">
              <a:lnSpc>
                <a:spcPct val="229000"/>
              </a:lnSpc>
            </a:pPr>
            <a:r>
              <a:rPr lang="en-US" sz="1500">
                <a:solidFill>
                  <a:srgbClr val="000000"/>
                </a:solidFill>
                <a:latin typeface="Calibri"/>
                <a:ea typeface="+mn-lt"/>
                <a:cs typeface="Calibri"/>
              </a:rPr>
              <a:t>Promoting supervised awake tummy time</a:t>
            </a:r>
            <a:endParaRPr lang="en-US" sz="1500">
              <a:latin typeface="Calibri"/>
              <a:cs typeface="Calibri"/>
            </a:endParaRPr>
          </a:p>
          <a:p>
            <a:pPr algn="r">
              <a:lnSpc>
                <a:spcPct val="229000"/>
              </a:lnSpc>
            </a:pPr>
            <a:r>
              <a:rPr lang="en-US" sz="1500">
                <a:solidFill>
                  <a:srgbClr val="000000"/>
                </a:solidFill>
                <a:latin typeface="Calibri"/>
                <a:ea typeface="+mn-lt"/>
                <a:cs typeface="Calibri"/>
              </a:rPr>
              <a:t>Recommending immunizations w/ guidelines</a:t>
            </a:r>
            <a:endParaRPr lang="en-US" sz="1500">
              <a:latin typeface="Calibri"/>
              <a:cs typeface="Calibri"/>
            </a:endParaRPr>
          </a:p>
          <a:p>
            <a:pPr algn="r">
              <a:lnSpc>
                <a:spcPct val="229000"/>
              </a:lnSpc>
            </a:pPr>
            <a:r>
              <a:rPr lang="en-US" sz="1500">
                <a:solidFill>
                  <a:srgbClr val="000000"/>
                </a:solidFill>
                <a:latin typeface="Calibri"/>
                <a:ea typeface="+mn-lt"/>
                <a:cs typeface="Calibri"/>
              </a:rPr>
              <a:t>Offering a pacifier</a:t>
            </a:r>
            <a:endParaRPr lang="en-US" sz="1500">
              <a:latin typeface="Calibri"/>
              <a:cs typeface="Calibri"/>
            </a:endParaRPr>
          </a:p>
          <a:p>
            <a:pPr algn="r">
              <a:lnSpc>
                <a:spcPct val="229000"/>
              </a:lnSpc>
            </a:pPr>
            <a:r>
              <a:rPr lang="en-US" sz="1500">
                <a:solidFill>
                  <a:srgbClr val="000000"/>
                </a:solidFill>
                <a:latin typeface="Calibri"/>
                <a:ea typeface="+mn-lt"/>
                <a:cs typeface="Calibri"/>
              </a:rPr>
              <a:t>Transitioning to supine for preterm infants</a:t>
            </a:r>
            <a:endParaRPr lang="en-US" sz="1500">
              <a:latin typeface="Calibri"/>
              <a:cs typeface="Calibri"/>
            </a:endParaRPr>
          </a:p>
          <a:p>
            <a:pPr algn="r">
              <a:lnSpc>
                <a:spcPct val="229000"/>
              </a:lnSpc>
            </a:pPr>
            <a:r>
              <a:rPr lang="en-US" sz="1500">
                <a:solidFill>
                  <a:srgbClr val="000000"/>
                </a:solidFill>
                <a:latin typeface="Calibri"/>
                <a:ea typeface="+mn-lt"/>
                <a:cs typeface="Calibri"/>
              </a:rPr>
              <a:t>Not using home cardiorespiratory/commercial</a:t>
            </a:r>
            <a:endParaRPr lang="en-US" sz="1500">
              <a:latin typeface="Calibri"/>
              <a:cs typeface="Calibri"/>
            </a:endParaRPr>
          </a:p>
          <a:p>
            <a:pPr algn="r">
              <a:lnSpc>
                <a:spcPct val="229000"/>
              </a:lnSpc>
            </a:pPr>
            <a:r>
              <a:rPr lang="en-US" sz="1500">
                <a:solidFill>
                  <a:srgbClr val="000000"/>
                </a:solidFill>
                <a:latin typeface="Calibri"/>
                <a:ea typeface="+mn-lt"/>
                <a:cs typeface="Calibri"/>
              </a:rPr>
              <a:t>Use of sling or cloth carrier</a:t>
            </a:r>
            <a:endParaRPr lang="en-US" sz="1500">
              <a:latin typeface="Calibri"/>
              <a:cs typeface="Calibri"/>
            </a:endParaRPr>
          </a:p>
        </p:txBody>
      </p:sp>
      <p:sp>
        <p:nvSpPr>
          <p:cNvPr id="25" name="TextBox 24">
            <a:extLst>
              <a:ext uri="{FF2B5EF4-FFF2-40B4-BE49-F238E27FC236}">
                <a16:creationId xmlns:a16="http://schemas.microsoft.com/office/drawing/2014/main" id="{6DD46D80-F576-4F56-C047-1645F85E88F8}"/>
              </a:ext>
            </a:extLst>
          </p:cNvPr>
          <p:cNvSpPr txBox="1"/>
          <p:nvPr/>
        </p:nvSpPr>
        <p:spPr>
          <a:xfrm>
            <a:off x="440534" y="1399321"/>
            <a:ext cx="5426866" cy="461665"/>
          </a:xfrm>
          <a:prstGeom prst="rect">
            <a:avLst/>
          </a:prstGeom>
          <a:noFill/>
        </p:spPr>
        <p:txBody>
          <a:bodyPr wrap="square" lIns="91440" tIns="45720" rIns="91440" bIns="45720" anchor="t">
            <a:spAutoFit/>
          </a:bodyPr>
          <a:lstStyle/>
          <a:p>
            <a:r>
              <a:rPr lang="en-US" altLang="en-US" sz="2400" b="1" i="1" dirty="0">
                <a:solidFill>
                  <a:srgbClr val="7030A0"/>
                </a:solidFill>
                <a:cs typeface="Calibri"/>
              </a:rPr>
              <a:t>In the Postpartum Unit (n=50)</a:t>
            </a:r>
            <a:endParaRPr lang="en-US" sz="2400" b="1" i="1" dirty="0">
              <a:solidFill>
                <a:srgbClr val="7030A0"/>
              </a:solidFill>
              <a:cs typeface="Calibri"/>
            </a:endParaRPr>
          </a:p>
        </p:txBody>
      </p:sp>
      <p:sp>
        <p:nvSpPr>
          <p:cNvPr id="26" name="TextBox 25">
            <a:extLst>
              <a:ext uri="{FF2B5EF4-FFF2-40B4-BE49-F238E27FC236}">
                <a16:creationId xmlns:a16="http://schemas.microsoft.com/office/drawing/2014/main" id="{585B113D-37B0-A626-E412-E3D462910528}"/>
              </a:ext>
            </a:extLst>
          </p:cNvPr>
          <p:cNvSpPr txBox="1"/>
          <p:nvPr/>
        </p:nvSpPr>
        <p:spPr>
          <a:xfrm>
            <a:off x="6860522" y="1401448"/>
            <a:ext cx="8705850" cy="461665"/>
          </a:xfrm>
          <a:prstGeom prst="rect">
            <a:avLst/>
          </a:prstGeom>
          <a:noFill/>
        </p:spPr>
        <p:txBody>
          <a:bodyPr wrap="square" lIns="91440" tIns="45720" rIns="91440" bIns="45720" anchor="t">
            <a:spAutoFit/>
          </a:bodyPr>
          <a:lstStyle/>
          <a:p>
            <a:r>
              <a:rPr lang="en-US" altLang="en-US" sz="2400" b="1" i="1" dirty="0">
                <a:solidFill>
                  <a:schemeClr val="accent3"/>
                </a:solidFill>
                <a:cs typeface="Calibri"/>
              </a:rPr>
              <a:t>In the NICU (n=25)</a:t>
            </a:r>
            <a:endParaRPr lang="en-US" sz="2400" b="1" i="1" dirty="0">
              <a:solidFill>
                <a:schemeClr val="accent3"/>
              </a:solidFill>
              <a:cs typeface="Calibri"/>
            </a:endParaRPr>
          </a:p>
        </p:txBody>
      </p:sp>
      <p:sp>
        <p:nvSpPr>
          <p:cNvPr id="28" name="TextBox 27">
            <a:extLst>
              <a:ext uri="{FF2B5EF4-FFF2-40B4-BE49-F238E27FC236}">
                <a16:creationId xmlns:a16="http://schemas.microsoft.com/office/drawing/2014/main" id="{93A8A5E1-3594-CBAC-27AF-5DFAE0C2C2B3}"/>
              </a:ext>
            </a:extLst>
          </p:cNvPr>
          <p:cNvSpPr txBox="1"/>
          <p:nvPr/>
        </p:nvSpPr>
        <p:spPr>
          <a:xfrm>
            <a:off x="5500947" y="1803205"/>
            <a:ext cx="4415070" cy="4615494"/>
          </a:xfrm>
          <a:prstGeom prst="rect">
            <a:avLst/>
          </a:prstGeom>
          <a:noFill/>
        </p:spPr>
        <p:txBody>
          <a:bodyPr wrap="square">
            <a:spAutoFit/>
          </a:bodyPr>
          <a:lstStyle/>
          <a:p>
            <a:pPr algn="r">
              <a:lnSpc>
                <a:spcPct val="250000"/>
              </a:lnSpc>
            </a:pPr>
            <a:r>
              <a:rPr lang="en-US" sz="1500">
                <a:solidFill>
                  <a:srgbClr val="000000"/>
                </a:solidFill>
                <a:latin typeface="Calibri"/>
                <a:ea typeface="+mn-lt"/>
                <a:cs typeface="Calibri"/>
              </a:rPr>
              <a:t>Sleeping in parents room but on a separate surface</a:t>
            </a:r>
            <a:endParaRPr lang="en-US" sz="1500">
              <a:latin typeface="Calibri"/>
              <a:cs typeface="Calibri"/>
            </a:endParaRPr>
          </a:p>
          <a:p>
            <a:pPr algn="r">
              <a:lnSpc>
                <a:spcPct val="250000"/>
              </a:lnSpc>
            </a:pPr>
            <a:r>
              <a:rPr lang="en-US" sz="1500">
                <a:solidFill>
                  <a:srgbClr val="000000"/>
                </a:solidFill>
                <a:latin typeface="Calibri"/>
                <a:ea typeface="+mn-lt"/>
                <a:cs typeface="Calibri"/>
              </a:rPr>
              <a:t>Transitioning to supine for preterm infants</a:t>
            </a:r>
            <a:endParaRPr lang="en-US" sz="1500">
              <a:latin typeface="Calibri"/>
              <a:cs typeface="Calibri"/>
            </a:endParaRPr>
          </a:p>
          <a:p>
            <a:pPr algn="r">
              <a:lnSpc>
                <a:spcPct val="250000"/>
              </a:lnSpc>
            </a:pPr>
            <a:r>
              <a:rPr lang="en-US" sz="1500">
                <a:solidFill>
                  <a:srgbClr val="000000"/>
                </a:solidFill>
                <a:latin typeface="Calibri"/>
                <a:ea typeface="+mn-lt"/>
                <a:cs typeface="Calibri"/>
              </a:rPr>
              <a:t>Avoiding overheating and head covering</a:t>
            </a:r>
            <a:endParaRPr lang="en-US" sz="1500">
              <a:latin typeface="Calibri"/>
              <a:cs typeface="Calibri"/>
            </a:endParaRPr>
          </a:p>
          <a:p>
            <a:pPr algn="r">
              <a:lnSpc>
                <a:spcPct val="250000"/>
              </a:lnSpc>
            </a:pPr>
            <a:r>
              <a:rPr lang="en-US" sz="1500">
                <a:solidFill>
                  <a:srgbClr val="000000"/>
                </a:solidFill>
                <a:latin typeface="Calibri"/>
                <a:ea typeface="+mn-lt"/>
                <a:cs typeface="Calibri"/>
              </a:rPr>
              <a:t>Avoiding alcohol, cannabis, </a:t>
            </a:r>
            <a:endParaRPr lang="en-US" sz="1500">
              <a:latin typeface="Calibri"/>
              <a:cs typeface="Calibri"/>
            </a:endParaRPr>
          </a:p>
          <a:p>
            <a:pPr algn="r">
              <a:lnSpc>
                <a:spcPct val="250000"/>
              </a:lnSpc>
            </a:pPr>
            <a:r>
              <a:rPr lang="en-US" sz="1500">
                <a:solidFill>
                  <a:srgbClr val="000000"/>
                </a:solidFill>
                <a:latin typeface="Calibri"/>
                <a:ea typeface="+mn-lt"/>
                <a:cs typeface="Calibri"/>
              </a:rPr>
              <a:t>Proper swaddling techniques</a:t>
            </a:r>
            <a:endParaRPr lang="en-US" sz="1500">
              <a:latin typeface="Calibri"/>
              <a:cs typeface="Calibri"/>
            </a:endParaRPr>
          </a:p>
          <a:p>
            <a:pPr algn="r">
              <a:lnSpc>
                <a:spcPct val="250000"/>
              </a:lnSpc>
            </a:pPr>
            <a:r>
              <a:rPr lang="en-US" sz="1500">
                <a:solidFill>
                  <a:srgbClr val="000000"/>
                </a:solidFill>
                <a:latin typeface="Calibri"/>
                <a:ea typeface="+mn-lt"/>
                <a:cs typeface="Calibri"/>
              </a:rPr>
              <a:t>Offering a pacifier</a:t>
            </a:r>
            <a:endParaRPr lang="en-US" sz="1500">
              <a:latin typeface="Calibri"/>
              <a:cs typeface="Calibri"/>
            </a:endParaRPr>
          </a:p>
          <a:p>
            <a:pPr algn="r">
              <a:lnSpc>
                <a:spcPct val="250000"/>
              </a:lnSpc>
            </a:pPr>
            <a:r>
              <a:rPr lang="en-US" sz="1500">
                <a:solidFill>
                  <a:srgbClr val="000000"/>
                </a:solidFill>
                <a:latin typeface="Calibri"/>
                <a:ea typeface="+mn-lt"/>
                <a:cs typeface="Calibri"/>
              </a:rPr>
              <a:t>Not using home cardiorespiratory/commercial</a:t>
            </a:r>
            <a:endParaRPr lang="en-US" sz="1500">
              <a:latin typeface="Calibri"/>
              <a:cs typeface="Calibri"/>
            </a:endParaRPr>
          </a:p>
          <a:p>
            <a:pPr algn="r">
              <a:lnSpc>
                <a:spcPct val="250000"/>
              </a:lnSpc>
            </a:pPr>
            <a:r>
              <a:rPr lang="en-US" sz="1500">
                <a:solidFill>
                  <a:srgbClr val="000000"/>
                </a:solidFill>
                <a:latin typeface="Calibri"/>
                <a:ea typeface="+mn-lt"/>
                <a:cs typeface="Calibri"/>
              </a:rPr>
              <a:t>use of sling or cloth carrier</a:t>
            </a:r>
            <a:endParaRPr lang="en-US" sz="1500">
              <a:latin typeface="Calibri"/>
              <a:cs typeface="Calibri"/>
            </a:endParaRPr>
          </a:p>
        </p:txBody>
      </p:sp>
      <p:pic>
        <p:nvPicPr>
          <p:cNvPr id="3" name="Picture 2" descr="A graph with numbers and a bar&#10;&#10;Description automatically generated">
            <a:extLst>
              <a:ext uri="{FF2B5EF4-FFF2-40B4-BE49-F238E27FC236}">
                <a16:creationId xmlns:a16="http://schemas.microsoft.com/office/drawing/2014/main" id="{48FD5C26-C732-1577-AC28-79F573250527}"/>
              </a:ext>
            </a:extLst>
          </p:cNvPr>
          <p:cNvPicPr>
            <a:picLocks noChangeAspect="1"/>
          </p:cNvPicPr>
          <p:nvPr/>
        </p:nvPicPr>
        <p:blipFill rotWithShape="1">
          <a:blip r:embed="rId4"/>
          <a:srcRect b="2656"/>
          <a:stretch/>
        </p:blipFill>
        <p:spPr>
          <a:xfrm>
            <a:off x="9820767" y="1994337"/>
            <a:ext cx="2135887" cy="4351760"/>
          </a:xfrm>
          <a:prstGeom prst="rect">
            <a:avLst/>
          </a:prstGeom>
        </p:spPr>
      </p:pic>
      <p:sp>
        <p:nvSpPr>
          <p:cNvPr id="5" name="TextBox 4">
            <a:extLst>
              <a:ext uri="{FF2B5EF4-FFF2-40B4-BE49-F238E27FC236}">
                <a16:creationId xmlns:a16="http://schemas.microsoft.com/office/drawing/2014/main" id="{68B860B0-B753-6043-273C-619C919A103E}"/>
              </a:ext>
            </a:extLst>
          </p:cNvPr>
          <p:cNvSpPr txBox="1"/>
          <p:nvPr/>
        </p:nvSpPr>
        <p:spPr>
          <a:xfrm>
            <a:off x="7962900" y="5625584"/>
            <a:ext cx="2362996" cy="323165"/>
          </a:xfrm>
          <a:prstGeom prst="rect">
            <a:avLst/>
          </a:prstGeom>
          <a:noFill/>
        </p:spPr>
        <p:txBody>
          <a:bodyPr wrap="square">
            <a:spAutoFit/>
          </a:bodyPr>
          <a:lstStyle/>
          <a:p>
            <a:r>
              <a:rPr lang="en-US" sz="1500">
                <a:solidFill>
                  <a:srgbClr val="000000"/>
                </a:solidFill>
                <a:latin typeface="Calibri"/>
                <a:ea typeface="+mn-lt"/>
                <a:cs typeface="Calibri"/>
              </a:rPr>
              <a:t>devices </a:t>
            </a:r>
            <a:r>
              <a:rPr lang="en-US" sz="1500">
                <a:solidFill>
                  <a:srgbClr val="0C1525"/>
                </a:solidFill>
                <a:ea typeface="+mn-lt"/>
                <a:cs typeface="+mn-lt"/>
              </a:rPr>
              <a:t>to reduce SIDS</a:t>
            </a:r>
            <a:endParaRPr lang="en-US" sz="1500"/>
          </a:p>
        </p:txBody>
      </p:sp>
      <p:sp>
        <p:nvSpPr>
          <p:cNvPr id="6" name="TextBox 5">
            <a:extLst>
              <a:ext uri="{FF2B5EF4-FFF2-40B4-BE49-F238E27FC236}">
                <a16:creationId xmlns:a16="http://schemas.microsoft.com/office/drawing/2014/main" id="{B3635C7B-D441-B735-31E7-3C67BEF78C7E}"/>
              </a:ext>
            </a:extLst>
          </p:cNvPr>
          <p:cNvSpPr txBox="1"/>
          <p:nvPr/>
        </p:nvSpPr>
        <p:spPr>
          <a:xfrm>
            <a:off x="8304901" y="3877482"/>
            <a:ext cx="2362996" cy="323165"/>
          </a:xfrm>
          <a:prstGeom prst="rect">
            <a:avLst/>
          </a:prstGeom>
          <a:noFill/>
        </p:spPr>
        <p:txBody>
          <a:bodyPr wrap="square">
            <a:spAutoFit/>
          </a:bodyPr>
          <a:lstStyle/>
          <a:p>
            <a:r>
              <a:rPr lang="en-US" sz="1500">
                <a:solidFill>
                  <a:srgbClr val="000000"/>
                </a:solidFill>
                <a:latin typeface="Calibri"/>
                <a:ea typeface="+mn-lt"/>
                <a:cs typeface="Calibri"/>
              </a:rPr>
              <a:t>and illicit drug use</a:t>
            </a:r>
            <a:endParaRPr lang="en-US" sz="1500"/>
          </a:p>
        </p:txBody>
      </p:sp>
      <p:sp>
        <p:nvSpPr>
          <p:cNvPr id="7" name="TextBox 6">
            <a:extLst>
              <a:ext uri="{FF2B5EF4-FFF2-40B4-BE49-F238E27FC236}">
                <a16:creationId xmlns:a16="http://schemas.microsoft.com/office/drawing/2014/main" id="{A42A75DD-1E2B-3A4D-E6A4-296D747BAF1A}"/>
              </a:ext>
            </a:extLst>
          </p:cNvPr>
          <p:cNvSpPr txBox="1"/>
          <p:nvPr/>
        </p:nvSpPr>
        <p:spPr>
          <a:xfrm>
            <a:off x="2108080" y="6175873"/>
            <a:ext cx="2362996" cy="323165"/>
          </a:xfrm>
          <a:prstGeom prst="rect">
            <a:avLst/>
          </a:prstGeom>
          <a:noFill/>
        </p:spPr>
        <p:txBody>
          <a:bodyPr wrap="square">
            <a:spAutoFit/>
          </a:bodyPr>
          <a:lstStyle/>
          <a:p>
            <a:r>
              <a:rPr lang="en-US" sz="1500">
                <a:solidFill>
                  <a:srgbClr val="000000"/>
                </a:solidFill>
                <a:latin typeface="Calibri"/>
                <a:ea typeface="+mn-lt"/>
                <a:cs typeface="Calibri"/>
              </a:rPr>
              <a:t>devices </a:t>
            </a:r>
            <a:r>
              <a:rPr lang="en-US" sz="1500">
                <a:solidFill>
                  <a:srgbClr val="0C1525"/>
                </a:solidFill>
                <a:ea typeface="+mn-lt"/>
                <a:cs typeface="+mn-lt"/>
              </a:rPr>
              <a:t>to reduce SIDS</a:t>
            </a:r>
            <a:endParaRPr lang="en-US" sz="1500"/>
          </a:p>
        </p:txBody>
      </p:sp>
      <p:sp>
        <p:nvSpPr>
          <p:cNvPr id="8" name="TextBox 7">
            <a:extLst>
              <a:ext uri="{FF2B5EF4-FFF2-40B4-BE49-F238E27FC236}">
                <a16:creationId xmlns:a16="http://schemas.microsoft.com/office/drawing/2014/main" id="{88ADA290-F80C-A2DD-4AD0-315431A0686A}"/>
              </a:ext>
            </a:extLst>
          </p:cNvPr>
          <p:cNvSpPr txBox="1"/>
          <p:nvPr/>
        </p:nvSpPr>
        <p:spPr>
          <a:xfrm>
            <a:off x="2821331" y="4594496"/>
            <a:ext cx="2362996" cy="323165"/>
          </a:xfrm>
          <a:prstGeom prst="rect">
            <a:avLst/>
          </a:prstGeom>
          <a:noFill/>
        </p:spPr>
        <p:txBody>
          <a:bodyPr wrap="square">
            <a:spAutoFit/>
          </a:bodyPr>
          <a:lstStyle/>
          <a:p>
            <a:r>
              <a:rPr lang="en-US" sz="1500">
                <a:solidFill>
                  <a:srgbClr val="000000"/>
                </a:solidFill>
                <a:latin typeface="Calibri"/>
                <a:ea typeface="+mn-lt"/>
                <a:cs typeface="Calibri"/>
              </a:rPr>
              <a:t>from AAP/CDC</a:t>
            </a:r>
            <a:endParaRPr lang="en-US" sz="1500"/>
          </a:p>
        </p:txBody>
      </p:sp>
      <p:sp>
        <p:nvSpPr>
          <p:cNvPr id="9" name="TextBox 8">
            <a:extLst>
              <a:ext uri="{FF2B5EF4-FFF2-40B4-BE49-F238E27FC236}">
                <a16:creationId xmlns:a16="http://schemas.microsoft.com/office/drawing/2014/main" id="{446A2D9D-58C4-C96E-D2BB-C584ECB8A77B}"/>
              </a:ext>
            </a:extLst>
          </p:cNvPr>
          <p:cNvSpPr txBox="1"/>
          <p:nvPr/>
        </p:nvSpPr>
        <p:spPr>
          <a:xfrm>
            <a:off x="2504710" y="3032169"/>
            <a:ext cx="2362996" cy="323165"/>
          </a:xfrm>
          <a:prstGeom prst="rect">
            <a:avLst/>
          </a:prstGeom>
          <a:noFill/>
        </p:spPr>
        <p:txBody>
          <a:bodyPr wrap="square">
            <a:spAutoFit/>
          </a:bodyPr>
          <a:lstStyle/>
          <a:p>
            <a:r>
              <a:rPr lang="en-US" sz="1500">
                <a:solidFill>
                  <a:srgbClr val="000000"/>
                </a:solidFill>
                <a:latin typeface="Calibri"/>
                <a:ea typeface="+mn-lt"/>
                <a:cs typeface="Calibri"/>
              </a:rPr>
              <a:t>and illicit drug use</a:t>
            </a:r>
            <a:endParaRPr lang="en-US" sz="1500"/>
          </a:p>
        </p:txBody>
      </p:sp>
    </p:spTree>
    <p:extLst>
      <p:ext uri="{BB962C8B-B14F-4D97-AF65-F5344CB8AC3E}">
        <p14:creationId xmlns:p14="http://schemas.microsoft.com/office/powerpoint/2010/main" val="13900594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circular diagram with numbers and a circle&#10;&#10;Description automatically generated">
            <a:extLst>
              <a:ext uri="{FF2B5EF4-FFF2-40B4-BE49-F238E27FC236}">
                <a16:creationId xmlns:a16="http://schemas.microsoft.com/office/drawing/2014/main" id="{7B1A0AA1-15B5-44AC-69EE-FA0C3636DDE8}"/>
              </a:ext>
            </a:extLst>
          </p:cNvPr>
          <p:cNvPicPr>
            <a:picLocks noChangeAspect="1"/>
          </p:cNvPicPr>
          <p:nvPr/>
        </p:nvPicPr>
        <p:blipFill>
          <a:blip r:embed="rId3"/>
          <a:stretch>
            <a:fillRect/>
          </a:stretch>
        </p:blipFill>
        <p:spPr>
          <a:xfrm>
            <a:off x="6658446" y="1573003"/>
            <a:ext cx="3194466" cy="3294613"/>
          </a:xfrm>
          <a:prstGeom prst="rect">
            <a:avLst/>
          </a:prstGeom>
        </p:spPr>
      </p:pic>
      <p:sp>
        <p:nvSpPr>
          <p:cNvPr id="16386" name="Title 1"/>
          <p:cNvSpPr>
            <a:spLocks noGrp="1"/>
          </p:cNvSpPr>
          <p:nvPr>
            <p:ph type="title"/>
          </p:nvPr>
        </p:nvSpPr>
        <p:spPr>
          <a:xfrm>
            <a:off x="205021" y="481839"/>
            <a:ext cx="8667500" cy="994475"/>
          </a:xfrm>
          <a:noFill/>
        </p:spPr>
        <p:txBody>
          <a:bodyPr>
            <a:normAutofit/>
          </a:bodyPr>
          <a:lstStyle/>
          <a:p>
            <a:r>
              <a:rPr lang="en-US" altLang="en-US" sz="4800" dirty="0">
                <a:ea typeface="Lato Medium"/>
                <a:cs typeface="Calibri"/>
              </a:rPr>
              <a:t>Specific Educational Content</a:t>
            </a:r>
          </a:p>
        </p:txBody>
      </p:sp>
      <p:pic>
        <p:nvPicPr>
          <p:cNvPr id="2" name="Picture 1" descr="A circular diagram with numbers and a number&#10;&#10;Description automatically generated">
            <a:extLst>
              <a:ext uri="{FF2B5EF4-FFF2-40B4-BE49-F238E27FC236}">
                <a16:creationId xmlns:a16="http://schemas.microsoft.com/office/drawing/2014/main" id="{B8AC14FF-4EC0-8575-EDE3-C0FA67908392}"/>
              </a:ext>
            </a:extLst>
          </p:cNvPr>
          <p:cNvPicPr>
            <a:picLocks noChangeAspect="1"/>
          </p:cNvPicPr>
          <p:nvPr/>
        </p:nvPicPr>
        <p:blipFill rotWithShape="1">
          <a:blip r:embed="rId4"/>
          <a:srcRect l="8191" r="341" b="828"/>
          <a:stretch/>
        </p:blipFill>
        <p:spPr>
          <a:xfrm>
            <a:off x="1648310" y="1480893"/>
            <a:ext cx="3194465" cy="3478834"/>
          </a:xfrm>
          <a:prstGeom prst="rect">
            <a:avLst/>
          </a:prstGeom>
        </p:spPr>
      </p:pic>
      <p:sp>
        <p:nvSpPr>
          <p:cNvPr id="6" name="TextBox 5">
            <a:extLst>
              <a:ext uri="{FF2B5EF4-FFF2-40B4-BE49-F238E27FC236}">
                <a16:creationId xmlns:a16="http://schemas.microsoft.com/office/drawing/2014/main" id="{ADFC1F5A-A2FF-8C65-F763-941E2E4DFF8C}"/>
              </a:ext>
            </a:extLst>
          </p:cNvPr>
          <p:cNvSpPr txBox="1"/>
          <p:nvPr/>
        </p:nvSpPr>
        <p:spPr>
          <a:xfrm>
            <a:off x="6658446" y="4963682"/>
            <a:ext cx="4676304" cy="113877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i="1" dirty="0">
                <a:solidFill>
                  <a:srgbClr val="444C55"/>
                </a:solidFill>
                <a:latin typeface="Calibri"/>
                <a:cs typeface="Calibri"/>
              </a:rPr>
              <a:t>Safe sleep content specifically </a:t>
            </a:r>
            <a:endParaRPr lang="en-US" sz="2400" b="1" i="1">
              <a:solidFill>
                <a:srgbClr val="444C55"/>
              </a:solidFill>
              <a:latin typeface="Calibri"/>
              <a:cs typeface="Calibri"/>
            </a:endParaRPr>
          </a:p>
          <a:p>
            <a:r>
              <a:rPr lang="en-US" sz="2400" b="1" i="1" dirty="0">
                <a:solidFill>
                  <a:srgbClr val="444C55"/>
                </a:solidFill>
                <a:latin typeface="Calibri"/>
                <a:cs typeface="Calibri"/>
              </a:rPr>
              <a:t>for additional caregivers</a:t>
            </a:r>
          </a:p>
          <a:p>
            <a:r>
              <a:rPr lang="en-US" sz="2000" i="1" dirty="0">
                <a:solidFill>
                  <a:srgbClr val="444C55"/>
                </a:solidFill>
                <a:cs typeface="Calibri"/>
              </a:rPr>
              <a:t>(nanny/babysitter, daycare, grandparents)</a:t>
            </a:r>
          </a:p>
        </p:txBody>
      </p:sp>
      <p:sp>
        <p:nvSpPr>
          <p:cNvPr id="3" name="TextBox 2">
            <a:extLst>
              <a:ext uri="{FF2B5EF4-FFF2-40B4-BE49-F238E27FC236}">
                <a16:creationId xmlns:a16="http://schemas.microsoft.com/office/drawing/2014/main" id="{E820A2E4-4F18-6799-9BD9-B308061CC76C}"/>
              </a:ext>
            </a:extLst>
          </p:cNvPr>
          <p:cNvSpPr txBox="1"/>
          <p:nvPr/>
        </p:nvSpPr>
        <p:spPr>
          <a:xfrm>
            <a:off x="1352565" y="4963682"/>
            <a:ext cx="4180990"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i="1" dirty="0">
                <a:solidFill>
                  <a:srgbClr val="444C55"/>
                </a:solidFill>
                <a:latin typeface="Calibri"/>
                <a:cs typeface="Calibri"/>
              </a:rPr>
              <a:t>Safe sleep content specifically for Fathers or Partners</a:t>
            </a:r>
            <a:endParaRPr lang="en-US" sz="2400" b="1" i="1" dirty="0">
              <a:solidFill>
                <a:srgbClr val="444C55"/>
              </a:solidFill>
              <a:cs typeface="Calibri"/>
            </a:endParaRPr>
          </a:p>
        </p:txBody>
      </p:sp>
    </p:spTree>
    <p:extLst>
      <p:ext uri="{BB962C8B-B14F-4D97-AF65-F5344CB8AC3E}">
        <p14:creationId xmlns:p14="http://schemas.microsoft.com/office/powerpoint/2010/main" val="34583869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172FE-6145-E0C8-7A59-AE2EBDED3230}"/>
              </a:ext>
            </a:extLst>
          </p:cNvPr>
          <p:cNvSpPr>
            <a:spLocks noGrp="1"/>
          </p:cNvSpPr>
          <p:nvPr>
            <p:ph type="title"/>
          </p:nvPr>
        </p:nvSpPr>
        <p:spPr>
          <a:xfrm>
            <a:off x="341250" y="341790"/>
            <a:ext cx="10972800" cy="1325563"/>
          </a:xfrm>
        </p:spPr>
        <p:txBody>
          <a:bodyPr/>
          <a:lstStyle/>
          <a:p>
            <a:r>
              <a:rPr lang="en-US"/>
              <a:t>Social Determinants of Health Screening</a:t>
            </a:r>
          </a:p>
        </p:txBody>
      </p:sp>
      <p:sp>
        <p:nvSpPr>
          <p:cNvPr id="4" name="Slide Number Placeholder 3">
            <a:extLst>
              <a:ext uri="{FF2B5EF4-FFF2-40B4-BE49-F238E27FC236}">
                <a16:creationId xmlns:a16="http://schemas.microsoft.com/office/drawing/2014/main" id="{8B1532CE-A8F3-6098-CA2A-626D8699188B}"/>
              </a:ext>
            </a:extLst>
          </p:cNvPr>
          <p:cNvSpPr>
            <a:spLocks noGrp="1"/>
          </p:cNvSpPr>
          <p:nvPr>
            <p:ph type="sldNum" sz="quarter" idx="10"/>
          </p:nvPr>
        </p:nvSpPr>
        <p:spPr/>
        <p:txBody>
          <a:bodyPr/>
          <a:lstStyle/>
          <a:p>
            <a:fld id="{97033E4B-E3EB-3D46-B2D8-3159663620FA}" type="slidenum">
              <a:rPr lang="en-US" smtClean="0"/>
              <a:pPr/>
              <a:t>47</a:t>
            </a:fld>
            <a:endParaRPr lang="en-US"/>
          </a:p>
        </p:txBody>
      </p:sp>
      <p:sp>
        <p:nvSpPr>
          <p:cNvPr id="5" name="Footer Placeholder 4">
            <a:extLst>
              <a:ext uri="{FF2B5EF4-FFF2-40B4-BE49-F238E27FC236}">
                <a16:creationId xmlns:a16="http://schemas.microsoft.com/office/drawing/2014/main" id="{304890C7-B8E1-F49F-7C4B-79E8340DC3DA}"/>
              </a:ext>
            </a:extLst>
          </p:cNvPr>
          <p:cNvSpPr>
            <a:spLocks noGrp="1"/>
          </p:cNvSpPr>
          <p:nvPr>
            <p:ph type="ftr" sz="quarter" idx="11"/>
          </p:nvPr>
        </p:nvSpPr>
        <p:spPr/>
        <p:txBody>
          <a:bodyPr/>
          <a:lstStyle/>
          <a:p>
            <a:pPr algn="l"/>
            <a:r>
              <a:rPr lang="en-US"/>
              <a:t>Illinois Perinatal Quality Collaborative</a:t>
            </a:r>
          </a:p>
        </p:txBody>
      </p:sp>
      <p:sp>
        <p:nvSpPr>
          <p:cNvPr id="7" name="TextBox 6">
            <a:extLst>
              <a:ext uri="{FF2B5EF4-FFF2-40B4-BE49-F238E27FC236}">
                <a16:creationId xmlns:a16="http://schemas.microsoft.com/office/drawing/2014/main" id="{B36D3553-B1A4-1B35-3CEF-32DDF6A472CD}"/>
              </a:ext>
            </a:extLst>
          </p:cNvPr>
          <p:cNvSpPr txBox="1"/>
          <p:nvPr/>
        </p:nvSpPr>
        <p:spPr>
          <a:xfrm>
            <a:off x="6645138" y="1481540"/>
            <a:ext cx="10577112"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i="1" dirty="0">
                <a:solidFill>
                  <a:schemeClr val="accent1"/>
                </a:solidFill>
                <a:ea typeface="+mn-lt"/>
                <a:cs typeface="+mn-lt"/>
              </a:rPr>
              <a:t>Does your hospital screen for any </a:t>
            </a:r>
            <a:endParaRPr lang="en-US" sz="2000" b="1" i="1">
              <a:solidFill>
                <a:schemeClr val="accent1"/>
              </a:solidFill>
              <a:ea typeface="+mn-lt"/>
              <a:cs typeface="+mn-lt"/>
            </a:endParaRPr>
          </a:p>
          <a:p>
            <a:r>
              <a:rPr lang="en-US" sz="2000" b="1" i="1" dirty="0">
                <a:solidFill>
                  <a:schemeClr val="accent1"/>
                </a:solidFill>
                <a:ea typeface="+mn-lt"/>
                <a:cs typeface="+mn-lt"/>
              </a:rPr>
              <a:t>of the following infant inclusive </a:t>
            </a:r>
            <a:r>
              <a:rPr lang="en-US" sz="2000" b="1" i="1" dirty="0" err="1">
                <a:solidFill>
                  <a:schemeClr val="accent1"/>
                </a:solidFill>
                <a:ea typeface="+mn-lt"/>
                <a:cs typeface="+mn-lt"/>
              </a:rPr>
              <a:t>SDoH</a:t>
            </a:r>
            <a:r>
              <a:rPr lang="en-US" sz="2000" b="1" i="1" dirty="0">
                <a:solidFill>
                  <a:schemeClr val="accent1"/>
                </a:solidFill>
                <a:ea typeface="+mn-lt"/>
                <a:cs typeface="+mn-lt"/>
              </a:rPr>
              <a:t>? </a:t>
            </a:r>
            <a:endParaRPr lang="en-US" b="1" i="1" dirty="0">
              <a:solidFill>
                <a:schemeClr val="accent1"/>
              </a:solidFill>
            </a:endParaRPr>
          </a:p>
        </p:txBody>
      </p:sp>
      <p:sp>
        <p:nvSpPr>
          <p:cNvPr id="8" name="TextBox 7">
            <a:extLst>
              <a:ext uri="{FF2B5EF4-FFF2-40B4-BE49-F238E27FC236}">
                <a16:creationId xmlns:a16="http://schemas.microsoft.com/office/drawing/2014/main" id="{24F3AA27-06FD-C11D-DE0C-F5B02E2CF585}"/>
              </a:ext>
            </a:extLst>
          </p:cNvPr>
          <p:cNvSpPr txBox="1"/>
          <p:nvPr/>
        </p:nvSpPr>
        <p:spPr>
          <a:xfrm>
            <a:off x="7878305" y="5437321"/>
            <a:ext cx="3732508" cy="104613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pic>
        <p:nvPicPr>
          <p:cNvPr id="9" name="Picture 8">
            <a:extLst>
              <a:ext uri="{FF2B5EF4-FFF2-40B4-BE49-F238E27FC236}">
                <a16:creationId xmlns:a16="http://schemas.microsoft.com/office/drawing/2014/main" id="{0D2391AC-C5E3-548D-DDB4-6987743170A8}"/>
              </a:ext>
            </a:extLst>
          </p:cNvPr>
          <p:cNvPicPr>
            <a:picLocks noChangeAspect="1"/>
          </p:cNvPicPr>
          <p:nvPr/>
        </p:nvPicPr>
        <p:blipFill>
          <a:blip r:embed="rId3"/>
          <a:stretch>
            <a:fillRect/>
          </a:stretch>
        </p:blipFill>
        <p:spPr>
          <a:xfrm>
            <a:off x="8005869" y="2236922"/>
            <a:ext cx="3709852" cy="3908156"/>
          </a:xfrm>
          <a:prstGeom prst="rect">
            <a:avLst/>
          </a:prstGeom>
        </p:spPr>
      </p:pic>
      <p:sp>
        <p:nvSpPr>
          <p:cNvPr id="10" name="TextBox 9">
            <a:extLst>
              <a:ext uri="{FF2B5EF4-FFF2-40B4-BE49-F238E27FC236}">
                <a16:creationId xmlns:a16="http://schemas.microsoft.com/office/drawing/2014/main" id="{238F4304-AD12-A3E8-8F46-6DE43632BF78}"/>
              </a:ext>
            </a:extLst>
          </p:cNvPr>
          <p:cNvSpPr txBox="1"/>
          <p:nvPr/>
        </p:nvSpPr>
        <p:spPr>
          <a:xfrm>
            <a:off x="5576943" y="2021606"/>
            <a:ext cx="2460352" cy="420486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lnSpc>
                <a:spcPct val="200000"/>
              </a:lnSpc>
            </a:pPr>
            <a:r>
              <a:rPr lang="en-US" sz="1700" b="1">
                <a:solidFill>
                  <a:srgbClr val="000000"/>
                </a:solidFill>
                <a:latin typeface="Calibri"/>
                <a:cs typeface="Calibri"/>
              </a:rPr>
              <a:t>Access to food</a:t>
            </a:r>
            <a:endParaRPr lang="en-US" sz="1700">
              <a:cs typeface="Calibri" panose="020F0502020204030204"/>
            </a:endParaRPr>
          </a:p>
          <a:p>
            <a:pPr algn="r">
              <a:lnSpc>
                <a:spcPct val="200000"/>
              </a:lnSpc>
            </a:pPr>
            <a:r>
              <a:rPr lang="en-US" sz="1700" b="1">
                <a:solidFill>
                  <a:srgbClr val="000000"/>
                </a:solidFill>
                <a:latin typeface="Calibri"/>
                <a:cs typeface="Calibri"/>
              </a:rPr>
              <a:t>Car seat</a:t>
            </a:r>
          </a:p>
          <a:p>
            <a:pPr algn="r">
              <a:lnSpc>
                <a:spcPct val="200000"/>
              </a:lnSpc>
            </a:pPr>
            <a:r>
              <a:rPr lang="en-US" sz="1700" b="1">
                <a:solidFill>
                  <a:srgbClr val="000000"/>
                </a:solidFill>
                <a:latin typeface="Calibri"/>
                <a:cs typeface="Calibri"/>
              </a:rPr>
              <a:t>Crib</a:t>
            </a:r>
          </a:p>
          <a:p>
            <a:pPr algn="r">
              <a:lnSpc>
                <a:spcPct val="200000"/>
              </a:lnSpc>
            </a:pPr>
            <a:r>
              <a:rPr lang="en-US" sz="1700">
                <a:solidFill>
                  <a:srgbClr val="000000"/>
                </a:solidFill>
                <a:latin typeface="Calibri"/>
                <a:cs typeface="Calibri"/>
              </a:rPr>
              <a:t>Breastfeeding</a:t>
            </a:r>
          </a:p>
          <a:p>
            <a:pPr algn="r">
              <a:lnSpc>
                <a:spcPct val="200000"/>
              </a:lnSpc>
            </a:pPr>
            <a:r>
              <a:rPr lang="en-US" sz="1700">
                <a:solidFill>
                  <a:srgbClr val="000000"/>
                </a:solidFill>
                <a:latin typeface="Calibri"/>
                <a:cs typeface="Calibri"/>
              </a:rPr>
              <a:t>Nutrition</a:t>
            </a:r>
          </a:p>
          <a:p>
            <a:pPr algn="r">
              <a:lnSpc>
                <a:spcPct val="200000"/>
              </a:lnSpc>
            </a:pPr>
            <a:r>
              <a:rPr lang="en-US" sz="1700">
                <a:solidFill>
                  <a:srgbClr val="000000"/>
                </a:solidFill>
                <a:latin typeface="Calibri"/>
                <a:cs typeface="Calibri"/>
              </a:rPr>
              <a:t>Exposure to</a:t>
            </a:r>
          </a:p>
          <a:p>
            <a:pPr algn="r">
              <a:lnSpc>
                <a:spcPct val="200000"/>
              </a:lnSpc>
            </a:pPr>
            <a:r>
              <a:rPr lang="en-US" sz="1700">
                <a:solidFill>
                  <a:srgbClr val="000000"/>
                </a:solidFill>
                <a:latin typeface="Calibri"/>
                <a:cs typeface="Calibri"/>
              </a:rPr>
              <a:t>Diapers</a:t>
            </a:r>
            <a:endParaRPr lang="en-US" sz="1700">
              <a:solidFill>
                <a:srgbClr val="000000"/>
              </a:solidFill>
              <a:cs typeface="Calibri"/>
            </a:endParaRPr>
          </a:p>
          <a:p>
            <a:pPr algn="r">
              <a:lnSpc>
                <a:spcPct val="200000"/>
              </a:lnSpc>
            </a:pPr>
            <a:r>
              <a:rPr lang="en-US" sz="1700">
                <a:solidFill>
                  <a:srgbClr val="000000"/>
                </a:solidFill>
                <a:latin typeface="Calibri"/>
                <a:cs typeface="Calibri"/>
              </a:rPr>
              <a:t>Childcare</a:t>
            </a:r>
          </a:p>
        </p:txBody>
      </p:sp>
      <p:sp>
        <p:nvSpPr>
          <p:cNvPr id="11" name="TextBox 10">
            <a:extLst>
              <a:ext uri="{FF2B5EF4-FFF2-40B4-BE49-F238E27FC236}">
                <a16:creationId xmlns:a16="http://schemas.microsoft.com/office/drawing/2014/main" id="{859E470B-99C8-3CB7-01A5-7307C56AAC1D}"/>
              </a:ext>
            </a:extLst>
          </p:cNvPr>
          <p:cNvSpPr txBox="1"/>
          <p:nvPr/>
        </p:nvSpPr>
        <p:spPr>
          <a:xfrm>
            <a:off x="5580018" y="4782088"/>
            <a:ext cx="2460352" cy="542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lnSpc>
                <a:spcPct val="200000"/>
              </a:lnSpc>
            </a:pPr>
            <a:r>
              <a:rPr lang="en-US" sz="1700">
                <a:solidFill>
                  <a:srgbClr val="000000"/>
                </a:solidFill>
                <a:latin typeface="Calibri"/>
                <a:cs typeface="Calibri"/>
              </a:rPr>
              <a:t>secondhand smoke</a:t>
            </a:r>
            <a:endParaRPr lang="en-US"/>
          </a:p>
        </p:txBody>
      </p:sp>
      <p:sp>
        <p:nvSpPr>
          <p:cNvPr id="12" name="TextBox 11">
            <a:extLst>
              <a:ext uri="{FF2B5EF4-FFF2-40B4-BE49-F238E27FC236}">
                <a16:creationId xmlns:a16="http://schemas.microsoft.com/office/drawing/2014/main" id="{78126F38-8B56-6129-962F-5469035C8159}"/>
              </a:ext>
            </a:extLst>
          </p:cNvPr>
          <p:cNvSpPr txBox="1"/>
          <p:nvPr/>
        </p:nvSpPr>
        <p:spPr>
          <a:xfrm>
            <a:off x="341250" y="1423308"/>
            <a:ext cx="5715000" cy="707886"/>
          </a:xfrm>
          <a:prstGeom prst="rect">
            <a:avLst/>
          </a:prstGeom>
          <a:noFill/>
        </p:spPr>
        <p:txBody>
          <a:bodyPr wrap="square" lIns="91440" tIns="45720" rIns="91440" bIns="45720" rtlCol="0" anchor="t">
            <a:spAutoFit/>
          </a:bodyPr>
          <a:lstStyle/>
          <a:p>
            <a:r>
              <a:rPr lang="en-US" sz="2000" b="1" i="1" dirty="0">
                <a:solidFill>
                  <a:schemeClr val="accent1"/>
                </a:solidFill>
              </a:rPr>
              <a:t>What is your hospital's process for screening parents / caregivers for </a:t>
            </a:r>
            <a:r>
              <a:rPr lang="en-US" sz="2000" b="1" i="1" dirty="0" err="1">
                <a:solidFill>
                  <a:schemeClr val="accent1"/>
                </a:solidFill>
              </a:rPr>
              <a:t>SDoH</a:t>
            </a:r>
            <a:r>
              <a:rPr lang="en-US" sz="2000" b="1" i="1" dirty="0">
                <a:solidFill>
                  <a:schemeClr val="accent1"/>
                </a:solidFill>
              </a:rPr>
              <a:t> and linking to resources?</a:t>
            </a:r>
            <a:endParaRPr lang="en-US" dirty="0">
              <a:solidFill>
                <a:schemeClr val="accent1"/>
              </a:solidFill>
            </a:endParaRPr>
          </a:p>
        </p:txBody>
      </p:sp>
      <p:sp>
        <p:nvSpPr>
          <p:cNvPr id="3" name="TextBox 2">
            <a:extLst>
              <a:ext uri="{FF2B5EF4-FFF2-40B4-BE49-F238E27FC236}">
                <a16:creationId xmlns:a16="http://schemas.microsoft.com/office/drawing/2014/main" id="{CF76BAF3-0D68-BE52-7B63-AF42CBFD04CB}"/>
              </a:ext>
            </a:extLst>
          </p:cNvPr>
          <p:cNvSpPr txBox="1"/>
          <p:nvPr/>
        </p:nvSpPr>
        <p:spPr>
          <a:xfrm>
            <a:off x="623643" y="2492157"/>
            <a:ext cx="4726014" cy="517064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2400" dirty="0">
                <a:cs typeface="Calibri"/>
              </a:rPr>
              <a:t>Screened upon admission</a:t>
            </a:r>
          </a:p>
          <a:p>
            <a:pPr marL="285750" indent="-285750">
              <a:buFont typeface="Arial"/>
              <a:buChar char="•"/>
            </a:pPr>
            <a:r>
              <a:rPr lang="en-US" sz="2400" dirty="0">
                <a:cs typeface="Calibri"/>
              </a:rPr>
              <a:t>Social service consult if need identified</a:t>
            </a:r>
          </a:p>
          <a:p>
            <a:pPr marL="285750" indent="-285750">
              <a:buFont typeface="Arial"/>
              <a:buChar char="•"/>
            </a:pPr>
            <a:r>
              <a:rPr lang="en-US" sz="2400" dirty="0">
                <a:cs typeface="Calibri"/>
              </a:rPr>
              <a:t>Nurse facilitates referrals</a:t>
            </a:r>
          </a:p>
          <a:p>
            <a:pPr marL="285750" indent="-285750">
              <a:buFont typeface="Arial"/>
              <a:buChar char="•"/>
            </a:pPr>
            <a:r>
              <a:rPr lang="en-US" sz="2400" dirty="0">
                <a:cs typeface="Calibri"/>
              </a:rPr>
              <a:t>Screened in OB clinics</a:t>
            </a:r>
          </a:p>
          <a:p>
            <a:pPr marL="285750" indent="-285750">
              <a:buFont typeface="Arial"/>
              <a:buChar char="•"/>
            </a:pPr>
            <a:r>
              <a:rPr lang="en-US" sz="2400" dirty="0">
                <a:cs typeface="Calibri"/>
              </a:rPr>
              <a:t>Admission Navigator does screening </a:t>
            </a:r>
          </a:p>
          <a:p>
            <a:pPr marL="285750" indent="-285750">
              <a:buFont typeface="Arial"/>
              <a:buChar char="•"/>
            </a:pPr>
            <a:r>
              <a:rPr lang="en-US" sz="2400" dirty="0">
                <a:cs typeface="Calibri"/>
              </a:rPr>
              <a:t>Social Work sees all patients</a:t>
            </a:r>
          </a:p>
          <a:p>
            <a:pPr marL="285750" indent="-285750">
              <a:buFont typeface="Arial"/>
              <a:buChar char="•"/>
            </a:pPr>
            <a:r>
              <a:rPr lang="en-US" sz="2400" dirty="0">
                <a:cs typeface="Calibri"/>
              </a:rPr>
              <a:t>Follow up screening on postpartum</a:t>
            </a:r>
          </a:p>
          <a:p>
            <a:pPr marL="285750" indent="-285750">
              <a:buFont typeface="Arial"/>
              <a:buChar char="•"/>
            </a:pPr>
            <a:endParaRPr lang="en-US">
              <a:cs typeface="Calibri"/>
            </a:endParaRPr>
          </a:p>
          <a:p>
            <a:pPr marL="285750" indent="-285750">
              <a:buFont typeface="Arial"/>
              <a:buChar char="•"/>
            </a:pPr>
            <a:endParaRPr lang="en-US">
              <a:cs typeface="Calibri"/>
            </a:endParaRPr>
          </a:p>
          <a:p>
            <a:pPr marL="285750" indent="-285750">
              <a:buFont typeface="Arial"/>
              <a:buChar char="•"/>
            </a:pPr>
            <a:endParaRPr lang="en-US">
              <a:cs typeface="Calibri"/>
            </a:endParaRPr>
          </a:p>
          <a:p>
            <a:pPr marL="285750" indent="-285750">
              <a:buFont typeface="Arial"/>
              <a:buChar char="•"/>
            </a:pPr>
            <a:endParaRPr lang="en-US">
              <a:cs typeface="Calibri"/>
            </a:endParaRPr>
          </a:p>
          <a:p>
            <a:pPr marL="285750" indent="-285750" algn="l">
              <a:buFont typeface="Arial"/>
              <a:buChar char="•"/>
            </a:pPr>
            <a:endParaRPr lang="en-US">
              <a:cs typeface="Calibri"/>
            </a:endParaRPr>
          </a:p>
        </p:txBody>
      </p:sp>
    </p:spTree>
    <p:extLst>
      <p:ext uri="{BB962C8B-B14F-4D97-AF65-F5344CB8AC3E}">
        <p14:creationId xmlns:p14="http://schemas.microsoft.com/office/powerpoint/2010/main" val="242219151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D65502-A667-DFF7-D7D1-F9C82AA972B3}"/>
              </a:ext>
            </a:extLst>
          </p:cNvPr>
          <p:cNvSpPr>
            <a:spLocks noGrp="1"/>
          </p:cNvSpPr>
          <p:nvPr>
            <p:ph type="title"/>
          </p:nvPr>
        </p:nvSpPr>
        <p:spPr>
          <a:xfrm>
            <a:off x="304800" y="385745"/>
            <a:ext cx="8382000" cy="1325563"/>
          </a:xfrm>
        </p:spPr>
        <p:txBody>
          <a:bodyPr/>
          <a:lstStyle/>
          <a:p>
            <a:r>
              <a:rPr lang="en-US"/>
              <a:t>2022 AAP Safe Sleep Guidelines Usage</a:t>
            </a:r>
          </a:p>
        </p:txBody>
      </p:sp>
      <p:sp>
        <p:nvSpPr>
          <p:cNvPr id="4" name="Slide Number Placeholder 3">
            <a:extLst>
              <a:ext uri="{FF2B5EF4-FFF2-40B4-BE49-F238E27FC236}">
                <a16:creationId xmlns:a16="http://schemas.microsoft.com/office/drawing/2014/main" id="{54E39E6A-A6DA-F94E-A46E-ADAE6B722085}"/>
              </a:ext>
            </a:extLst>
          </p:cNvPr>
          <p:cNvSpPr>
            <a:spLocks noGrp="1"/>
          </p:cNvSpPr>
          <p:nvPr>
            <p:ph type="sldNum" sz="quarter" idx="10"/>
          </p:nvPr>
        </p:nvSpPr>
        <p:spPr/>
        <p:txBody>
          <a:bodyPr/>
          <a:lstStyle/>
          <a:p>
            <a:fld id="{97033E4B-E3EB-3D46-B2D8-3159663620FA}" type="slidenum">
              <a:rPr lang="en-US" smtClean="0"/>
              <a:pPr/>
              <a:t>48</a:t>
            </a:fld>
            <a:endParaRPr lang="en-US"/>
          </a:p>
        </p:txBody>
      </p:sp>
      <p:sp>
        <p:nvSpPr>
          <p:cNvPr id="5" name="Footer Placeholder 4">
            <a:extLst>
              <a:ext uri="{FF2B5EF4-FFF2-40B4-BE49-F238E27FC236}">
                <a16:creationId xmlns:a16="http://schemas.microsoft.com/office/drawing/2014/main" id="{62726861-72B5-6582-B440-9C91C02C63CE}"/>
              </a:ext>
            </a:extLst>
          </p:cNvPr>
          <p:cNvSpPr>
            <a:spLocks noGrp="1"/>
          </p:cNvSpPr>
          <p:nvPr>
            <p:ph type="ftr" sz="quarter" idx="11"/>
          </p:nvPr>
        </p:nvSpPr>
        <p:spPr/>
        <p:txBody>
          <a:bodyPr/>
          <a:lstStyle/>
          <a:p>
            <a:pPr algn="l"/>
            <a:r>
              <a:rPr lang="en-US"/>
              <a:t>Illinois Perinatal Quality Collaborative</a:t>
            </a:r>
          </a:p>
        </p:txBody>
      </p:sp>
      <p:sp>
        <p:nvSpPr>
          <p:cNvPr id="8" name="TextBox 7">
            <a:extLst>
              <a:ext uri="{FF2B5EF4-FFF2-40B4-BE49-F238E27FC236}">
                <a16:creationId xmlns:a16="http://schemas.microsoft.com/office/drawing/2014/main" id="{24CD5883-74F0-901B-1AE1-A53D4170658C}"/>
              </a:ext>
            </a:extLst>
          </p:cNvPr>
          <p:cNvSpPr txBox="1"/>
          <p:nvPr/>
        </p:nvSpPr>
        <p:spPr>
          <a:xfrm>
            <a:off x="6636707" y="1483835"/>
            <a:ext cx="5334000" cy="11079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defRPr sz="1800" b="1" i="0" u="none" strike="noStrike" kern="1200" spc="0" baseline="0">
                <a:solidFill>
                  <a:srgbClr val="002060"/>
                </a:solidFill>
                <a:latin typeface="+mn-lt"/>
                <a:ea typeface="+mn-ea"/>
                <a:cs typeface="+mn-cs"/>
              </a:defRPr>
            </a:pPr>
            <a:r>
              <a:rPr lang="en-US" sz="2200" b="1" dirty="0">
                <a:solidFill>
                  <a:schemeClr val="accent3"/>
                </a:solidFill>
              </a:rPr>
              <a:t>Does your NICU have any written materials for parent/caregiver safe sleep education based on 2022 AAP Safe Sleep Guidelines? </a:t>
            </a:r>
            <a:endParaRPr lang="en-US" sz="2200" b="1">
              <a:solidFill>
                <a:schemeClr val="accent3"/>
              </a:solidFill>
            </a:endParaRPr>
          </a:p>
        </p:txBody>
      </p:sp>
      <p:sp>
        <p:nvSpPr>
          <p:cNvPr id="10" name="TextBox 9">
            <a:extLst>
              <a:ext uri="{FF2B5EF4-FFF2-40B4-BE49-F238E27FC236}">
                <a16:creationId xmlns:a16="http://schemas.microsoft.com/office/drawing/2014/main" id="{8BCC0F5C-3791-38AB-6A34-E5D5FCAACFCB}"/>
              </a:ext>
            </a:extLst>
          </p:cNvPr>
          <p:cNvSpPr txBox="1"/>
          <p:nvPr/>
        </p:nvSpPr>
        <p:spPr>
          <a:xfrm>
            <a:off x="304800" y="1309281"/>
            <a:ext cx="5943600" cy="144655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defRPr sz="1800" b="1" i="0" u="none" strike="noStrike" kern="1200" spc="0" baseline="0">
                <a:solidFill>
                  <a:srgbClr val="002060"/>
                </a:solidFill>
                <a:latin typeface="+mn-lt"/>
                <a:ea typeface="+mn-ea"/>
                <a:cs typeface="+mn-cs"/>
              </a:defRPr>
            </a:pPr>
            <a:r>
              <a:rPr lang="en-US" sz="2200" b="1" dirty="0">
                <a:solidFill>
                  <a:srgbClr val="7030A0"/>
                </a:solidFill>
              </a:rPr>
              <a:t>Does your Postpartum Unit have any written materials for parent/caregiver safe sleep education based on 2022 AAP Safe Sleep Guidelines? </a:t>
            </a:r>
            <a:endParaRPr lang="en-US"/>
          </a:p>
        </p:txBody>
      </p:sp>
      <p:pic>
        <p:nvPicPr>
          <p:cNvPr id="13" name="Picture 12" descr="A graph with a number and a bar&#10;&#10;Description automatically generated with medium confidence">
            <a:extLst>
              <a:ext uri="{FF2B5EF4-FFF2-40B4-BE49-F238E27FC236}">
                <a16:creationId xmlns:a16="http://schemas.microsoft.com/office/drawing/2014/main" id="{BF713135-DD3C-3072-1977-2C3C04E1AEB2}"/>
              </a:ext>
            </a:extLst>
          </p:cNvPr>
          <p:cNvPicPr>
            <a:picLocks noChangeAspect="1"/>
          </p:cNvPicPr>
          <p:nvPr/>
        </p:nvPicPr>
        <p:blipFill>
          <a:blip r:embed="rId3"/>
          <a:stretch>
            <a:fillRect/>
          </a:stretch>
        </p:blipFill>
        <p:spPr>
          <a:xfrm>
            <a:off x="6701346" y="2706653"/>
            <a:ext cx="5490654" cy="3122647"/>
          </a:xfrm>
          <a:prstGeom prst="rect">
            <a:avLst/>
          </a:prstGeom>
        </p:spPr>
      </p:pic>
      <p:pic>
        <p:nvPicPr>
          <p:cNvPr id="17" name="Picture 16" descr="A graph with purple squares and numbers&#10;&#10;Description automatically generated">
            <a:extLst>
              <a:ext uri="{FF2B5EF4-FFF2-40B4-BE49-F238E27FC236}">
                <a16:creationId xmlns:a16="http://schemas.microsoft.com/office/drawing/2014/main" id="{1E6C1ABD-FF6C-3DED-E717-DF57CD6F7C44}"/>
              </a:ext>
            </a:extLst>
          </p:cNvPr>
          <p:cNvPicPr>
            <a:picLocks noChangeAspect="1"/>
          </p:cNvPicPr>
          <p:nvPr/>
        </p:nvPicPr>
        <p:blipFill>
          <a:blip r:embed="rId4"/>
          <a:stretch>
            <a:fillRect/>
          </a:stretch>
        </p:blipFill>
        <p:spPr>
          <a:xfrm>
            <a:off x="472699" y="2816656"/>
            <a:ext cx="5943599" cy="2876810"/>
          </a:xfrm>
          <a:prstGeom prst="rect">
            <a:avLst/>
          </a:prstGeom>
        </p:spPr>
      </p:pic>
    </p:spTree>
    <p:extLst>
      <p:ext uri="{BB962C8B-B14F-4D97-AF65-F5344CB8AC3E}">
        <p14:creationId xmlns:p14="http://schemas.microsoft.com/office/powerpoint/2010/main" val="9720879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709B4-3151-C470-E982-48F90960EA66}"/>
              </a:ext>
            </a:extLst>
          </p:cNvPr>
          <p:cNvSpPr>
            <a:spLocks noGrp="1"/>
          </p:cNvSpPr>
          <p:nvPr>
            <p:ph type="title"/>
          </p:nvPr>
        </p:nvSpPr>
        <p:spPr/>
        <p:txBody>
          <a:bodyPr/>
          <a:lstStyle/>
          <a:p>
            <a:r>
              <a:rPr lang="en-US"/>
              <a:t>Equity &amp; Inclusion</a:t>
            </a:r>
          </a:p>
        </p:txBody>
      </p:sp>
      <p:sp>
        <p:nvSpPr>
          <p:cNvPr id="4" name="Slide Number Placeholder 3">
            <a:extLst>
              <a:ext uri="{FF2B5EF4-FFF2-40B4-BE49-F238E27FC236}">
                <a16:creationId xmlns:a16="http://schemas.microsoft.com/office/drawing/2014/main" id="{64E49AFA-2CBB-DBEC-8AA2-0C90549F17F6}"/>
              </a:ext>
            </a:extLst>
          </p:cNvPr>
          <p:cNvSpPr>
            <a:spLocks noGrp="1"/>
          </p:cNvSpPr>
          <p:nvPr>
            <p:ph type="sldNum" sz="quarter" idx="10"/>
          </p:nvPr>
        </p:nvSpPr>
        <p:spPr/>
        <p:txBody>
          <a:bodyPr/>
          <a:lstStyle/>
          <a:p>
            <a:fld id="{97033E4B-E3EB-3D46-B2D8-3159663620FA}" type="slidenum">
              <a:rPr lang="en-US" smtClean="0"/>
              <a:pPr/>
              <a:t>49</a:t>
            </a:fld>
            <a:endParaRPr lang="en-US"/>
          </a:p>
        </p:txBody>
      </p:sp>
      <p:sp>
        <p:nvSpPr>
          <p:cNvPr id="5" name="Footer Placeholder 4">
            <a:extLst>
              <a:ext uri="{FF2B5EF4-FFF2-40B4-BE49-F238E27FC236}">
                <a16:creationId xmlns:a16="http://schemas.microsoft.com/office/drawing/2014/main" id="{FDA87940-0B69-87FF-FD41-035F50D2CBC4}"/>
              </a:ext>
            </a:extLst>
          </p:cNvPr>
          <p:cNvSpPr>
            <a:spLocks noGrp="1"/>
          </p:cNvSpPr>
          <p:nvPr>
            <p:ph type="ftr" sz="quarter" idx="11"/>
          </p:nvPr>
        </p:nvSpPr>
        <p:spPr/>
        <p:txBody>
          <a:bodyPr/>
          <a:lstStyle/>
          <a:p>
            <a:pPr algn="l"/>
            <a:r>
              <a:rPr lang="en-US"/>
              <a:t>Illinois Perinatal Quality Collaborative</a:t>
            </a:r>
          </a:p>
        </p:txBody>
      </p:sp>
      <p:sp>
        <p:nvSpPr>
          <p:cNvPr id="11" name="TextBox 10">
            <a:extLst>
              <a:ext uri="{FF2B5EF4-FFF2-40B4-BE49-F238E27FC236}">
                <a16:creationId xmlns:a16="http://schemas.microsoft.com/office/drawing/2014/main" id="{1DF84304-5940-EAA4-6D98-8D8B88197FE0}"/>
              </a:ext>
            </a:extLst>
          </p:cNvPr>
          <p:cNvSpPr txBox="1"/>
          <p:nvPr/>
        </p:nvSpPr>
        <p:spPr>
          <a:xfrm>
            <a:off x="304800" y="1538925"/>
            <a:ext cx="5943600" cy="7694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rtl="0">
              <a:defRPr sz="1800" b="1" i="0" u="none" strike="noStrike" kern="1200" spc="0" baseline="0">
                <a:solidFill>
                  <a:srgbClr val="002060"/>
                </a:solidFill>
                <a:latin typeface="+mn-lt"/>
                <a:ea typeface="+mn-ea"/>
                <a:cs typeface="+mn-cs"/>
              </a:defRPr>
            </a:pPr>
            <a:r>
              <a:rPr lang="en-US" sz="2200" b="1">
                <a:solidFill>
                  <a:srgbClr val="7030A0"/>
                </a:solidFill>
              </a:rPr>
              <a:t>Do you have a process to ensure Postpartum Unit policies are equitable and inclusive? </a:t>
            </a:r>
          </a:p>
        </p:txBody>
      </p:sp>
      <p:sp>
        <p:nvSpPr>
          <p:cNvPr id="12" name="TextBox 11">
            <a:extLst>
              <a:ext uri="{FF2B5EF4-FFF2-40B4-BE49-F238E27FC236}">
                <a16:creationId xmlns:a16="http://schemas.microsoft.com/office/drawing/2014/main" id="{6ED5497D-D403-998F-F238-F083E70CB74A}"/>
              </a:ext>
            </a:extLst>
          </p:cNvPr>
          <p:cNvSpPr txBox="1"/>
          <p:nvPr/>
        </p:nvSpPr>
        <p:spPr>
          <a:xfrm>
            <a:off x="6248400" y="1538925"/>
            <a:ext cx="5943600" cy="7694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rtl="0">
              <a:defRPr sz="1800" b="1" i="0" u="none" strike="noStrike" kern="1200" spc="0" baseline="0">
                <a:solidFill>
                  <a:srgbClr val="002060"/>
                </a:solidFill>
                <a:latin typeface="+mn-lt"/>
                <a:ea typeface="+mn-ea"/>
                <a:cs typeface="+mn-cs"/>
              </a:defRPr>
            </a:pPr>
            <a:r>
              <a:rPr lang="en-US" sz="2200" b="1">
                <a:solidFill>
                  <a:schemeClr val="accent3"/>
                </a:solidFill>
              </a:rPr>
              <a:t>Do you have a process to ensure NICU policies are equitable and inclusive? </a:t>
            </a:r>
          </a:p>
        </p:txBody>
      </p:sp>
      <p:pic>
        <p:nvPicPr>
          <p:cNvPr id="14" name="Picture 13">
            <a:extLst>
              <a:ext uri="{FF2B5EF4-FFF2-40B4-BE49-F238E27FC236}">
                <a16:creationId xmlns:a16="http://schemas.microsoft.com/office/drawing/2014/main" id="{A6F11FAC-B2B0-D6BE-4B24-37F4D6C6354F}"/>
              </a:ext>
            </a:extLst>
          </p:cNvPr>
          <p:cNvPicPr>
            <a:picLocks noChangeAspect="1"/>
          </p:cNvPicPr>
          <p:nvPr/>
        </p:nvPicPr>
        <p:blipFill>
          <a:blip r:embed="rId3"/>
          <a:stretch>
            <a:fillRect/>
          </a:stretch>
        </p:blipFill>
        <p:spPr>
          <a:xfrm>
            <a:off x="6543675" y="2427488"/>
            <a:ext cx="4972050" cy="2109355"/>
          </a:xfrm>
          <a:prstGeom prst="rect">
            <a:avLst/>
          </a:prstGeom>
        </p:spPr>
      </p:pic>
      <p:sp>
        <p:nvSpPr>
          <p:cNvPr id="15" name="Rectangle 14">
            <a:extLst>
              <a:ext uri="{FF2B5EF4-FFF2-40B4-BE49-F238E27FC236}">
                <a16:creationId xmlns:a16="http://schemas.microsoft.com/office/drawing/2014/main" id="{5AF4DE65-8C2B-65B5-37A5-EDF529E0AE02}"/>
              </a:ext>
            </a:extLst>
          </p:cNvPr>
          <p:cNvSpPr/>
          <p:nvPr/>
        </p:nvSpPr>
        <p:spPr>
          <a:xfrm>
            <a:off x="6438900" y="2427488"/>
            <a:ext cx="5562600" cy="1416628"/>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C4395E66-57DA-3F13-3107-198A53D92FA3}"/>
              </a:ext>
            </a:extLst>
          </p:cNvPr>
          <p:cNvSpPr txBox="1"/>
          <p:nvPr/>
        </p:nvSpPr>
        <p:spPr>
          <a:xfrm>
            <a:off x="6543675" y="4528719"/>
            <a:ext cx="5943600"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rtl="0">
              <a:defRPr sz="1800" b="1" i="0" u="none" strike="noStrike" kern="1200" spc="0" baseline="0">
                <a:solidFill>
                  <a:srgbClr val="002060"/>
                </a:solidFill>
                <a:latin typeface="+mn-lt"/>
                <a:ea typeface="+mn-ea"/>
                <a:cs typeface="+mn-cs"/>
              </a:defRPr>
            </a:pPr>
            <a:r>
              <a:rPr lang="en-US" sz="2200" i="1">
                <a:solidFill>
                  <a:schemeClr val="accent3"/>
                </a:solidFill>
              </a:rPr>
              <a:t>If yes, what is the process?</a:t>
            </a:r>
          </a:p>
        </p:txBody>
      </p:sp>
      <p:sp>
        <p:nvSpPr>
          <p:cNvPr id="22" name="TextBox 21">
            <a:extLst>
              <a:ext uri="{FF2B5EF4-FFF2-40B4-BE49-F238E27FC236}">
                <a16:creationId xmlns:a16="http://schemas.microsoft.com/office/drawing/2014/main" id="{1D5C5D59-535C-D489-AEF6-89589D4151A0}"/>
              </a:ext>
            </a:extLst>
          </p:cNvPr>
          <p:cNvSpPr txBox="1"/>
          <p:nvPr/>
        </p:nvSpPr>
        <p:spPr>
          <a:xfrm>
            <a:off x="6886574" y="4859394"/>
            <a:ext cx="5534026" cy="1754326"/>
          </a:xfrm>
          <a:prstGeom prst="rect">
            <a:avLst/>
          </a:prstGeom>
          <a:noFill/>
        </p:spPr>
        <p:txBody>
          <a:bodyPr wrap="square" rtlCol="0">
            <a:spAutoFit/>
          </a:bodyPr>
          <a:lstStyle/>
          <a:p>
            <a:r>
              <a:rPr lang="en-US" i="1"/>
              <a:t>”On the home page there is an easy to access policy platform”</a:t>
            </a:r>
          </a:p>
          <a:p>
            <a:endParaRPr lang="en-US" sz="900" i="1"/>
          </a:p>
          <a:p>
            <a:r>
              <a:rPr lang="en-US" i="1"/>
              <a:t>“Annual review, multidisciplinary review, unit council approval; inclusive language in all policies”</a:t>
            </a:r>
          </a:p>
          <a:p>
            <a:endParaRPr lang="en-US" sz="900" i="1"/>
          </a:p>
          <a:p>
            <a:r>
              <a:rPr lang="en-US" i="1"/>
              <a:t>“OB/NICU policy committee to review policies”</a:t>
            </a:r>
          </a:p>
        </p:txBody>
      </p:sp>
      <p:pic>
        <p:nvPicPr>
          <p:cNvPr id="24" name="Picture 23" descr="A purple bar with numbers&#10;&#10;Description automatically generated with medium confidence">
            <a:extLst>
              <a:ext uri="{FF2B5EF4-FFF2-40B4-BE49-F238E27FC236}">
                <a16:creationId xmlns:a16="http://schemas.microsoft.com/office/drawing/2014/main" id="{87BFBC71-F5C9-9FE6-BC9B-F20E28B4A1C4}"/>
              </a:ext>
            </a:extLst>
          </p:cNvPr>
          <p:cNvPicPr>
            <a:picLocks noChangeAspect="1"/>
          </p:cNvPicPr>
          <p:nvPr/>
        </p:nvPicPr>
        <p:blipFill>
          <a:blip r:embed="rId4"/>
          <a:stretch>
            <a:fillRect/>
          </a:stretch>
        </p:blipFill>
        <p:spPr>
          <a:xfrm>
            <a:off x="600764" y="2344872"/>
            <a:ext cx="5038035" cy="2162343"/>
          </a:xfrm>
          <a:prstGeom prst="rect">
            <a:avLst/>
          </a:prstGeom>
        </p:spPr>
      </p:pic>
      <p:sp>
        <p:nvSpPr>
          <p:cNvPr id="25" name="Rectangle 24">
            <a:extLst>
              <a:ext uri="{FF2B5EF4-FFF2-40B4-BE49-F238E27FC236}">
                <a16:creationId xmlns:a16="http://schemas.microsoft.com/office/drawing/2014/main" id="{E76BC3B0-6965-0ECC-9783-1C95B5459D44}"/>
              </a:ext>
            </a:extLst>
          </p:cNvPr>
          <p:cNvSpPr/>
          <p:nvPr/>
        </p:nvSpPr>
        <p:spPr>
          <a:xfrm>
            <a:off x="423863" y="2427488"/>
            <a:ext cx="5562600" cy="1416628"/>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21625A6B-867A-6983-E387-714EDF729130}"/>
              </a:ext>
            </a:extLst>
          </p:cNvPr>
          <p:cNvSpPr txBox="1"/>
          <p:nvPr/>
        </p:nvSpPr>
        <p:spPr>
          <a:xfrm>
            <a:off x="185738" y="4505648"/>
            <a:ext cx="5943600"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rtl="0">
              <a:defRPr sz="1800" b="1" i="0" u="none" strike="noStrike" kern="1200" spc="0" baseline="0">
                <a:solidFill>
                  <a:srgbClr val="002060"/>
                </a:solidFill>
                <a:latin typeface="+mn-lt"/>
                <a:ea typeface="+mn-ea"/>
                <a:cs typeface="+mn-cs"/>
              </a:defRPr>
            </a:pPr>
            <a:r>
              <a:rPr lang="en-US" sz="2200" i="1">
                <a:solidFill>
                  <a:srgbClr val="7030A0"/>
                </a:solidFill>
              </a:rPr>
              <a:t>If yes, what is the process?</a:t>
            </a:r>
          </a:p>
        </p:txBody>
      </p:sp>
      <p:sp>
        <p:nvSpPr>
          <p:cNvPr id="27" name="TextBox 26">
            <a:extLst>
              <a:ext uri="{FF2B5EF4-FFF2-40B4-BE49-F238E27FC236}">
                <a16:creationId xmlns:a16="http://schemas.microsoft.com/office/drawing/2014/main" id="{92A1C779-4E56-55B0-E8CD-A8C7A32B450E}"/>
              </a:ext>
            </a:extLst>
          </p:cNvPr>
          <p:cNvSpPr txBox="1"/>
          <p:nvPr/>
        </p:nvSpPr>
        <p:spPr>
          <a:xfrm>
            <a:off x="114299" y="4905438"/>
            <a:ext cx="6772275" cy="1384995"/>
          </a:xfrm>
          <a:prstGeom prst="rect">
            <a:avLst/>
          </a:prstGeom>
          <a:noFill/>
        </p:spPr>
        <p:txBody>
          <a:bodyPr wrap="square" rtlCol="0">
            <a:spAutoFit/>
          </a:bodyPr>
          <a:lstStyle/>
          <a:p>
            <a:r>
              <a:rPr lang="en-US" sz="1400" i="1"/>
              <a:t>”Part of our mission, staff are reminded in policy reviews, CBT's, unit education” </a:t>
            </a:r>
          </a:p>
          <a:p>
            <a:r>
              <a:rPr lang="en-US" sz="1400" i="1"/>
              <a:t>“Written for any type of caregiver” “Creation of Safe Sleep Policy &amp; Initiative”</a:t>
            </a:r>
          </a:p>
          <a:p>
            <a:r>
              <a:rPr lang="en-US" sz="1400" i="1"/>
              <a:t>”Policies/procedures actively being changed to gender-neutral/ parent neutral wording.” </a:t>
            </a:r>
          </a:p>
          <a:p>
            <a:r>
              <a:rPr lang="en-US" sz="1400" i="1"/>
              <a:t>       “Teams meeting with the OB leaders”.        “DEI committee to review policies”</a:t>
            </a:r>
          </a:p>
          <a:p>
            <a:r>
              <a:rPr lang="en-US" sz="1400" i="1"/>
              <a:t> “Entire department dedicated to diversity and inclusion / policy review” </a:t>
            </a:r>
          </a:p>
          <a:p>
            <a:r>
              <a:rPr lang="en-US" sz="1400" i="1"/>
              <a:t>“In yearly review, being aware of language to develop and equitable and inclusive policy’	</a:t>
            </a:r>
          </a:p>
        </p:txBody>
      </p:sp>
    </p:spTree>
    <p:extLst>
      <p:ext uri="{BB962C8B-B14F-4D97-AF65-F5344CB8AC3E}">
        <p14:creationId xmlns:p14="http://schemas.microsoft.com/office/powerpoint/2010/main" val="1668187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02BA79-C4E2-3A24-1316-4AC6D3F66837}"/>
              </a:ext>
            </a:extLst>
          </p:cNvPr>
          <p:cNvSpPr>
            <a:spLocks noGrp="1"/>
          </p:cNvSpPr>
          <p:nvPr>
            <p:ph type="title"/>
          </p:nvPr>
        </p:nvSpPr>
        <p:spPr/>
        <p:txBody>
          <a:bodyPr/>
          <a:lstStyle/>
          <a:p>
            <a:r>
              <a:rPr lang="en-US" sz="4800" dirty="0">
                <a:ea typeface="Lato Medium"/>
                <a:cs typeface="Lato Medium"/>
              </a:rPr>
              <a:t>PQCs Across the Country</a:t>
            </a:r>
            <a:endParaRPr lang="en-US" sz="4800"/>
          </a:p>
        </p:txBody>
      </p:sp>
      <p:sp>
        <p:nvSpPr>
          <p:cNvPr id="3" name="Text Placeholder 2">
            <a:extLst>
              <a:ext uri="{FF2B5EF4-FFF2-40B4-BE49-F238E27FC236}">
                <a16:creationId xmlns:a16="http://schemas.microsoft.com/office/drawing/2014/main" id="{0608F2C2-83F0-41C5-A0E1-33DE05A98582}"/>
              </a:ext>
            </a:extLst>
          </p:cNvPr>
          <p:cNvSpPr>
            <a:spLocks noGrp="1"/>
          </p:cNvSpPr>
          <p:nvPr>
            <p:ph type="body" idx="1"/>
          </p:nvPr>
        </p:nvSpPr>
        <p:spPr/>
        <p:txBody>
          <a:bodyPr/>
          <a:lstStyle/>
          <a:p>
            <a:pPr marL="114300" indent="0">
              <a:buNone/>
            </a:pPr>
            <a:endParaRPr lang="en-US"/>
          </a:p>
        </p:txBody>
      </p:sp>
      <p:sp>
        <p:nvSpPr>
          <p:cNvPr id="4" name="Slide Number Placeholder 3">
            <a:extLst>
              <a:ext uri="{FF2B5EF4-FFF2-40B4-BE49-F238E27FC236}">
                <a16:creationId xmlns:a16="http://schemas.microsoft.com/office/drawing/2014/main" id="{D37ABC44-8364-D2CE-1C8F-4631E5754002}"/>
              </a:ext>
            </a:extLst>
          </p:cNvPr>
          <p:cNvSpPr>
            <a:spLocks noGrp="1"/>
          </p:cNvSpPr>
          <p:nvPr>
            <p:ph type="sldNum" idx="12"/>
          </p:nvPr>
        </p:nvSpPr>
        <p:spPr/>
        <p:txBody>
          <a:bodyPr/>
          <a:lstStyle/>
          <a:p>
            <a:fld id="{00000000-1234-1234-1234-123412341234}" type="slidenum">
              <a:rPr lang="en-US" smtClean="0"/>
              <a:pPr/>
              <a:t>5</a:t>
            </a:fld>
            <a:endParaRPr lang="en-US"/>
          </a:p>
        </p:txBody>
      </p:sp>
      <p:sp>
        <p:nvSpPr>
          <p:cNvPr id="5" name="Footer Placeholder 4">
            <a:extLst>
              <a:ext uri="{FF2B5EF4-FFF2-40B4-BE49-F238E27FC236}">
                <a16:creationId xmlns:a16="http://schemas.microsoft.com/office/drawing/2014/main" id="{68C2B576-308B-A2A3-C303-8A44048D6FB8}"/>
              </a:ext>
            </a:extLst>
          </p:cNvPr>
          <p:cNvSpPr>
            <a:spLocks noGrp="1"/>
          </p:cNvSpPr>
          <p:nvPr>
            <p:ph type="ftr" idx="11"/>
          </p:nvPr>
        </p:nvSpPr>
        <p:spPr/>
        <p:txBody>
          <a:bodyPr/>
          <a:lstStyle/>
          <a:p>
            <a:endParaRPr lang="en-US"/>
          </a:p>
        </p:txBody>
      </p:sp>
      <p:pic>
        <p:nvPicPr>
          <p:cNvPr id="6" name="Picture 5" descr="A map of the united states&#10;&#10;Description automatically generated">
            <a:extLst>
              <a:ext uri="{FF2B5EF4-FFF2-40B4-BE49-F238E27FC236}">
                <a16:creationId xmlns:a16="http://schemas.microsoft.com/office/drawing/2014/main" id="{302BBFF9-D69A-D1E9-E01C-7C15E1F6D1A6}"/>
              </a:ext>
            </a:extLst>
          </p:cNvPr>
          <p:cNvPicPr>
            <a:picLocks noChangeAspect="1"/>
          </p:cNvPicPr>
          <p:nvPr/>
        </p:nvPicPr>
        <p:blipFill>
          <a:blip r:embed="rId2"/>
          <a:stretch>
            <a:fillRect/>
          </a:stretch>
        </p:blipFill>
        <p:spPr>
          <a:xfrm>
            <a:off x="1617404" y="1440016"/>
            <a:ext cx="8839200" cy="4653455"/>
          </a:xfrm>
          <a:prstGeom prst="rect">
            <a:avLst/>
          </a:prstGeom>
        </p:spPr>
      </p:pic>
    </p:spTree>
    <p:extLst>
      <p:ext uri="{BB962C8B-B14F-4D97-AF65-F5344CB8AC3E}">
        <p14:creationId xmlns:p14="http://schemas.microsoft.com/office/powerpoint/2010/main" val="40918143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graph with numbers and a bar&#10;&#10;Description automatically generated">
            <a:extLst>
              <a:ext uri="{FF2B5EF4-FFF2-40B4-BE49-F238E27FC236}">
                <a16:creationId xmlns:a16="http://schemas.microsoft.com/office/drawing/2014/main" id="{2D3E53C4-6B67-69CE-5940-10D393E89ACA}"/>
              </a:ext>
            </a:extLst>
          </p:cNvPr>
          <p:cNvPicPr>
            <a:picLocks noChangeAspect="1"/>
          </p:cNvPicPr>
          <p:nvPr/>
        </p:nvPicPr>
        <p:blipFill>
          <a:blip r:embed="rId3"/>
          <a:stretch>
            <a:fillRect/>
          </a:stretch>
        </p:blipFill>
        <p:spPr>
          <a:xfrm>
            <a:off x="504981" y="2247370"/>
            <a:ext cx="4563290" cy="2782494"/>
          </a:xfrm>
          <a:prstGeom prst="rect">
            <a:avLst/>
          </a:prstGeom>
        </p:spPr>
      </p:pic>
      <p:sp>
        <p:nvSpPr>
          <p:cNvPr id="2" name="Title 1">
            <a:extLst>
              <a:ext uri="{FF2B5EF4-FFF2-40B4-BE49-F238E27FC236}">
                <a16:creationId xmlns:a16="http://schemas.microsoft.com/office/drawing/2014/main" id="{57C05CDC-C6BC-A9A0-73C0-25D92E7BD525}"/>
              </a:ext>
            </a:extLst>
          </p:cNvPr>
          <p:cNvSpPr>
            <a:spLocks noGrp="1"/>
          </p:cNvSpPr>
          <p:nvPr>
            <p:ph type="title"/>
          </p:nvPr>
        </p:nvSpPr>
        <p:spPr/>
        <p:txBody>
          <a:bodyPr/>
          <a:lstStyle/>
          <a:p>
            <a:r>
              <a:rPr lang="en-US"/>
              <a:t>Partnerships</a:t>
            </a:r>
          </a:p>
        </p:txBody>
      </p:sp>
      <p:sp>
        <p:nvSpPr>
          <p:cNvPr id="3" name="Content Placeholder 2">
            <a:extLst>
              <a:ext uri="{FF2B5EF4-FFF2-40B4-BE49-F238E27FC236}">
                <a16:creationId xmlns:a16="http://schemas.microsoft.com/office/drawing/2014/main" id="{DB22D0AF-FA7E-A475-D52F-2AC4D211AD71}"/>
              </a:ext>
            </a:extLst>
          </p:cNvPr>
          <p:cNvSpPr>
            <a:spLocks noGrp="1"/>
          </p:cNvSpPr>
          <p:nvPr>
            <p:ph idx="1"/>
          </p:nvPr>
        </p:nvSpPr>
        <p:spPr>
          <a:xfrm>
            <a:off x="609600" y="1364985"/>
            <a:ext cx="4563291" cy="517525"/>
          </a:xfrm>
        </p:spPr>
        <p:txBody>
          <a:bodyPr/>
          <a:lstStyle/>
          <a:p>
            <a:pPr marL="0" indent="0">
              <a:buNone/>
            </a:pPr>
            <a:r>
              <a:rPr lang="en-US" b="1"/>
              <a:t>Does your hospital have an ILPQC OB Birth Equity team?</a:t>
            </a:r>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BF3263CE-7751-B75C-5247-0C54BB5B1101}"/>
              </a:ext>
            </a:extLst>
          </p:cNvPr>
          <p:cNvSpPr>
            <a:spLocks noGrp="1"/>
          </p:cNvSpPr>
          <p:nvPr>
            <p:ph type="sldNum" sz="quarter" idx="10"/>
          </p:nvPr>
        </p:nvSpPr>
        <p:spPr/>
        <p:txBody>
          <a:bodyPr/>
          <a:lstStyle/>
          <a:p>
            <a:fld id="{97033E4B-E3EB-3D46-B2D8-3159663620FA}" type="slidenum">
              <a:rPr lang="en-US" smtClean="0"/>
              <a:pPr/>
              <a:t>50</a:t>
            </a:fld>
            <a:endParaRPr lang="en-US"/>
          </a:p>
        </p:txBody>
      </p:sp>
      <p:sp>
        <p:nvSpPr>
          <p:cNvPr id="5" name="Footer Placeholder 4">
            <a:extLst>
              <a:ext uri="{FF2B5EF4-FFF2-40B4-BE49-F238E27FC236}">
                <a16:creationId xmlns:a16="http://schemas.microsoft.com/office/drawing/2014/main" id="{EB68A25D-EB7C-2FF5-64D2-6C7DC20222AC}"/>
              </a:ext>
            </a:extLst>
          </p:cNvPr>
          <p:cNvSpPr>
            <a:spLocks noGrp="1"/>
          </p:cNvSpPr>
          <p:nvPr>
            <p:ph type="ftr" sz="quarter" idx="11"/>
          </p:nvPr>
        </p:nvSpPr>
        <p:spPr/>
        <p:txBody>
          <a:bodyPr/>
          <a:lstStyle/>
          <a:p>
            <a:pPr algn="l"/>
            <a:r>
              <a:rPr lang="en-US"/>
              <a:t>Illinois Perinatal Quality Collaborative</a:t>
            </a:r>
          </a:p>
        </p:txBody>
      </p:sp>
      <p:sp>
        <p:nvSpPr>
          <p:cNvPr id="11" name="TextBox 10">
            <a:extLst>
              <a:ext uri="{FF2B5EF4-FFF2-40B4-BE49-F238E27FC236}">
                <a16:creationId xmlns:a16="http://schemas.microsoft.com/office/drawing/2014/main" id="{7A6AA225-C736-27BB-D221-B0EFC02D6044}"/>
              </a:ext>
            </a:extLst>
          </p:cNvPr>
          <p:cNvSpPr txBox="1"/>
          <p:nvPr/>
        </p:nvSpPr>
        <p:spPr>
          <a:xfrm>
            <a:off x="5347065" y="2001092"/>
            <a:ext cx="6745703" cy="1446550"/>
          </a:xfrm>
          <a:prstGeom prst="rect">
            <a:avLst/>
          </a:prstGeom>
          <a:noFill/>
        </p:spPr>
        <p:txBody>
          <a:bodyPr wrap="square">
            <a:spAutoFit/>
          </a:bodyPr>
          <a:lstStyle/>
          <a:p>
            <a:r>
              <a:rPr lang="en-US" sz="2200" b="1"/>
              <a:t>Does your unit/hospital currently partner with any community organizations that promote newborn equity and/or safe sleep?</a:t>
            </a:r>
          </a:p>
          <a:p>
            <a:endParaRPr lang="en-US" sz="2200" b="1"/>
          </a:p>
        </p:txBody>
      </p:sp>
      <p:sp>
        <p:nvSpPr>
          <p:cNvPr id="12" name="Rectangle 11">
            <a:extLst>
              <a:ext uri="{FF2B5EF4-FFF2-40B4-BE49-F238E27FC236}">
                <a16:creationId xmlns:a16="http://schemas.microsoft.com/office/drawing/2014/main" id="{427A7BEE-C321-8725-0E56-C0B6A66BA7F3}"/>
              </a:ext>
            </a:extLst>
          </p:cNvPr>
          <p:cNvSpPr/>
          <p:nvPr/>
        </p:nvSpPr>
        <p:spPr>
          <a:xfrm>
            <a:off x="504982" y="4187132"/>
            <a:ext cx="4667910" cy="707825"/>
          </a:xfrm>
          <a:prstGeom prst="rect">
            <a:avLst/>
          </a:prstGeom>
          <a:noFill/>
          <a:ln w="3810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D1E5A86B-72C1-07E8-4DC0-0DB889FDAA67}"/>
              </a:ext>
            </a:extLst>
          </p:cNvPr>
          <p:cNvPicPr>
            <a:picLocks noChangeAspect="1"/>
          </p:cNvPicPr>
          <p:nvPr/>
        </p:nvPicPr>
        <p:blipFill>
          <a:blip r:embed="rId4"/>
          <a:stretch>
            <a:fillRect/>
          </a:stretch>
        </p:blipFill>
        <p:spPr>
          <a:xfrm>
            <a:off x="8668087" y="2825898"/>
            <a:ext cx="3076081" cy="2835344"/>
          </a:xfrm>
          <a:prstGeom prst="rect">
            <a:avLst/>
          </a:prstGeom>
        </p:spPr>
      </p:pic>
      <p:sp>
        <p:nvSpPr>
          <p:cNvPr id="17" name="TextBox 16">
            <a:extLst>
              <a:ext uri="{FF2B5EF4-FFF2-40B4-BE49-F238E27FC236}">
                <a16:creationId xmlns:a16="http://schemas.microsoft.com/office/drawing/2014/main" id="{9F30C5B8-4454-3B8D-2126-4A9866DF704E}"/>
              </a:ext>
            </a:extLst>
          </p:cNvPr>
          <p:cNvSpPr txBox="1"/>
          <p:nvPr/>
        </p:nvSpPr>
        <p:spPr>
          <a:xfrm>
            <a:off x="5310595" y="3102387"/>
            <a:ext cx="7019109" cy="3508653"/>
          </a:xfrm>
          <a:prstGeom prst="rect">
            <a:avLst/>
          </a:prstGeom>
          <a:noFill/>
        </p:spPr>
        <p:txBody>
          <a:bodyPr wrap="square">
            <a:spAutoFit/>
          </a:bodyPr>
          <a:lstStyle/>
          <a:p>
            <a:r>
              <a:rPr lang="en-US" b="1" i="1">
                <a:solidFill>
                  <a:srgbClr val="E9C708"/>
                </a:solidFill>
              </a:rPr>
              <a:t>If yes, which organizations:</a:t>
            </a:r>
            <a:endParaRPr lang="en-US" b="1" i="1"/>
          </a:p>
          <a:p>
            <a:r>
              <a:rPr lang="en-US" sz="1400"/>
              <a:t>WIC Branches</a:t>
            </a:r>
          </a:p>
          <a:p>
            <a:r>
              <a:rPr lang="en-US" sz="1400"/>
              <a:t>Lurie Children Hospital</a:t>
            </a:r>
          </a:p>
          <a:p>
            <a:r>
              <a:rPr lang="en-US" sz="1400"/>
              <a:t>Family Connect Chicago</a:t>
            </a:r>
          </a:p>
          <a:p>
            <a:r>
              <a:rPr lang="en-US" sz="1400"/>
              <a:t>SIDS of Illinois</a:t>
            </a:r>
          </a:p>
          <a:p>
            <a:r>
              <a:rPr lang="en-US" sz="1400"/>
              <a:t>Aiden Lamps</a:t>
            </a:r>
          </a:p>
          <a:p>
            <a:r>
              <a:rPr lang="en-US" sz="1400"/>
              <a:t>Healthy Families</a:t>
            </a:r>
          </a:p>
          <a:p>
            <a:r>
              <a:rPr lang="en-US" sz="1400"/>
              <a:t>Healthy Baby Network</a:t>
            </a:r>
          </a:p>
          <a:p>
            <a:r>
              <a:rPr lang="en-US" sz="1400"/>
              <a:t>Ascension Community Support Services</a:t>
            </a:r>
          </a:p>
          <a:p>
            <a:r>
              <a:rPr lang="en-US" sz="1400"/>
              <a:t>Better Birth Outcome and Catholic Charities</a:t>
            </a:r>
          </a:p>
          <a:p>
            <a:r>
              <a:rPr lang="en-US" sz="1400"/>
              <a:t>Winnebago County Health Department</a:t>
            </a:r>
          </a:p>
          <a:p>
            <a:r>
              <a:rPr lang="en-US" sz="1400"/>
              <a:t>Cribs for Kids, Nurses for Newborns, Diaper Bank</a:t>
            </a:r>
          </a:p>
          <a:p>
            <a:r>
              <a:rPr lang="en-US" sz="1400"/>
              <a:t>Stephenson County Health Department and the Visiting home nurses</a:t>
            </a:r>
          </a:p>
          <a:p>
            <a:r>
              <a:rPr lang="en-US" sz="1400"/>
              <a:t>Simpson Academy (Chicago Public School); Community Partnership Approaches for Safe Sleep</a:t>
            </a:r>
          </a:p>
          <a:p>
            <a:endParaRPr lang="en-US" sz="2200"/>
          </a:p>
        </p:txBody>
      </p:sp>
    </p:spTree>
    <p:extLst>
      <p:ext uri="{BB962C8B-B14F-4D97-AF65-F5344CB8AC3E}">
        <p14:creationId xmlns:p14="http://schemas.microsoft.com/office/powerpoint/2010/main" val="403885182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0924D0-76E0-769E-E658-F9192618FFD4}"/>
              </a:ext>
            </a:extLst>
          </p:cNvPr>
          <p:cNvSpPr>
            <a:spLocks noGrp="1"/>
          </p:cNvSpPr>
          <p:nvPr>
            <p:ph type="title"/>
          </p:nvPr>
        </p:nvSpPr>
        <p:spPr>
          <a:xfrm>
            <a:off x="609600" y="365125"/>
            <a:ext cx="5078084" cy="1339940"/>
          </a:xfrm>
        </p:spPr>
        <p:txBody>
          <a:bodyPr/>
          <a:lstStyle/>
          <a:p>
            <a:r>
              <a:rPr lang="en-US">
                <a:ea typeface="Lato Medium"/>
                <a:cs typeface="Lato Medium"/>
              </a:rPr>
              <a:t>Parent and Caregiver Engagement in QI Work</a:t>
            </a:r>
            <a:endParaRPr lang="en-US"/>
          </a:p>
        </p:txBody>
      </p:sp>
      <p:sp>
        <p:nvSpPr>
          <p:cNvPr id="4" name="Slide Number Placeholder 3">
            <a:extLst>
              <a:ext uri="{FF2B5EF4-FFF2-40B4-BE49-F238E27FC236}">
                <a16:creationId xmlns:a16="http://schemas.microsoft.com/office/drawing/2014/main" id="{F21EAAED-34D3-1AD7-6B37-2FCCEB0DC5CE}"/>
              </a:ext>
            </a:extLst>
          </p:cNvPr>
          <p:cNvSpPr>
            <a:spLocks noGrp="1"/>
          </p:cNvSpPr>
          <p:nvPr>
            <p:ph type="sldNum" sz="quarter" idx="10"/>
          </p:nvPr>
        </p:nvSpPr>
        <p:spPr/>
        <p:txBody>
          <a:bodyPr/>
          <a:lstStyle/>
          <a:p>
            <a:fld id="{97033E4B-E3EB-3D46-B2D8-3159663620FA}" type="slidenum">
              <a:rPr lang="en-US" smtClean="0"/>
              <a:pPr/>
              <a:t>51</a:t>
            </a:fld>
            <a:endParaRPr lang="en-US"/>
          </a:p>
        </p:txBody>
      </p:sp>
      <p:sp>
        <p:nvSpPr>
          <p:cNvPr id="5" name="Footer Placeholder 4">
            <a:extLst>
              <a:ext uri="{FF2B5EF4-FFF2-40B4-BE49-F238E27FC236}">
                <a16:creationId xmlns:a16="http://schemas.microsoft.com/office/drawing/2014/main" id="{79436996-4152-5F17-3872-C1C9A2852BAB}"/>
              </a:ext>
            </a:extLst>
          </p:cNvPr>
          <p:cNvSpPr>
            <a:spLocks noGrp="1"/>
          </p:cNvSpPr>
          <p:nvPr>
            <p:ph type="ftr" sz="quarter" idx="11"/>
          </p:nvPr>
        </p:nvSpPr>
        <p:spPr/>
        <p:txBody>
          <a:bodyPr/>
          <a:lstStyle/>
          <a:p>
            <a:pPr algn="l"/>
            <a:r>
              <a:rPr lang="en-US"/>
              <a:t>Illinois Perinatal Quality Collaborative</a:t>
            </a:r>
          </a:p>
        </p:txBody>
      </p:sp>
      <p:pic>
        <p:nvPicPr>
          <p:cNvPr id="7" name="Picture 6" descr="A blue pie chart with a number of different colored circles&#10;&#10;Description automatically generated">
            <a:extLst>
              <a:ext uri="{FF2B5EF4-FFF2-40B4-BE49-F238E27FC236}">
                <a16:creationId xmlns:a16="http://schemas.microsoft.com/office/drawing/2014/main" id="{DB88B973-8D9A-30CF-C67C-F3355B614054}"/>
              </a:ext>
            </a:extLst>
          </p:cNvPr>
          <p:cNvPicPr>
            <a:picLocks noChangeAspect="1"/>
          </p:cNvPicPr>
          <p:nvPr/>
        </p:nvPicPr>
        <p:blipFill>
          <a:blip r:embed="rId3"/>
          <a:stretch>
            <a:fillRect/>
          </a:stretch>
        </p:blipFill>
        <p:spPr>
          <a:xfrm>
            <a:off x="5932098" y="1987714"/>
            <a:ext cx="5101086" cy="4032760"/>
          </a:xfrm>
          <a:prstGeom prst="rect">
            <a:avLst/>
          </a:prstGeom>
        </p:spPr>
      </p:pic>
      <p:sp>
        <p:nvSpPr>
          <p:cNvPr id="9" name="Content Placeholder 2">
            <a:extLst>
              <a:ext uri="{FF2B5EF4-FFF2-40B4-BE49-F238E27FC236}">
                <a16:creationId xmlns:a16="http://schemas.microsoft.com/office/drawing/2014/main" id="{98150912-7A4D-8CF4-F429-183917B0EF9E}"/>
              </a:ext>
            </a:extLst>
          </p:cNvPr>
          <p:cNvSpPr>
            <a:spLocks noGrp="1"/>
          </p:cNvSpPr>
          <p:nvPr>
            <p:ph idx="1"/>
          </p:nvPr>
        </p:nvSpPr>
        <p:spPr>
          <a:xfrm>
            <a:off x="767751" y="3217593"/>
            <a:ext cx="4769689" cy="1339940"/>
          </a:xfrm>
        </p:spPr>
        <p:txBody>
          <a:bodyPr vert="horz" lIns="91440" tIns="45720" rIns="91440" bIns="45720" rtlCol="0" anchor="t">
            <a:noAutofit/>
          </a:bodyPr>
          <a:lstStyle/>
          <a:p>
            <a:pPr marL="0" indent="0">
              <a:buNone/>
            </a:pPr>
            <a:r>
              <a:rPr lang="en-US" sz="2800" b="1" dirty="0">
                <a:ea typeface="Lato"/>
                <a:cs typeface="Lato"/>
              </a:rPr>
              <a:t>Does your team engage parents in quality improvement on your unit?</a:t>
            </a:r>
            <a:endParaRPr lang="en-US" sz="2800" b="1" dirty="0"/>
          </a:p>
        </p:txBody>
      </p:sp>
    </p:spTree>
    <p:extLst>
      <p:ext uri="{BB962C8B-B14F-4D97-AF65-F5344CB8AC3E}">
        <p14:creationId xmlns:p14="http://schemas.microsoft.com/office/powerpoint/2010/main" val="10202626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A7EA6-A8BC-1979-2886-87AD1991E00E}"/>
              </a:ext>
            </a:extLst>
          </p:cNvPr>
          <p:cNvSpPr>
            <a:spLocks noGrp="1"/>
          </p:cNvSpPr>
          <p:nvPr>
            <p:ph type="title"/>
          </p:nvPr>
        </p:nvSpPr>
        <p:spPr>
          <a:xfrm>
            <a:off x="304800" y="365125"/>
            <a:ext cx="10972800" cy="1325563"/>
          </a:xfrm>
        </p:spPr>
        <p:txBody>
          <a:bodyPr/>
          <a:lstStyle/>
          <a:p>
            <a:r>
              <a:rPr lang="en-US"/>
              <a:t>Race &amp; Ethnicity Information Collection</a:t>
            </a:r>
          </a:p>
        </p:txBody>
      </p:sp>
      <p:sp>
        <p:nvSpPr>
          <p:cNvPr id="3" name="Content Placeholder 2">
            <a:extLst>
              <a:ext uri="{FF2B5EF4-FFF2-40B4-BE49-F238E27FC236}">
                <a16:creationId xmlns:a16="http://schemas.microsoft.com/office/drawing/2014/main" id="{22D7074D-B494-B92E-736B-139BAB3175B9}"/>
              </a:ext>
            </a:extLst>
          </p:cNvPr>
          <p:cNvSpPr>
            <a:spLocks noGrp="1"/>
          </p:cNvSpPr>
          <p:nvPr>
            <p:ph idx="1"/>
          </p:nvPr>
        </p:nvSpPr>
        <p:spPr>
          <a:xfrm>
            <a:off x="609600" y="1736725"/>
            <a:ext cx="5143500" cy="1325563"/>
          </a:xfrm>
        </p:spPr>
        <p:txBody>
          <a:bodyPr/>
          <a:lstStyle/>
          <a:p>
            <a:pPr marL="0" indent="0">
              <a:buNone/>
            </a:pPr>
            <a:r>
              <a:rPr lang="en-US" b="1"/>
              <a:t>Does your team collect parent / caregivers reported race and ethnicity of their NEWBORN?</a:t>
            </a:r>
          </a:p>
        </p:txBody>
      </p:sp>
      <p:sp>
        <p:nvSpPr>
          <p:cNvPr id="4" name="Slide Number Placeholder 3">
            <a:extLst>
              <a:ext uri="{FF2B5EF4-FFF2-40B4-BE49-F238E27FC236}">
                <a16:creationId xmlns:a16="http://schemas.microsoft.com/office/drawing/2014/main" id="{24F154B2-4E01-4816-22AD-EE966850CD86}"/>
              </a:ext>
            </a:extLst>
          </p:cNvPr>
          <p:cNvSpPr>
            <a:spLocks noGrp="1"/>
          </p:cNvSpPr>
          <p:nvPr>
            <p:ph type="sldNum" sz="quarter" idx="10"/>
          </p:nvPr>
        </p:nvSpPr>
        <p:spPr/>
        <p:txBody>
          <a:bodyPr/>
          <a:lstStyle/>
          <a:p>
            <a:fld id="{97033E4B-E3EB-3D46-B2D8-3159663620FA}" type="slidenum">
              <a:rPr lang="en-US" smtClean="0"/>
              <a:pPr/>
              <a:t>52</a:t>
            </a:fld>
            <a:endParaRPr lang="en-US"/>
          </a:p>
        </p:txBody>
      </p:sp>
      <p:sp>
        <p:nvSpPr>
          <p:cNvPr id="5" name="Footer Placeholder 4">
            <a:extLst>
              <a:ext uri="{FF2B5EF4-FFF2-40B4-BE49-F238E27FC236}">
                <a16:creationId xmlns:a16="http://schemas.microsoft.com/office/drawing/2014/main" id="{9A720EE4-AD24-3AEA-B8EE-8251C06B4F71}"/>
              </a:ext>
            </a:extLst>
          </p:cNvPr>
          <p:cNvSpPr>
            <a:spLocks noGrp="1"/>
          </p:cNvSpPr>
          <p:nvPr>
            <p:ph type="ftr" sz="quarter" idx="11"/>
          </p:nvPr>
        </p:nvSpPr>
        <p:spPr/>
        <p:txBody>
          <a:bodyPr/>
          <a:lstStyle/>
          <a:p>
            <a:pPr algn="l"/>
            <a:r>
              <a:rPr lang="en-US"/>
              <a:t>Illinois Perinatal Quality Collaborative</a:t>
            </a:r>
          </a:p>
        </p:txBody>
      </p:sp>
      <p:pic>
        <p:nvPicPr>
          <p:cNvPr id="8" name="Picture 7" descr="A graph with numbers and a number&#10;&#10;Description automatically generated with medium confidence">
            <a:extLst>
              <a:ext uri="{FF2B5EF4-FFF2-40B4-BE49-F238E27FC236}">
                <a16:creationId xmlns:a16="http://schemas.microsoft.com/office/drawing/2014/main" id="{69FCDDB0-47F5-DBE4-711A-C6061E65FD92}"/>
              </a:ext>
            </a:extLst>
          </p:cNvPr>
          <p:cNvPicPr>
            <a:picLocks noChangeAspect="1"/>
          </p:cNvPicPr>
          <p:nvPr/>
        </p:nvPicPr>
        <p:blipFill>
          <a:blip r:embed="rId3"/>
          <a:stretch>
            <a:fillRect/>
          </a:stretch>
        </p:blipFill>
        <p:spPr>
          <a:xfrm>
            <a:off x="609600" y="3232152"/>
            <a:ext cx="5143500" cy="2366493"/>
          </a:xfrm>
          <a:prstGeom prst="rect">
            <a:avLst/>
          </a:prstGeom>
        </p:spPr>
      </p:pic>
      <p:sp>
        <p:nvSpPr>
          <p:cNvPr id="6" name="TextBox 5">
            <a:extLst>
              <a:ext uri="{FF2B5EF4-FFF2-40B4-BE49-F238E27FC236}">
                <a16:creationId xmlns:a16="http://schemas.microsoft.com/office/drawing/2014/main" id="{6869C5A5-AA49-7E86-16CA-330531D2D3A5}"/>
              </a:ext>
            </a:extLst>
          </p:cNvPr>
          <p:cNvSpPr txBox="1"/>
          <p:nvPr/>
        </p:nvSpPr>
        <p:spPr>
          <a:xfrm>
            <a:off x="6521570" y="1906438"/>
            <a:ext cx="5403011" cy="415498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a:ea typeface="Lato"/>
                <a:cs typeface="Lato"/>
              </a:rPr>
              <a:t> If yes, what is your process to collect parent-reported newborn race and ethnicity data?</a:t>
            </a:r>
          </a:p>
          <a:p>
            <a:endParaRPr lang="en-US" sz="2400" b="1">
              <a:ea typeface="Lato"/>
              <a:cs typeface="Lato"/>
            </a:endParaRPr>
          </a:p>
          <a:p>
            <a:pPr marL="342900" indent="-342900">
              <a:buFont typeface="Arial"/>
              <a:buChar char="•"/>
            </a:pPr>
            <a:r>
              <a:rPr lang="en-US" sz="2400">
                <a:ea typeface="Lato"/>
                <a:cs typeface="Lato"/>
              </a:rPr>
              <a:t>Birth Certificate</a:t>
            </a:r>
            <a:endParaRPr lang="en-US" sz="2400" b="1">
              <a:ea typeface="Lato"/>
              <a:cs typeface="Lato"/>
            </a:endParaRPr>
          </a:p>
          <a:p>
            <a:pPr marL="342900" indent="-342900">
              <a:buFont typeface="Arial"/>
              <a:buChar char="•"/>
            </a:pPr>
            <a:r>
              <a:rPr lang="en-US" sz="2400">
                <a:ea typeface="Lato"/>
                <a:cs typeface="Lato"/>
              </a:rPr>
              <a:t>Admitting asks birthing person</a:t>
            </a:r>
          </a:p>
          <a:p>
            <a:pPr marL="342900" indent="-342900">
              <a:buFont typeface="Arial"/>
              <a:buChar char="•"/>
            </a:pPr>
            <a:r>
              <a:rPr lang="en-US" sz="2400">
                <a:ea typeface="Lato"/>
                <a:cs typeface="Lato"/>
              </a:rPr>
              <a:t>Noted in delivery summary</a:t>
            </a:r>
          </a:p>
          <a:p>
            <a:pPr marL="342900" indent="-342900">
              <a:buFont typeface="Arial"/>
              <a:buChar char="•"/>
            </a:pPr>
            <a:r>
              <a:rPr lang="en-US" sz="2400">
                <a:ea typeface="Lato"/>
                <a:cs typeface="Lato"/>
              </a:rPr>
              <a:t>During registration process</a:t>
            </a:r>
          </a:p>
          <a:p>
            <a:pPr marL="342900" indent="-342900">
              <a:buFont typeface="Arial"/>
              <a:buChar char="•"/>
            </a:pPr>
            <a:r>
              <a:rPr lang="en-US" sz="2400">
                <a:ea typeface="Lato"/>
                <a:cs typeface="Lato"/>
              </a:rPr>
              <a:t>Unit secretary asks birthing person</a:t>
            </a:r>
          </a:p>
          <a:p>
            <a:pPr marL="342900" indent="-342900">
              <a:buFont typeface="Arial"/>
              <a:buChar char="•"/>
            </a:pPr>
            <a:endParaRPr lang="en-US" sz="2400">
              <a:ea typeface="Lato"/>
              <a:cs typeface="Lato"/>
            </a:endParaRPr>
          </a:p>
          <a:p>
            <a:pPr marL="342900" indent="-342900">
              <a:buFont typeface="Arial"/>
              <a:buChar char="•"/>
            </a:pPr>
            <a:endParaRPr lang="en-US" sz="2400">
              <a:ea typeface="Lato"/>
              <a:cs typeface="Lato"/>
            </a:endParaRPr>
          </a:p>
        </p:txBody>
      </p:sp>
    </p:spTree>
    <p:extLst>
      <p:ext uri="{BB962C8B-B14F-4D97-AF65-F5344CB8AC3E}">
        <p14:creationId xmlns:p14="http://schemas.microsoft.com/office/powerpoint/2010/main" val="118145119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A7EA6-A8BC-1979-2886-87AD1991E00E}"/>
              </a:ext>
            </a:extLst>
          </p:cNvPr>
          <p:cNvSpPr>
            <a:spLocks noGrp="1"/>
          </p:cNvSpPr>
          <p:nvPr>
            <p:ph type="title"/>
          </p:nvPr>
        </p:nvSpPr>
        <p:spPr>
          <a:xfrm>
            <a:off x="304800" y="178219"/>
            <a:ext cx="10972800" cy="1325563"/>
          </a:xfrm>
        </p:spPr>
        <p:txBody>
          <a:bodyPr/>
          <a:lstStyle/>
          <a:p>
            <a:r>
              <a:rPr lang="en-US"/>
              <a:t>Race &amp; Ethnicity Information Collection</a:t>
            </a:r>
          </a:p>
        </p:txBody>
      </p:sp>
      <p:sp>
        <p:nvSpPr>
          <p:cNvPr id="4" name="Slide Number Placeholder 3">
            <a:extLst>
              <a:ext uri="{FF2B5EF4-FFF2-40B4-BE49-F238E27FC236}">
                <a16:creationId xmlns:a16="http://schemas.microsoft.com/office/drawing/2014/main" id="{24F154B2-4E01-4816-22AD-EE966850CD86}"/>
              </a:ext>
            </a:extLst>
          </p:cNvPr>
          <p:cNvSpPr>
            <a:spLocks noGrp="1"/>
          </p:cNvSpPr>
          <p:nvPr>
            <p:ph type="sldNum" sz="quarter" idx="10"/>
          </p:nvPr>
        </p:nvSpPr>
        <p:spPr>
          <a:xfrm>
            <a:off x="2786332" y="6284463"/>
            <a:ext cx="2743200" cy="365125"/>
          </a:xfrm>
        </p:spPr>
        <p:txBody>
          <a:bodyPr/>
          <a:lstStyle/>
          <a:p>
            <a:fld id="{97033E4B-E3EB-3D46-B2D8-3159663620FA}" type="slidenum">
              <a:rPr lang="en-US" smtClean="0"/>
              <a:pPr/>
              <a:t>53</a:t>
            </a:fld>
            <a:endParaRPr lang="en-US"/>
          </a:p>
        </p:txBody>
      </p:sp>
      <p:sp>
        <p:nvSpPr>
          <p:cNvPr id="5" name="Footer Placeholder 4">
            <a:extLst>
              <a:ext uri="{FF2B5EF4-FFF2-40B4-BE49-F238E27FC236}">
                <a16:creationId xmlns:a16="http://schemas.microsoft.com/office/drawing/2014/main" id="{9A720EE4-AD24-3AEA-B8EE-8251C06B4F71}"/>
              </a:ext>
            </a:extLst>
          </p:cNvPr>
          <p:cNvSpPr>
            <a:spLocks noGrp="1"/>
          </p:cNvSpPr>
          <p:nvPr>
            <p:ph type="ftr" sz="quarter" idx="11"/>
          </p:nvPr>
        </p:nvSpPr>
        <p:spPr/>
        <p:txBody>
          <a:bodyPr/>
          <a:lstStyle/>
          <a:p>
            <a:pPr algn="l"/>
            <a:r>
              <a:rPr lang="en-US"/>
              <a:t>Illinois Perinatal Quality Collaborative</a:t>
            </a:r>
          </a:p>
        </p:txBody>
      </p:sp>
      <p:sp>
        <p:nvSpPr>
          <p:cNvPr id="6" name="Content Placeholder 2">
            <a:extLst>
              <a:ext uri="{FF2B5EF4-FFF2-40B4-BE49-F238E27FC236}">
                <a16:creationId xmlns:a16="http://schemas.microsoft.com/office/drawing/2014/main" id="{5061076E-BCAA-95BB-947C-06473AB43500}"/>
              </a:ext>
            </a:extLst>
          </p:cNvPr>
          <p:cNvSpPr txBox="1">
            <a:spLocks/>
          </p:cNvSpPr>
          <p:nvPr/>
        </p:nvSpPr>
        <p:spPr>
          <a:xfrm>
            <a:off x="815196" y="1475028"/>
            <a:ext cx="5143500" cy="1541464"/>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a:t>Do you currently review and share neonatal health quality data stratified by race and ethnicity and insurance status?</a:t>
            </a:r>
          </a:p>
          <a:p>
            <a:pPr marL="0" indent="0">
              <a:buNone/>
            </a:pPr>
            <a:endParaRPr lang="en-US" b="1"/>
          </a:p>
        </p:txBody>
      </p:sp>
      <p:pic>
        <p:nvPicPr>
          <p:cNvPr id="10" name="Picture 9" descr="A graph with numbers and a bar&#10;&#10;Description automatically generated">
            <a:extLst>
              <a:ext uri="{FF2B5EF4-FFF2-40B4-BE49-F238E27FC236}">
                <a16:creationId xmlns:a16="http://schemas.microsoft.com/office/drawing/2014/main" id="{25B68D3E-AF30-F369-D540-A435E064866C}"/>
              </a:ext>
            </a:extLst>
          </p:cNvPr>
          <p:cNvPicPr>
            <a:picLocks noChangeAspect="1"/>
          </p:cNvPicPr>
          <p:nvPr/>
        </p:nvPicPr>
        <p:blipFill>
          <a:blip r:embed="rId3"/>
          <a:stretch>
            <a:fillRect/>
          </a:stretch>
        </p:blipFill>
        <p:spPr>
          <a:xfrm>
            <a:off x="728932" y="3357113"/>
            <a:ext cx="4400550" cy="2541933"/>
          </a:xfrm>
          <a:prstGeom prst="rect">
            <a:avLst/>
          </a:prstGeom>
        </p:spPr>
      </p:pic>
      <p:sp>
        <p:nvSpPr>
          <p:cNvPr id="11" name="Rectangle 10">
            <a:extLst>
              <a:ext uri="{FF2B5EF4-FFF2-40B4-BE49-F238E27FC236}">
                <a16:creationId xmlns:a16="http://schemas.microsoft.com/office/drawing/2014/main" id="{1001CA27-B312-ABF1-7B46-5CD64FE61847}"/>
              </a:ext>
            </a:extLst>
          </p:cNvPr>
          <p:cNvSpPr/>
          <p:nvPr/>
        </p:nvSpPr>
        <p:spPr>
          <a:xfrm>
            <a:off x="386034" y="3326371"/>
            <a:ext cx="5562600" cy="1769054"/>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C4CE6283-A808-AE07-353B-1EEB0D5BF6FD}"/>
              </a:ext>
            </a:extLst>
          </p:cNvPr>
          <p:cNvSpPr txBox="1"/>
          <p:nvPr/>
        </p:nvSpPr>
        <p:spPr>
          <a:xfrm>
            <a:off x="6564702" y="1906438"/>
            <a:ext cx="5403011" cy="526297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ea typeface="Lato"/>
                <a:cs typeface="Lato"/>
              </a:rPr>
              <a:t> If yes, what is your process?</a:t>
            </a:r>
          </a:p>
          <a:p>
            <a:endParaRPr lang="en-US" sz="2400" b="1">
              <a:ea typeface="Lato"/>
              <a:cs typeface="Lato"/>
            </a:endParaRPr>
          </a:p>
          <a:p>
            <a:pPr marL="342900" indent="-342900">
              <a:buFont typeface="Arial"/>
              <a:buChar char="•"/>
            </a:pPr>
            <a:r>
              <a:rPr lang="en-US" sz="2400" dirty="0">
                <a:ea typeface="Lato"/>
                <a:cs typeface="Lato"/>
              </a:rPr>
              <a:t>All quality reports are run by race and ethnicity</a:t>
            </a:r>
          </a:p>
          <a:p>
            <a:pPr marL="342900" indent="-342900">
              <a:buFont typeface="Arial"/>
              <a:buChar char="•"/>
            </a:pPr>
            <a:r>
              <a:rPr lang="en-US" sz="2400" dirty="0">
                <a:ea typeface="Lato"/>
                <a:cs typeface="Lato"/>
              </a:rPr>
              <a:t>Auditing breastfeeding rates by race, ethnicity and insurance status and sharing monthly</a:t>
            </a:r>
          </a:p>
          <a:p>
            <a:pPr marL="342900" indent="-342900">
              <a:buFont typeface="Arial"/>
              <a:buChar char="•"/>
            </a:pPr>
            <a:r>
              <a:rPr lang="en-US" sz="2400" dirty="0">
                <a:ea typeface="Lato"/>
                <a:cs typeface="Lato"/>
              </a:rPr>
              <a:t>Shared at staff meetings</a:t>
            </a:r>
          </a:p>
          <a:p>
            <a:pPr marL="342900" indent="-342900">
              <a:buFont typeface="Arial"/>
              <a:buChar char="•"/>
            </a:pPr>
            <a:r>
              <a:rPr lang="en-US" sz="2400" dirty="0">
                <a:ea typeface="Lato"/>
                <a:cs typeface="Lato"/>
              </a:rPr>
              <a:t>Reviewing BASIC data by race, ethnicity and insurance status and reviewing at quarterly meetings</a:t>
            </a:r>
          </a:p>
          <a:p>
            <a:pPr marL="342900" indent="-342900">
              <a:buFont typeface="Arial"/>
              <a:buChar char="•"/>
            </a:pPr>
            <a:endParaRPr lang="en-US" sz="2400">
              <a:ea typeface="Lato"/>
              <a:cs typeface="Lato"/>
            </a:endParaRPr>
          </a:p>
          <a:p>
            <a:pPr marL="342900" indent="-342900">
              <a:buFont typeface="Arial"/>
              <a:buChar char="•"/>
            </a:pPr>
            <a:endParaRPr lang="en-US" sz="2400">
              <a:ea typeface="Lato"/>
              <a:cs typeface="Lato"/>
            </a:endParaRPr>
          </a:p>
          <a:p>
            <a:pPr marL="342900" indent="-342900">
              <a:buFont typeface="Arial"/>
              <a:buChar char="•"/>
            </a:pPr>
            <a:endParaRPr lang="en-US" sz="2400">
              <a:ea typeface="Lato"/>
              <a:cs typeface="Lato"/>
            </a:endParaRPr>
          </a:p>
        </p:txBody>
      </p:sp>
    </p:spTree>
    <p:extLst>
      <p:ext uri="{BB962C8B-B14F-4D97-AF65-F5344CB8AC3E}">
        <p14:creationId xmlns:p14="http://schemas.microsoft.com/office/powerpoint/2010/main" val="92092638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blue circle with a white circle in the middle&#10;&#10;Description automatically generated">
            <a:extLst>
              <a:ext uri="{FF2B5EF4-FFF2-40B4-BE49-F238E27FC236}">
                <a16:creationId xmlns:a16="http://schemas.microsoft.com/office/drawing/2014/main" id="{C88BF1DB-2E91-5702-515D-1D1C5A59FC2D}"/>
              </a:ext>
            </a:extLst>
          </p:cNvPr>
          <p:cNvPicPr>
            <a:picLocks noChangeAspect="1"/>
          </p:cNvPicPr>
          <p:nvPr/>
        </p:nvPicPr>
        <p:blipFill>
          <a:blip r:embed="rId3"/>
          <a:stretch>
            <a:fillRect/>
          </a:stretch>
        </p:blipFill>
        <p:spPr>
          <a:xfrm rot="8743809">
            <a:off x="3611191" y="4407785"/>
            <a:ext cx="2522447" cy="2438014"/>
          </a:xfrm>
          <a:prstGeom prst="rect">
            <a:avLst/>
          </a:prstGeom>
        </p:spPr>
      </p:pic>
      <p:sp>
        <p:nvSpPr>
          <p:cNvPr id="2" name="Title 1">
            <a:extLst>
              <a:ext uri="{FF2B5EF4-FFF2-40B4-BE49-F238E27FC236}">
                <a16:creationId xmlns:a16="http://schemas.microsoft.com/office/drawing/2014/main" id="{44B24493-1739-3B6D-18D7-ED3648A16C47}"/>
              </a:ext>
            </a:extLst>
          </p:cNvPr>
          <p:cNvSpPr>
            <a:spLocks noGrp="1"/>
          </p:cNvSpPr>
          <p:nvPr>
            <p:ph type="title"/>
          </p:nvPr>
        </p:nvSpPr>
        <p:spPr>
          <a:xfrm>
            <a:off x="399587" y="360813"/>
            <a:ext cx="10972800" cy="1325563"/>
          </a:xfrm>
        </p:spPr>
        <p:txBody>
          <a:bodyPr/>
          <a:lstStyle/>
          <a:p>
            <a:r>
              <a:rPr lang="en-US"/>
              <a:t>Safe Sleep Crib Audits </a:t>
            </a:r>
          </a:p>
        </p:txBody>
      </p:sp>
      <p:pic>
        <p:nvPicPr>
          <p:cNvPr id="7" name="Content Placeholder 6" descr="A graph with numbers and a bar&#10;&#10;Description automatically generated">
            <a:extLst>
              <a:ext uri="{FF2B5EF4-FFF2-40B4-BE49-F238E27FC236}">
                <a16:creationId xmlns:a16="http://schemas.microsoft.com/office/drawing/2014/main" id="{3BA0C7FA-6118-DD4E-397F-CAE232E5CE8F}"/>
              </a:ext>
            </a:extLst>
          </p:cNvPr>
          <p:cNvPicPr>
            <a:picLocks noGrp="1" noChangeAspect="1"/>
          </p:cNvPicPr>
          <p:nvPr>
            <p:ph idx="1"/>
          </p:nvPr>
        </p:nvPicPr>
        <p:blipFill>
          <a:blip r:embed="rId4"/>
          <a:stretch>
            <a:fillRect/>
          </a:stretch>
        </p:blipFill>
        <p:spPr>
          <a:xfrm>
            <a:off x="6765284" y="2022381"/>
            <a:ext cx="4607103" cy="2385404"/>
          </a:xfrm>
        </p:spPr>
      </p:pic>
      <p:sp>
        <p:nvSpPr>
          <p:cNvPr id="4" name="Slide Number Placeholder 3">
            <a:extLst>
              <a:ext uri="{FF2B5EF4-FFF2-40B4-BE49-F238E27FC236}">
                <a16:creationId xmlns:a16="http://schemas.microsoft.com/office/drawing/2014/main" id="{A2839FAB-F590-83E3-2CEA-680A78430C0F}"/>
              </a:ext>
            </a:extLst>
          </p:cNvPr>
          <p:cNvSpPr>
            <a:spLocks noGrp="1"/>
          </p:cNvSpPr>
          <p:nvPr>
            <p:ph type="sldNum" sz="quarter" idx="10"/>
          </p:nvPr>
        </p:nvSpPr>
        <p:spPr/>
        <p:txBody>
          <a:bodyPr/>
          <a:lstStyle/>
          <a:p>
            <a:fld id="{97033E4B-E3EB-3D46-B2D8-3159663620FA}" type="slidenum">
              <a:rPr lang="en-US" smtClean="0"/>
              <a:pPr/>
              <a:t>54</a:t>
            </a:fld>
            <a:endParaRPr lang="en-US"/>
          </a:p>
        </p:txBody>
      </p:sp>
      <p:sp>
        <p:nvSpPr>
          <p:cNvPr id="5" name="Footer Placeholder 4">
            <a:extLst>
              <a:ext uri="{FF2B5EF4-FFF2-40B4-BE49-F238E27FC236}">
                <a16:creationId xmlns:a16="http://schemas.microsoft.com/office/drawing/2014/main" id="{1061E36F-0B74-9CD1-ABF6-1128AD7BED1D}"/>
              </a:ext>
            </a:extLst>
          </p:cNvPr>
          <p:cNvSpPr>
            <a:spLocks noGrp="1"/>
          </p:cNvSpPr>
          <p:nvPr>
            <p:ph type="ftr" sz="quarter" idx="11"/>
          </p:nvPr>
        </p:nvSpPr>
        <p:spPr/>
        <p:txBody>
          <a:bodyPr/>
          <a:lstStyle/>
          <a:p>
            <a:pPr algn="l"/>
            <a:r>
              <a:rPr lang="en-US"/>
              <a:t>Illinois Perinatal Quality Collaborative</a:t>
            </a:r>
          </a:p>
        </p:txBody>
      </p:sp>
      <p:sp>
        <p:nvSpPr>
          <p:cNvPr id="8" name="TextBox 7">
            <a:extLst>
              <a:ext uri="{FF2B5EF4-FFF2-40B4-BE49-F238E27FC236}">
                <a16:creationId xmlns:a16="http://schemas.microsoft.com/office/drawing/2014/main" id="{7F77060B-C92C-389D-2533-215F959A7A69}"/>
              </a:ext>
            </a:extLst>
          </p:cNvPr>
          <p:cNvSpPr txBox="1"/>
          <p:nvPr/>
        </p:nvSpPr>
        <p:spPr>
          <a:xfrm>
            <a:off x="5489860" y="1415171"/>
            <a:ext cx="7157949" cy="7694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rtl="0">
              <a:defRPr sz="1800" b="1" i="0" u="none" strike="noStrike" kern="1200" spc="0" baseline="0">
                <a:solidFill>
                  <a:srgbClr val="002060"/>
                </a:solidFill>
                <a:latin typeface="+mn-lt"/>
                <a:ea typeface="+mn-ea"/>
                <a:cs typeface="+mn-cs"/>
              </a:defRPr>
            </a:pPr>
            <a:r>
              <a:rPr lang="en-US" sz="2200" b="1">
                <a:solidFill>
                  <a:schemeClr val="accent3"/>
                </a:solidFill>
              </a:rPr>
              <a:t>Does your NICU regularly do safe sleep crib audits?</a:t>
            </a:r>
          </a:p>
          <a:p>
            <a:pPr algn="ctr" rtl="0">
              <a:defRPr sz="1800" b="1" i="0" u="none" strike="noStrike" kern="1200" spc="0" baseline="0">
                <a:solidFill>
                  <a:srgbClr val="002060"/>
                </a:solidFill>
                <a:latin typeface="+mn-lt"/>
                <a:ea typeface="+mn-ea"/>
                <a:cs typeface="+mn-cs"/>
              </a:defRPr>
            </a:pPr>
            <a:endParaRPr lang="en-US" sz="2200" b="1">
              <a:solidFill>
                <a:schemeClr val="accent3"/>
              </a:solidFill>
            </a:endParaRPr>
          </a:p>
        </p:txBody>
      </p:sp>
      <p:sp>
        <p:nvSpPr>
          <p:cNvPr id="9" name="Rectangle 8">
            <a:extLst>
              <a:ext uri="{FF2B5EF4-FFF2-40B4-BE49-F238E27FC236}">
                <a16:creationId xmlns:a16="http://schemas.microsoft.com/office/drawing/2014/main" id="{4533BA3C-1FF0-EA3A-C44A-4C3EB8B5981E}"/>
              </a:ext>
            </a:extLst>
          </p:cNvPr>
          <p:cNvSpPr/>
          <p:nvPr/>
        </p:nvSpPr>
        <p:spPr>
          <a:xfrm>
            <a:off x="6287535" y="2116374"/>
            <a:ext cx="5562600" cy="1416628"/>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C5117D97-0697-5572-5CF7-457DD1D4830B}"/>
              </a:ext>
            </a:extLst>
          </p:cNvPr>
          <p:cNvSpPr txBox="1"/>
          <p:nvPr/>
        </p:nvSpPr>
        <p:spPr>
          <a:xfrm>
            <a:off x="-392665" y="1344074"/>
            <a:ext cx="7157949" cy="11079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rtl="0">
              <a:defRPr sz="1800" b="1" i="0" u="none" strike="noStrike" kern="1200" spc="0" baseline="0">
                <a:solidFill>
                  <a:srgbClr val="002060"/>
                </a:solidFill>
                <a:latin typeface="+mn-lt"/>
                <a:ea typeface="+mn-ea"/>
                <a:cs typeface="+mn-cs"/>
              </a:defRPr>
            </a:pPr>
            <a:r>
              <a:rPr lang="en-US" sz="2200" b="1">
                <a:solidFill>
                  <a:srgbClr val="7030A0"/>
                </a:solidFill>
              </a:rPr>
              <a:t>Does your Postpartum Unit regularly </a:t>
            </a:r>
          </a:p>
          <a:p>
            <a:pPr algn="ctr" rtl="0">
              <a:defRPr sz="1800" b="1" i="0" u="none" strike="noStrike" kern="1200" spc="0" baseline="0">
                <a:solidFill>
                  <a:srgbClr val="002060"/>
                </a:solidFill>
                <a:latin typeface="+mn-lt"/>
                <a:ea typeface="+mn-ea"/>
                <a:cs typeface="+mn-cs"/>
              </a:defRPr>
            </a:pPr>
            <a:r>
              <a:rPr lang="en-US" sz="2200" b="1">
                <a:solidFill>
                  <a:srgbClr val="7030A0"/>
                </a:solidFill>
              </a:rPr>
              <a:t>do safe sleep crib audits?</a:t>
            </a:r>
          </a:p>
          <a:p>
            <a:pPr algn="ctr" rtl="0">
              <a:defRPr sz="1800" b="1" i="0" u="none" strike="noStrike" kern="1200" spc="0" baseline="0">
                <a:solidFill>
                  <a:srgbClr val="002060"/>
                </a:solidFill>
                <a:latin typeface="+mn-lt"/>
                <a:ea typeface="+mn-ea"/>
                <a:cs typeface="+mn-cs"/>
              </a:defRPr>
            </a:pPr>
            <a:endParaRPr lang="en-US" sz="2200" b="1">
              <a:solidFill>
                <a:srgbClr val="7030A0"/>
              </a:solidFill>
            </a:endParaRPr>
          </a:p>
        </p:txBody>
      </p:sp>
      <p:pic>
        <p:nvPicPr>
          <p:cNvPr id="13" name="Picture 12" descr="A graph with purple bars and numbers&#10;&#10;Description automatically generated">
            <a:extLst>
              <a:ext uri="{FF2B5EF4-FFF2-40B4-BE49-F238E27FC236}">
                <a16:creationId xmlns:a16="http://schemas.microsoft.com/office/drawing/2014/main" id="{7B2FFE4D-7C5E-3B5B-135B-E815375F77DF}"/>
              </a:ext>
            </a:extLst>
          </p:cNvPr>
          <p:cNvPicPr>
            <a:picLocks noChangeAspect="1"/>
          </p:cNvPicPr>
          <p:nvPr/>
        </p:nvPicPr>
        <p:blipFill>
          <a:blip r:embed="rId5"/>
          <a:stretch>
            <a:fillRect/>
          </a:stretch>
        </p:blipFill>
        <p:spPr>
          <a:xfrm>
            <a:off x="703462" y="1992970"/>
            <a:ext cx="5106325" cy="2338411"/>
          </a:xfrm>
          <a:prstGeom prst="rect">
            <a:avLst/>
          </a:prstGeom>
        </p:spPr>
      </p:pic>
      <p:sp>
        <p:nvSpPr>
          <p:cNvPr id="14" name="Rectangle 13">
            <a:extLst>
              <a:ext uri="{FF2B5EF4-FFF2-40B4-BE49-F238E27FC236}">
                <a16:creationId xmlns:a16="http://schemas.microsoft.com/office/drawing/2014/main" id="{5BDDA37C-68DE-2E7D-6906-8B2A42EE8121}"/>
              </a:ext>
            </a:extLst>
          </p:cNvPr>
          <p:cNvSpPr/>
          <p:nvPr/>
        </p:nvSpPr>
        <p:spPr>
          <a:xfrm>
            <a:off x="475324" y="2125126"/>
            <a:ext cx="5562600" cy="1416628"/>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CC3B8245-BEAD-58A1-6EA7-E7C6DBC000F7}"/>
              </a:ext>
            </a:extLst>
          </p:cNvPr>
          <p:cNvSpPr txBox="1"/>
          <p:nvPr/>
        </p:nvSpPr>
        <p:spPr>
          <a:xfrm>
            <a:off x="1420214" y="4914539"/>
            <a:ext cx="2075988" cy="923330"/>
          </a:xfrm>
          <a:prstGeom prst="rect">
            <a:avLst/>
          </a:prstGeom>
          <a:noFill/>
        </p:spPr>
        <p:txBody>
          <a:bodyPr wrap="square" rtlCol="0">
            <a:spAutoFit/>
          </a:bodyPr>
          <a:lstStyle/>
          <a:p>
            <a:r>
              <a:rPr lang="en-US" b="1"/>
              <a:t>What electronic medical record do you currently use? </a:t>
            </a:r>
          </a:p>
        </p:txBody>
      </p:sp>
      <p:sp>
        <p:nvSpPr>
          <p:cNvPr id="20" name="TextBox 19">
            <a:extLst>
              <a:ext uri="{FF2B5EF4-FFF2-40B4-BE49-F238E27FC236}">
                <a16:creationId xmlns:a16="http://schemas.microsoft.com/office/drawing/2014/main" id="{FF9AFA8E-7A14-CBCA-EBEB-65153E48DC87}"/>
              </a:ext>
            </a:extLst>
          </p:cNvPr>
          <p:cNvSpPr txBox="1"/>
          <p:nvPr/>
        </p:nvSpPr>
        <p:spPr>
          <a:xfrm>
            <a:off x="5727290" y="4406856"/>
            <a:ext cx="2075988" cy="369332"/>
          </a:xfrm>
          <a:prstGeom prst="rect">
            <a:avLst/>
          </a:prstGeom>
          <a:noFill/>
        </p:spPr>
        <p:txBody>
          <a:bodyPr wrap="square" rtlCol="0">
            <a:spAutoFit/>
          </a:bodyPr>
          <a:lstStyle/>
          <a:p>
            <a:r>
              <a:rPr lang="en-US" b="1" i="1"/>
              <a:t>Epic 72%</a:t>
            </a:r>
          </a:p>
        </p:txBody>
      </p:sp>
      <p:sp>
        <p:nvSpPr>
          <p:cNvPr id="21" name="TextBox 20">
            <a:extLst>
              <a:ext uri="{FF2B5EF4-FFF2-40B4-BE49-F238E27FC236}">
                <a16:creationId xmlns:a16="http://schemas.microsoft.com/office/drawing/2014/main" id="{8C5F0AED-B4B4-EDD0-7206-62F2A0B1AD24}"/>
              </a:ext>
            </a:extLst>
          </p:cNvPr>
          <p:cNvSpPr txBox="1"/>
          <p:nvPr/>
        </p:nvSpPr>
        <p:spPr>
          <a:xfrm>
            <a:off x="5924659" y="5089897"/>
            <a:ext cx="2075988" cy="369332"/>
          </a:xfrm>
          <a:prstGeom prst="rect">
            <a:avLst/>
          </a:prstGeom>
          <a:noFill/>
        </p:spPr>
        <p:txBody>
          <a:bodyPr wrap="square" rtlCol="0">
            <a:spAutoFit/>
          </a:bodyPr>
          <a:lstStyle/>
          <a:p>
            <a:r>
              <a:rPr lang="en-US" b="1" i="1"/>
              <a:t>Cerner 16%</a:t>
            </a:r>
          </a:p>
        </p:txBody>
      </p:sp>
      <p:sp>
        <p:nvSpPr>
          <p:cNvPr id="22" name="TextBox 21">
            <a:extLst>
              <a:ext uri="{FF2B5EF4-FFF2-40B4-BE49-F238E27FC236}">
                <a16:creationId xmlns:a16="http://schemas.microsoft.com/office/drawing/2014/main" id="{920F66AD-2474-0091-8A6D-03B4AF43F31E}"/>
              </a:ext>
            </a:extLst>
          </p:cNvPr>
          <p:cNvSpPr txBox="1"/>
          <p:nvPr/>
        </p:nvSpPr>
        <p:spPr>
          <a:xfrm>
            <a:off x="5885987" y="5754421"/>
            <a:ext cx="2075988" cy="369332"/>
          </a:xfrm>
          <a:prstGeom prst="rect">
            <a:avLst/>
          </a:prstGeom>
          <a:noFill/>
        </p:spPr>
        <p:txBody>
          <a:bodyPr wrap="square" rtlCol="0">
            <a:spAutoFit/>
          </a:bodyPr>
          <a:lstStyle/>
          <a:p>
            <a:r>
              <a:rPr lang="en-US" b="1" i="1"/>
              <a:t>Meditech 8%</a:t>
            </a:r>
          </a:p>
        </p:txBody>
      </p:sp>
      <p:sp>
        <p:nvSpPr>
          <p:cNvPr id="23" name="TextBox 22">
            <a:extLst>
              <a:ext uri="{FF2B5EF4-FFF2-40B4-BE49-F238E27FC236}">
                <a16:creationId xmlns:a16="http://schemas.microsoft.com/office/drawing/2014/main" id="{42F50F1A-02AF-3AD4-2D4F-5D7FF52B5790}"/>
              </a:ext>
            </a:extLst>
          </p:cNvPr>
          <p:cNvSpPr txBox="1"/>
          <p:nvPr/>
        </p:nvSpPr>
        <p:spPr>
          <a:xfrm>
            <a:off x="5727290" y="6418945"/>
            <a:ext cx="2075988" cy="369332"/>
          </a:xfrm>
          <a:prstGeom prst="rect">
            <a:avLst/>
          </a:prstGeom>
          <a:noFill/>
        </p:spPr>
        <p:txBody>
          <a:bodyPr wrap="square" rtlCol="0">
            <a:spAutoFit/>
          </a:bodyPr>
          <a:lstStyle/>
          <a:p>
            <a:r>
              <a:rPr lang="en-US" b="1" i="1"/>
              <a:t>Other 4%</a:t>
            </a:r>
          </a:p>
        </p:txBody>
      </p:sp>
    </p:spTree>
    <p:extLst>
      <p:ext uri="{BB962C8B-B14F-4D97-AF65-F5344CB8AC3E}">
        <p14:creationId xmlns:p14="http://schemas.microsoft.com/office/powerpoint/2010/main" val="419105079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2174"/>
        <p:cNvGrpSpPr/>
        <p:nvPr/>
      </p:nvGrpSpPr>
      <p:grpSpPr>
        <a:xfrm>
          <a:off x="0" y="0"/>
          <a:ext cx="0" cy="0"/>
          <a:chOff x="0" y="0"/>
          <a:chExt cx="0" cy="0"/>
        </a:xfrm>
      </p:grpSpPr>
      <p:sp>
        <p:nvSpPr>
          <p:cNvPr id="2175" name="Google Shape;2175;p5"/>
          <p:cNvSpPr txBox="1">
            <a:spLocks noGrp="1"/>
          </p:cNvSpPr>
          <p:nvPr>
            <p:ph type="body" idx="1"/>
          </p:nvPr>
        </p:nvSpPr>
        <p:spPr>
          <a:xfrm>
            <a:off x="7302725" y="2293511"/>
            <a:ext cx="4629600" cy="3372564"/>
          </a:xfrm>
          <a:prstGeom prst="rect">
            <a:avLst/>
          </a:prstGeom>
          <a:noFill/>
          <a:ln>
            <a:noFill/>
          </a:ln>
        </p:spPr>
        <p:txBody>
          <a:bodyPr spcFirstLastPara="1" wrap="square" lIns="91425" tIns="45700" rIns="91425" bIns="45700" anchor="t" anchorCtr="0">
            <a:noAutofit/>
          </a:bodyPr>
          <a:lstStyle/>
          <a:p>
            <a:pPr marL="0" indent="0" algn="ctr">
              <a:spcBef>
                <a:spcPts val="0"/>
              </a:spcBef>
              <a:buSzPts val="2400"/>
              <a:buNone/>
            </a:pPr>
            <a:r>
              <a:rPr lang="en-US" sz="2900" dirty="0"/>
              <a:t>The goal of the ESSI initiative is to better equip hospitals to address the issues that contribute to these disparities in infant mortality.</a:t>
            </a:r>
          </a:p>
          <a:p>
            <a:pPr marL="0" lvl="0" indent="0" algn="ctr">
              <a:lnSpc>
                <a:spcPct val="100000"/>
              </a:lnSpc>
              <a:spcBef>
                <a:spcPts val="0"/>
              </a:spcBef>
              <a:spcAft>
                <a:spcPts val="0"/>
              </a:spcAft>
              <a:buSzPts val="2400"/>
              <a:buNone/>
            </a:pPr>
            <a:endParaRPr lang="en-US" sz="2900"/>
          </a:p>
          <a:p>
            <a:pPr marL="0" indent="0" algn="ctr">
              <a:spcBef>
                <a:spcPts val="0"/>
              </a:spcBef>
              <a:buSzPts val="2400"/>
              <a:buNone/>
            </a:pPr>
            <a:endParaRPr lang="en-US" sz="3600" b="1" dirty="0"/>
          </a:p>
          <a:p>
            <a:pPr marL="228600" indent="-76200">
              <a:spcBef>
                <a:spcPts val="2000"/>
              </a:spcBef>
              <a:buSzPts val="2400"/>
              <a:buNone/>
            </a:pPr>
            <a:endParaRPr lang="en-US"/>
          </a:p>
          <a:p>
            <a:pPr marL="228600" indent="-50800">
              <a:spcBef>
                <a:spcPts val="2000"/>
              </a:spcBef>
              <a:buSzPts val="2800"/>
              <a:buNone/>
            </a:pPr>
            <a:endParaRPr lang="en-US" sz="2800"/>
          </a:p>
        </p:txBody>
      </p:sp>
      <p:sp>
        <p:nvSpPr>
          <p:cNvPr id="2176" name="Google Shape;2176;p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lnSpc>
                <a:spcPct val="100000"/>
              </a:lnSpc>
              <a:spcBef>
                <a:spcPts val="0"/>
              </a:spcBef>
              <a:spcAft>
                <a:spcPts val="0"/>
              </a:spcAft>
              <a:buSzPts val="1200"/>
              <a:buNone/>
            </a:pPr>
            <a:fld id="{00000000-1234-1234-1234-123412341234}" type="slidenum">
              <a:rPr lang="en-US"/>
              <a:t>55</a:t>
            </a:fld>
            <a:endParaRPr/>
          </a:p>
        </p:txBody>
      </p:sp>
      <p:sp>
        <p:nvSpPr>
          <p:cNvPr id="2177" name="Google Shape;2177;p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400"/>
              <a:buNone/>
            </a:pPr>
            <a:r>
              <a:rPr lang="en-US"/>
              <a:t>Illinois Perinatal Quality Collaborative</a:t>
            </a:r>
            <a:endParaRPr/>
          </a:p>
        </p:txBody>
      </p:sp>
      <p:sp>
        <p:nvSpPr>
          <p:cNvPr id="2178" name="Google Shape;2178;p5" descr="https://usc-powerpoint.officeapps.live.com/pods/GetClipboardImage.ashx?Id=5ceb49b5-a84b-43cc-a243-53b54dce9c7e&amp;DC=PUS6&amp;pkey=72ad52c9-342b-4945-8f9f-de143e77756c&amp;wdwaccluster=PUS6"/>
          <p:cNvSpPr/>
          <p:nvPr/>
        </p:nvSpPr>
        <p:spPr>
          <a:xfrm>
            <a:off x="212725" y="-144463"/>
            <a:ext cx="304800" cy="304801"/>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2179" name="Google Shape;2179;p5" descr="Shape&#10;&#10;Description automatically generated"/>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2498" y="-3747"/>
            <a:ext cx="6865495" cy="6853003"/>
          </a:xfrm>
          <a:prstGeom prst="rect">
            <a:avLst/>
          </a:prstGeom>
          <a:noFill/>
          <a:ln>
            <a:noFill/>
          </a:ln>
        </p:spPr>
      </p:pic>
      <p:sp>
        <p:nvSpPr>
          <p:cNvPr id="2180" name="Google Shape;2180;p5"/>
          <p:cNvSpPr txBox="1"/>
          <p:nvPr/>
        </p:nvSpPr>
        <p:spPr>
          <a:xfrm>
            <a:off x="1526498" y="1722003"/>
            <a:ext cx="3659345" cy="3785611"/>
          </a:xfrm>
          <a:prstGeom prst="rect">
            <a:avLst/>
          </a:prstGeom>
          <a:noFill/>
          <a:ln>
            <a:noFill/>
          </a:ln>
        </p:spPr>
        <p:txBody>
          <a:bodyPr spcFirstLastPara="1" wrap="square" lIns="91425" tIns="45700" rIns="91425" bIns="45700" anchor="t" anchorCtr="0">
            <a:spAutoFit/>
          </a:bodyPr>
          <a:lstStyle/>
          <a:p>
            <a:pPr algn="ctr">
              <a:buClr>
                <a:srgbClr val="000000"/>
              </a:buClr>
              <a:buSzPts val="2400"/>
            </a:pPr>
            <a:r>
              <a:rPr lang="en-US" sz="2400" b="0" i="0" u="none" strike="noStrike" cap="none" dirty="0">
                <a:solidFill>
                  <a:srgbClr val="444C55"/>
                </a:solidFill>
                <a:latin typeface="Calibri"/>
                <a:ea typeface="Calibri"/>
                <a:cs typeface="Calibri"/>
                <a:sym typeface="Calibri"/>
              </a:rPr>
              <a:t> ILPQC has an opportunity to prevent infant deaths and reduce racial disparities through a quality framework. </a:t>
            </a:r>
            <a:r>
              <a:rPr lang="en-US" sz="2400" dirty="0">
                <a:solidFill>
                  <a:srgbClr val="444C55"/>
                </a:solidFill>
                <a:latin typeface="Calibri"/>
                <a:ea typeface="Calibri"/>
                <a:cs typeface="Calibri"/>
                <a:sym typeface="Calibri"/>
              </a:rPr>
              <a:t>ESSI</a:t>
            </a:r>
            <a:r>
              <a:rPr lang="en-US" sz="2400" b="0" i="0" u="none" strike="noStrike" cap="none" dirty="0">
                <a:solidFill>
                  <a:srgbClr val="444C55"/>
                </a:solidFill>
                <a:latin typeface="Calibri"/>
                <a:ea typeface="Calibri"/>
                <a:cs typeface="Calibri"/>
                <a:sym typeface="Calibri"/>
              </a:rPr>
              <a:t> will address infant safe sleep environment,</a:t>
            </a:r>
            <a:r>
              <a:rPr lang="en-US" sz="2400" dirty="0">
                <a:solidFill>
                  <a:srgbClr val="444C55"/>
                </a:solidFill>
                <a:latin typeface="Calibri"/>
                <a:ea typeface="Calibri"/>
                <a:cs typeface="Calibri"/>
                <a:sym typeface="Calibri"/>
              </a:rPr>
              <a:t> respectful </a:t>
            </a:r>
            <a:r>
              <a:rPr lang="en-US" sz="2400" dirty="0" err="1">
                <a:solidFill>
                  <a:srgbClr val="444C55"/>
                </a:solidFill>
                <a:latin typeface="Calibri"/>
                <a:ea typeface="Calibri"/>
                <a:cs typeface="Calibri"/>
                <a:sym typeface="Calibri"/>
              </a:rPr>
              <a:t>care,inequity</a:t>
            </a:r>
            <a:r>
              <a:rPr lang="en-US" sz="2400" b="0" i="0" u="none" strike="noStrike" cap="none" dirty="0">
                <a:solidFill>
                  <a:srgbClr val="444C55"/>
                </a:solidFill>
                <a:latin typeface="Calibri"/>
                <a:ea typeface="Calibri"/>
                <a:cs typeface="Calibri"/>
                <a:sym typeface="Calibri"/>
              </a:rPr>
              <a:t>, </a:t>
            </a:r>
            <a:r>
              <a:rPr lang="en-US" sz="2400" dirty="0">
                <a:solidFill>
                  <a:srgbClr val="444C55"/>
                </a:solidFill>
                <a:latin typeface="Calibri"/>
                <a:ea typeface="Calibri"/>
                <a:cs typeface="Calibri"/>
                <a:sym typeface="Calibri"/>
              </a:rPr>
              <a:t>and social</a:t>
            </a:r>
            <a:r>
              <a:rPr lang="en-US" sz="2400" b="0" i="0" u="none" strike="noStrike" cap="none" dirty="0">
                <a:solidFill>
                  <a:srgbClr val="444C55"/>
                </a:solidFill>
                <a:latin typeface="Calibri"/>
                <a:ea typeface="Calibri"/>
                <a:cs typeface="Calibri"/>
                <a:sym typeface="Calibri"/>
              </a:rPr>
              <a:t> determinants of health</a:t>
            </a:r>
            <a:endParaRPr lang="en-US" sz="2400" b="0" i="0" u="none" strike="noStrike" cap="none" dirty="0">
              <a:solidFill>
                <a:srgbClr val="444C55"/>
              </a:solidFill>
              <a:latin typeface="Calibri"/>
              <a:ea typeface="Calibri"/>
              <a:cs typeface="Calibri"/>
            </a:endParaRPr>
          </a:p>
        </p:txBody>
      </p:sp>
      <p:sp>
        <p:nvSpPr>
          <p:cNvPr id="2181" name="Google Shape;2181;p5"/>
          <p:cNvSpPr txBox="1">
            <a:spLocks noGrp="1"/>
          </p:cNvSpPr>
          <p:nvPr>
            <p:ph type="title"/>
          </p:nvPr>
        </p:nvSpPr>
        <p:spPr>
          <a:xfrm>
            <a:off x="284813" y="2863"/>
            <a:ext cx="4342263" cy="1325563"/>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Clr>
                <a:schemeClr val="lt1"/>
              </a:buClr>
              <a:buSzPts val="3600"/>
              <a:buFont typeface="Calibri"/>
              <a:buNone/>
            </a:pPr>
            <a:r>
              <a:rPr lang="en-US">
                <a:solidFill>
                  <a:schemeClr val="lt1"/>
                </a:solidFill>
              </a:rPr>
              <a:t>ESSI Initiative Vision</a:t>
            </a:r>
            <a:endParaRPr/>
          </a:p>
        </p:txBody>
      </p:sp>
    </p:spTree>
    <p:extLst>
      <p:ext uri="{BB962C8B-B14F-4D97-AF65-F5344CB8AC3E}">
        <p14:creationId xmlns:p14="http://schemas.microsoft.com/office/powerpoint/2010/main" val="275956551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1845693" y="484263"/>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3" name="Freeform 3"/>
          <p:cNvSpPr/>
          <p:nvPr/>
        </p:nvSpPr>
        <p:spPr>
          <a:xfrm>
            <a:off x="1845693" y="1550509"/>
            <a:ext cx="4030857" cy="685246"/>
          </a:xfrm>
          <a:custGeom>
            <a:avLst/>
            <a:gdLst/>
            <a:ahLst/>
            <a:cxnLst/>
            <a:rect l="l" t="t" r="r" b="b"/>
            <a:pathLst>
              <a:path w="6046286" h="1027869">
                <a:moveTo>
                  <a:pt x="0" y="0"/>
                </a:moveTo>
                <a:lnTo>
                  <a:pt x="6046286" y="0"/>
                </a:lnTo>
                <a:lnTo>
                  <a:pt x="6046286" y="1027868"/>
                </a:lnTo>
                <a:lnTo>
                  <a:pt x="0" y="1027868"/>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4" name="Freeform 4"/>
          <p:cNvSpPr/>
          <p:nvPr/>
        </p:nvSpPr>
        <p:spPr>
          <a:xfrm>
            <a:off x="1845693" y="2616754"/>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5" name="Freeform 5"/>
          <p:cNvSpPr/>
          <p:nvPr/>
        </p:nvSpPr>
        <p:spPr>
          <a:xfrm>
            <a:off x="1845693" y="3719974"/>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6" name="Freeform 6"/>
          <p:cNvSpPr/>
          <p:nvPr/>
        </p:nvSpPr>
        <p:spPr>
          <a:xfrm>
            <a:off x="1845693" y="4786220"/>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7" name="Freeform 7"/>
          <p:cNvSpPr/>
          <p:nvPr/>
        </p:nvSpPr>
        <p:spPr>
          <a:xfrm>
            <a:off x="4269331" y="1475298"/>
            <a:ext cx="1176995" cy="835667"/>
          </a:xfrm>
          <a:custGeom>
            <a:avLst/>
            <a:gdLst/>
            <a:ahLst/>
            <a:cxnLst/>
            <a:rect l="l" t="t" r="r" b="b"/>
            <a:pathLst>
              <a:path w="1765493" h="1253500">
                <a:moveTo>
                  <a:pt x="0" y="0"/>
                </a:moveTo>
                <a:lnTo>
                  <a:pt x="1765493" y="0"/>
                </a:lnTo>
                <a:lnTo>
                  <a:pt x="1765493" y="1253500"/>
                </a:lnTo>
                <a:lnTo>
                  <a:pt x="0" y="125350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8" name="Freeform 8"/>
          <p:cNvSpPr/>
          <p:nvPr/>
        </p:nvSpPr>
        <p:spPr>
          <a:xfrm>
            <a:off x="4435542" y="337989"/>
            <a:ext cx="844571" cy="977795"/>
          </a:xfrm>
          <a:custGeom>
            <a:avLst/>
            <a:gdLst/>
            <a:ahLst/>
            <a:cxnLst/>
            <a:rect l="l" t="t" r="r" b="b"/>
            <a:pathLst>
              <a:path w="1266856" h="1466693">
                <a:moveTo>
                  <a:pt x="0" y="0"/>
                </a:moveTo>
                <a:lnTo>
                  <a:pt x="1266857" y="0"/>
                </a:lnTo>
                <a:lnTo>
                  <a:pt x="1266857" y="1466693"/>
                </a:lnTo>
                <a:lnTo>
                  <a:pt x="0" y="1466693"/>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9" name="Freeform 9"/>
          <p:cNvSpPr/>
          <p:nvPr/>
        </p:nvSpPr>
        <p:spPr>
          <a:xfrm>
            <a:off x="4359071" y="2554817"/>
            <a:ext cx="997512" cy="874183"/>
          </a:xfrm>
          <a:custGeom>
            <a:avLst/>
            <a:gdLst/>
            <a:ahLst/>
            <a:cxnLst/>
            <a:rect l="l" t="t" r="r" b="b"/>
            <a:pathLst>
              <a:path w="1496268" h="1311275">
                <a:moveTo>
                  <a:pt x="0" y="0"/>
                </a:moveTo>
                <a:lnTo>
                  <a:pt x="1496269" y="0"/>
                </a:lnTo>
                <a:lnTo>
                  <a:pt x="1496269" y="1311275"/>
                </a:lnTo>
                <a:lnTo>
                  <a:pt x="0" y="1311275"/>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10" name="Freeform 10"/>
          <p:cNvSpPr/>
          <p:nvPr/>
        </p:nvSpPr>
        <p:spPr>
          <a:xfrm>
            <a:off x="4335393" y="3532928"/>
            <a:ext cx="1021191" cy="1080626"/>
          </a:xfrm>
          <a:custGeom>
            <a:avLst/>
            <a:gdLst/>
            <a:ahLst/>
            <a:cxnLst/>
            <a:rect l="l" t="t" r="r" b="b"/>
            <a:pathLst>
              <a:path w="1531787" h="1620939">
                <a:moveTo>
                  <a:pt x="0" y="0"/>
                </a:moveTo>
                <a:lnTo>
                  <a:pt x="1531787" y="0"/>
                </a:lnTo>
                <a:lnTo>
                  <a:pt x="1531787" y="1620939"/>
                </a:lnTo>
                <a:lnTo>
                  <a:pt x="0" y="1620939"/>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sp>
      <p:sp>
        <p:nvSpPr>
          <p:cNvPr id="11" name="Freeform 11"/>
          <p:cNvSpPr/>
          <p:nvPr/>
        </p:nvSpPr>
        <p:spPr>
          <a:xfrm>
            <a:off x="4437945" y="4715153"/>
            <a:ext cx="1008380" cy="1016000"/>
          </a:xfrm>
          <a:custGeom>
            <a:avLst/>
            <a:gdLst/>
            <a:ahLst/>
            <a:cxnLst/>
            <a:rect l="l" t="t" r="r" b="b"/>
            <a:pathLst>
              <a:path w="1512570" h="1524000">
                <a:moveTo>
                  <a:pt x="0" y="0"/>
                </a:moveTo>
                <a:lnTo>
                  <a:pt x="1512570" y="0"/>
                </a:lnTo>
                <a:lnTo>
                  <a:pt x="1512570" y="1524000"/>
                </a:lnTo>
                <a:lnTo>
                  <a:pt x="0" y="1524000"/>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sp>
      <p:sp>
        <p:nvSpPr>
          <p:cNvPr id="12" name="TextBox 12"/>
          <p:cNvSpPr txBox="1"/>
          <p:nvPr/>
        </p:nvSpPr>
        <p:spPr>
          <a:xfrm>
            <a:off x="2074739" y="618394"/>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1</a:t>
            </a:r>
          </a:p>
        </p:txBody>
      </p:sp>
      <p:sp>
        <p:nvSpPr>
          <p:cNvPr id="13" name="TextBox 13"/>
          <p:cNvSpPr txBox="1"/>
          <p:nvPr/>
        </p:nvSpPr>
        <p:spPr>
          <a:xfrm>
            <a:off x="2074739" y="1684639"/>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2</a:t>
            </a:r>
          </a:p>
        </p:txBody>
      </p:sp>
      <p:sp>
        <p:nvSpPr>
          <p:cNvPr id="14" name="TextBox 14"/>
          <p:cNvSpPr txBox="1"/>
          <p:nvPr/>
        </p:nvSpPr>
        <p:spPr>
          <a:xfrm>
            <a:off x="2074739" y="2750885"/>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3</a:t>
            </a:r>
          </a:p>
        </p:txBody>
      </p:sp>
      <p:sp>
        <p:nvSpPr>
          <p:cNvPr id="15" name="TextBox 15"/>
          <p:cNvSpPr txBox="1"/>
          <p:nvPr/>
        </p:nvSpPr>
        <p:spPr>
          <a:xfrm>
            <a:off x="6096000" y="711200"/>
            <a:ext cx="5573501" cy="337978"/>
          </a:xfrm>
          <a:prstGeom prst="rect">
            <a:avLst/>
          </a:prstGeom>
        </p:spPr>
        <p:txBody>
          <a:bodyPr lIns="0" tIns="0" rIns="0" bIns="0" rtlCol="0" anchor="t">
            <a:spAutoFit/>
          </a:bodyPr>
          <a:lstStyle/>
          <a:p>
            <a:pPr>
              <a:lnSpc>
                <a:spcPts val="2640"/>
              </a:lnSpc>
            </a:pPr>
            <a:r>
              <a:rPr lang="en-US" sz="2400">
                <a:solidFill>
                  <a:srgbClr val="545454"/>
                </a:solidFill>
                <a:latin typeface="DM Sans"/>
              </a:rPr>
              <a:t>Healthcare Professional Commitment</a:t>
            </a:r>
          </a:p>
        </p:txBody>
      </p:sp>
      <p:sp>
        <p:nvSpPr>
          <p:cNvPr id="16" name="TextBox 16"/>
          <p:cNvSpPr txBox="1"/>
          <p:nvPr/>
        </p:nvSpPr>
        <p:spPr>
          <a:xfrm>
            <a:off x="6096000" y="1727818"/>
            <a:ext cx="4569889" cy="362087"/>
          </a:xfrm>
          <a:prstGeom prst="rect">
            <a:avLst/>
          </a:prstGeom>
        </p:spPr>
        <p:txBody>
          <a:bodyPr lIns="0" tIns="0" rIns="0" bIns="0" rtlCol="0" anchor="t">
            <a:spAutoFit/>
          </a:bodyPr>
          <a:lstStyle/>
          <a:p>
            <a:pPr>
              <a:lnSpc>
                <a:spcPts val="2787"/>
              </a:lnSpc>
            </a:pPr>
            <a:r>
              <a:rPr lang="en-US" sz="2533">
                <a:solidFill>
                  <a:srgbClr val="545454"/>
                </a:solidFill>
                <a:latin typeface="DM Sans"/>
              </a:rPr>
              <a:t>Inclusive Clinical Environment</a:t>
            </a:r>
          </a:p>
        </p:txBody>
      </p:sp>
      <p:sp>
        <p:nvSpPr>
          <p:cNvPr id="17" name="TextBox 17"/>
          <p:cNvSpPr txBox="1"/>
          <p:nvPr/>
        </p:nvSpPr>
        <p:spPr>
          <a:xfrm>
            <a:off x="6096000" y="2825179"/>
            <a:ext cx="5573501" cy="337978"/>
          </a:xfrm>
          <a:prstGeom prst="rect">
            <a:avLst/>
          </a:prstGeom>
        </p:spPr>
        <p:txBody>
          <a:bodyPr lIns="0" tIns="0" rIns="0" bIns="0" rtlCol="0" anchor="t">
            <a:spAutoFit/>
          </a:bodyPr>
          <a:lstStyle/>
          <a:p>
            <a:pPr>
              <a:lnSpc>
                <a:spcPts val="2640"/>
              </a:lnSpc>
            </a:pPr>
            <a:r>
              <a:rPr lang="en-US" sz="2400">
                <a:solidFill>
                  <a:srgbClr val="545454"/>
                </a:solidFill>
                <a:latin typeface="DM Sans"/>
              </a:rPr>
              <a:t>Parents and Caregiver Empowerment</a:t>
            </a:r>
          </a:p>
        </p:txBody>
      </p:sp>
      <p:sp>
        <p:nvSpPr>
          <p:cNvPr id="18" name="TextBox 18"/>
          <p:cNvSpPr txBox="1"/>
          <p:nvPr/>
        </p:nvSpPr>
        <p:spPr>
          <a:xfrm>
            <a:off x="2074739" y="3854105"/>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4</a:t>
            </a:r>
          </a:p>
        </p:txBody>
      </p:sp>
      <p:sp>
        <p:nvSpPr>
          <p:cNvPr id="19" name="TextBox 19"/>
          <p:cNvSpPr txBox="1"/>
          <p:nvPr/>
        </p:nvSpPr>
        <p:spPr>
          <a:xfrm>
            <a:off x="2074739" y="4957670"/>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5</a:t>
            </a:r>
          </a:p>
        </p:txBody>
      </p:sp>
      <p:sp>
        <p:nvSpPr>
          <p:cNvPr id="20" name="TextBox 20"/>
          <p:cNvSpPr txBox="1"/>
          <p:nvPr/>
        </p:nvSpPr>
        <p:spPr>
          <a:xfrm>
            <a:off x="6096000" y="5000849"/>
            <a:ext cx="4569889" cy="362087"/>
          </a:xfrm>
          <a:prstGeom prst="rect">
            <a:avLst/>
          </a:prstGeom>
        </p:spPr>
        <p:txBody>
          <a:bodyPr lIns="0" tIns="0" rIns="0" bIns="0" rtlCol="0" anchor="t">
            <a:spAutoFit/>
          </a:bodyPr>
          <a:lstStyle/>
          <a:p>
            <a:pPr>
              <a:lnSpc>
                <a:spcPts val="2787"/>
              </a:lnSpc>
            </a:pPr>
            <a:r>
              <a:rPr lang="en-US" sz="2533">
                <a:solidFill>
                  <a:srgbClr val="545454"/>
                </a:solidFill>
                <a:latin typeface="DM Sans"/>
              </a:rPr>
              <a:t>Healthcare Data Utilization</a:t>
            </a:r>
          </a:p>
        </p:txBody>
      </p:sp>
      <p:sp>
        <p:nvSpPr>
          <p:cNvPr id="21" name="TextBox 21"/>
          <p:cNvSpPr txBox="1"/>
          <p:nvPr/>
        </p:nvSpPr>
        <p:spPr>
          <a:xfrm>
            <a:off x="6096000" y="3903413"/>
            <a:ext cx="4569889" cy="362087"/>
          </a:xfrm>
          <a:prstGeom prst="rect">
            <a:avLst/>
          </a:prstGeom>
        </p:spPr>
        <p:txBody>
          <a:bodyPr lIns="0" tIns="0" rIns="0" bIns="0" rtlCol="0" anchor="t">
            <a:spAutoFit/>
          </a:bodyPr>
          <a:lstStyle/>
          <a:p>
            <a:pPr>
              <a:lnSpc>
                <a:spcPts val="2787"/>
              </a:lnSpc>
            </a:pPr>
            <a:r>
              <a:rPr lang="en-US" sz="2533">
                <a:solidFill>
                  <a:srgbClr val="545454"/>
                </a:solidFill>
                <a:latin typeface="DM Sans"/>
              </a:rPr>
              <a:t>Community Partnerships</a:t>
            </a:r>
          </a:p>
        </p:txBody>
      </p:sp>
      <p:sp>
        <p:nvSpPr>
          <p:cNvPr id="23" name="Rounded Rectangle 6">
            <a:extLst>
              <a:ext uri="{FF2B5EF4-FFF2-40B4-BE49-F238E27FC236}">
                <a16:creationId xmlns:a16="http://schemas.microsoft.com/office/drawing/2014/main" id="{78B5A3B7-0107-74A6-42BE-EFADF14BEC3D}"/>
              </a:ext>
            </a:extLst>
          </p:cNvPr>
          <p:cNvSpPr/>
          <p:nvPr/>
        </p:nvSpPr>
        <p:spPr>
          <a:xfrm>
            <a:off x="1532596" y="170996"/>
            <a:ext cx="10059729" cy="5765369"/>
          </a:xfrm>
          <a:prstGeom prst="roundRect">
            <a:avLst/>
          </a:prstGeom>
          <a:noFill/>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endParaRPr lang="en-US" sz="1500">
              <a:ea typeface="Calibri"/>
              <a:cs typeface="Calibri"/>
            </a:endParaRPr>
          </a:p>
        </p:txBody>
      </p:sp>
      <p:pic>
        <p:nvPicPr>
          <p:cNvPr id="24" name="Picture 23" descr="A logo with a person in the middle&#10;&#10;Description automatically generated">
            <a:extLst>
              <a:ext uri="{FF2B5EF4-FFF2-40B4-BE49-F238E27FC236}">
                <a16:creationId xmlns:a16="http://schemas.microsoft.com/office/drawing/2014/main" id="{BB2CB55F-0790-7175-FF6E-777FF2A900CC}"/>
              </a:ext>
            </a:extLst>
          </p:cNvPr>
          <p:cNvPicPr>
            <a:picLocks noChangeAspect="1"/>
          </p:cNvPicPr>
          <p:nvPr/>
        </p:nvPicPr>
        <p:blipFill>
          <a:blip r:embed="rId16"/>
          <a:stretch>
            <a:fillRect/>
          </a:stretch>
        </p:blipFill>
        <p:spPr>
          <a:xfrm>
            <a:off x="138023" y="5872540"/>
            <a:ext cx="1939447" cy="886710"/>
          </a:xfrm>
          <a:prstGeom prst="rect">
            <a:avLst/>
          </a:prstGeom>
        </p:spPr>
      </p:pic>
    </p:spTree>
    <p:extLst>
      <p:ext uri="{BB962C8B-B14F-4D97-AF65-F5344CB8AC3E}">
        <p14:creationId xmlns:p14="http://schemas.microsoft.com/office/powerpoint/2010/main" val="1077647041"/>
      </p:ext>
    </p:extLst>
  </p:cSld>
  <p:clrMapOvr>
    <a:masterClrMapping/>
  </p:clrMapOvr>
  <p:extLst>
    <p:ext uri="{6950BFC3-D8DA-4A85-94F7-54DA5524770B}">
      <p188:commentRel xmlns:p188="http://schemas.microsoft.com/office/powerpoint/2018/8/main" r:id="rId3"/>
    </p:ext>
  </p:extLs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5861D58-2345-8140-2120-DC1F272BBFF2}"/>
              </a:ext>
            </a:extLst>
          </p:cNvPr>
          <p:cNvSpPr/>
          <p:nvPr/>
        </p:nvSpPr>
        <p:spPr>
          <a:xfrm>
            <a:off x="7048499" y="0"/>
            <a:ext cx="5143500" cy="1841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BD668FC7-57F5-1E3A-49A6-53E69C2CA85B}"/>
              </a:ext>
            </a:extLst>
          </p:cNvPr>
          <p:cNvSpPr>
            <a:spLocks noGrp="1"/>
          </p:cNvSpPr>
          <p:nvPr>
            <p:ph type="sldNum" sz="quarter" idx="10"/>
          </p:nvPr>
        </p:nvSpPr>
        <p:spPr>
          <a:xfrm>
            <a:off x="9025387" y="6377437"/>
            <a:ext cx="2743200" cy="365125"/>
          </a:xfrm>
        </p:spPr>
        <p:txBody>
          <a:bodyPr/>
          <a:lstStyle/>
          <a:p>
            <a:fld id="{97033E4B-E3EB-3D46-B2D8-3159663620FA}" type="slidenum">
              <a:rPr lang="en-US" smtClean="0"/>
              <a:pPr/>
              <a:t>57</a:t>
            </a:fld>
            <a:endParaRPr lang="en-US"/>
          </a:p>
        </p:txBody>
      </p:sp>
      <p:sp>
        <p:nvSpPr>
          <p:cNvPr id="5" name="Footer Placeholder 4">
            <a:extLst>
              <a:ext uri="{FF2B5EF4-FFF2-40B4-BE49-F238E27FC236}">
                <a16:creationId xmlns:a16="http://schemas.microsoft.com/office/drawing/2014/main" id="{C0D55EC6-512E-CD50-1A08-34BC71A40E9B}"/>
              </a:ext>
            </a:extLst>
          </p:cNvPr>
          <p:cNvSpPr>
            <a:spLocks noGrp="1"/>
          </p:cNvSpPr>
          <p:nvPr>
            <p:ph type="ftr" sz="quarter" idx="11"/>
          </p:nvPr>
        </p:nvSpPr>
        <p:spPr/>
        <p:txBody>
          <a:bodyPr/>
          <a:lstStyle/>
          <a:p>
            <a:pPr algn="l"/>
            <a:r>
              <a:rPr lang="en-US"/>
              <a:t>Illinois Perinatal Quality Collaborative</a:t>
            </a:r>
          </a:p>
        </p:txBody>
      </p:sp>
      <p:sp>
        <p:nvSpPr>
          <p:cNvPr id="2" name="Title 1">
            <a:extLst>
              <a:ext uri="{FF2B5EF4-FFF2-40B4-BE49-F238E27FC236}">
                <a16:creationId xmlns:a16="http://schemas.microsoft.com/office/drawing/2014/main" id="{8C7182B8-D745-6D49-E823-6B4C357520BB}"/>
              </a:ext>
            </a:extLst>
          </p:cNvPr>
          <p:cNvSpPr>
            <a:spLocks noGrp="1"/>
          </p:cNvSpPr>
          <p:nvPr>
            <p:ph type="title" idx="4294967295"/>
          </p:nvPr>
        </p:nvSpPr>
        <p:spPr>
          <a:xfrm>
            <a:off x="-1628790" y="-189057"/>
            <a:ext cx="9531829" cy="1334873"/>
          </a:xfrm>
        </p:spPr>
        <p:txBody>
          <a:bodyPr/>
          <a:lstStyle/>
          <a:p>
            <a:pPr algn="ctr"/>
            <a:r>
              <a:rPr lang="en-US" sz="4800">
                <a:ea typeface="Lato Medium"/>
                <a:cs typeface="Lato Medium"/>
              </a:rPr>
              <a:t>ESSI Initiative Aims</a:t>
            </a:r>
            <a:endParaRPr lang="en-US" sz="4800"/>
          </a:p>
        </p:txBody>
      </p:sp>
      <p:grpSp>
        <p:nvGrpSpPr>
          <p:cNvPr id="12" name="Group 3">
            <a:extLst>
              <a:ext uri="{FF2B5EF4-FFF2-40B4-BE49-F238E27FC236}">
                <a16:creationId xmlns:a16="http://schemas.microsoft.com/office/drawing/2014/main" id="{A28016B6-6D80-89E3-91AF-D930E421AD61}"/>
              </a:ext>
            </a:extLst>
          </p:cNvPr>
          <p:cNvGrpSpPr/>
          <p:nvPr/>
        </p:nvGrpSpPr>
        <p:grpSpPr>
          <a:xfrm>
            <a:off x="608847" y="787285"/>
            <a:ext cx="11250165" cy="1346928"/>
            <a:chOff x="0" y="-57150"/>
            <a:chExt cx="2879117" cy="697690"/>
          </a:xfrm>
        </p:grpSpPr>
        <p:sp>
          <p:nvSpPr>
            <p:cNvPr id="10" name="Freeform 4">
              <a:extLst>
                <a:ext uri="{FF2B5EF4-FFF2-40B4-BE49-F238E27FC236}">
                  <a16:creationId xmlns:a16="http://schemas.microsoft.com/office/drawing/2014/main" id="{966BE466-0331-E647-C2F5-1581C924B039}"/>
                </a:ext>
              </a:extLst>
            </p:cNvPr>
            <p:cNvSpPr/>
            <p:nvPr/>
          </p:nvSpPr>
          <p:spPr>
            <a:xfrm>
              <a:off x="0" y="0"/>
              <a:ext cx="2879117" cy="640540"/>
            </a:xfrm>
            <a:custGeom>
              <a:avLst/>
              <a:gdLst/>
              <a:ahLst/>
              <a:cxnLst/>
              <a:rect l="l" t="t" r="r" b="b"/>
              <a:pathLst>
                <a:path w="2879117" h="640540">
                  <a:moveTo>
                    <a:pt x="36119" y="0"/>
                  </a:moveTo>
                  <a:lnTo>
                    <a:pt x="2842998" y="0"/>
                  </a:lnTo>
                  <a:cubicBezTo>
                    <a:pt x="2852578" y="0"/>
                    <a:pt x="2861764" y="3805"/>
                    <a:pt x="2868538" y="10579"/>
                  </a:cubicBezTo>
                  <a:cubicBezTo>
                    <a:pt x="2875312" y="17353"/>
                    <a:pt x="2879117" y="26539"/>
                    <a:pt x="2879117" y="36119"/>
                  </a:cubicBezTo>
                  <a:lnTo>
                    <a:pt x="2879117" y="604421"/>
                  </a:lnTo>
                  <a:cubicBezTo>
                    <a:pt x="2879117" y="614001"/>
                    <a:pt x="2875312" y="623188"/>
                    <a:pt x="2868538" y="629961"/>
                  </a:cubicBezTo>
                  <a:cubicBezTo>
                    <a:pt x="2861764" y="636735"/>
                    <a:pt x="2852578" y="640540"/>
                    <a:pt x="2842998" y="640540"/>
                  </a:cubicBezTo>
                  <a:lnTo>
                    <a:pt x="36119" y="640540"/>
                  </a:lnTo>
                  <a:cubicBezTo>
                    <a:pt x="26539" y="640540"/>
                    <a:pt x="17353" y="636735"/>
                    <a:pt x="10579" y="629961"/>
                  </a:cubicBezTo>
                  <a:cubicBezTo>
                    <a:pt x="3805" y="623188"/>
                    <a:pt x="0" y="614001"/>
                    <a:pt x="0" y="604421"/>
                  </a:cubicBezTo>
                  <a:lnTo>
                    <a:pt x="0" y="36119"/>
                  </a:lnTo>
                  <a:cubicBezTo>
                    <a:pt x="0" y="26539"/>
                    <a:pt x="3805" y="17353"/>
                    <a:pt x="10579" y="10579"/>
                  </a:cubicBezTo>
                  <a:cubicBezTo>
                    <a:pt x="17353" y="3805"/>
                    <a:pt x="26539" y="0"/>
                    <a:pt x="36119" y="0"/>
                  </a:cubicBezTo>
                  <a:close/>
                </a:path>
              </a:pathLst>
            </a:custGeom>
            <a:solidFill>
              <a:srgbClr val="6B95FD"/>
            </a:solidFill>
          </p:spPr>
        </p:sp>
        <p:sp>
          <p:nvSpPr>
            <p:cNvPr id="11" name="TextBox 5">
              <a:extLst>
                <a:ext uri="{FF2B5EF4-FFF2-40B4-BE49-F238E27FC236}">
                  <a16:creationId xmlns:a16="http://schemas.microsoft.com/office/drawing/2014/main" id="{B604E516-649C-1FD9-2519-CEA85AA2096B}"/>
                </a:ext>
              </a:extLst>
            </p:cNvPr>
            <p:cNvSpPr txBox="1"/>
            <p:nvPr/>
          </p:nvSpPr>
          <p:spPr>
            <a:xfrm>
              <a:off x="0" y="-57150"/>
              <a:ext cx="2879117" cy="697690"/>
            </a:xfrm>
            <a:prstGeom prst="rect">
              <a:avLst/>
            </a:prstGeom>
          </p:spPr>
          <p:txBody>
            <a:bodyPr lIns="33867" tIns="33867" rIns="33867" bIns="33867" rtlCol="0" anchor="ctr"/>
            <a:lstStyle/>
            <a:p>
              <a:pPr algn="ctr">
                <a:lnSpc>
                  <a:spcPts val="1773"/>
                </a:lnSpc>
                <a:spcBef>
                  <a:spcPct val="0"/>
                </a:spcBef>
              </a:pPr>
              <a:endParaRPr sz="800"/>
            </a:p>
          </p:txBody>
        </p:sp>
      </p:grpSp>
      <p:grpSp>
        <p:nvGrpSpPr>
          <p:cNvPr id="16" name="Group 6">
            <a:extLst>
              <a:ext uri="{FF2B5EF4-FFF2-40B4-BE49-F238E27FC236}">
                <a16:creationId xmlns:a16="http://schemas.microsoft.com/office/drawing/2014/main" id="{80963B6F-3E16-814E-7593-2BE3F5176BAA}"/>
              </a:ext>
            </a:extLst>
          </p:cNvPr>
          <p:cNvGrpSpPr/>
          <p:nvPr/>
        </p:nvGrpSpPr>
        <p:grpSpPr>
          <a:xfrm>
            <a:off x="608847" y="2215964"/>
            <a:ext cx="11288265" cy="1272328"/>
            <a:chOff x="0" y="-57150"/>
            <a:chExt cx="2879117" cy="547803"/>
          </a:xfrm>
        </p:grpSpPr>
        <p:sp>
          <p:nvSpPr>
            <p:cNvPr id="14" name="Freeform 7">
              <a:extLst>
                <a:ext uri="{FF2B5EF4-FFF2-40B4-BE49-F238E27FC236}">
                  <a16:creationId xmlns:a16="http://schemas.microsoft.com/office/drawing/2014/main" id="{A080C1E4-8D81-DC7D-733F-543A19CACC97}"/>
                </a:ext>
              </a:extLst>
            </p:cNvPr>
            <p:cNvSpPr/>
            <p:nvPr/>
          </p:nvSpPr>
          <p:spPr>
            <a:xfrm>
              <a:off x="0" y="0"/>
              <a:ext cx="2879117" cy="490653"/>
            </a:xfrm>
            <a:custGeom>
              <a:avLst/>
              <a:gdLst/>
              <a:ahLst/>
              <a:cxnLst/>
              <a:rect l="l" t="t" r="r" b="b"/>
              <a:pathLst>
                <a:path w="2879117" h="490653">
                  <a:moveTo>
                    <a:pt x="36119" y="0"/>
                  </a:moveTo>
                  <a:lnTo>
                    <a:pt x="2842998" y="0"/>
                  </a:lnTo>
                  <a:cubicBezTo>
                    <a:pt x="2852578" y="0"/>
                    <a:pt x="2861764" y="3805"/>
                    <a:pt x="2868538" y="10579"/>
                  </a:cubicBezTo>
                  <a:cubicBezTo>
                    <a:pt x="2875312" y="17353"/>
                    <a:pt x="2879117" y="26539"/>
                    <a:pt x="2879117" y="36119"/>
                  </a:cubicBezTo>
                  <a:lnTo>
                    <a:pt x="2879117" y="454535"/>
                  </a:lnTo>
                  <a:cubicBezTo>
                    <a:pt x="2879117" y="464114"/>
                    <a:pt x="2875312" y="473301"/>
                    <a:pt x="2868538" y="480074"/>
                  </a:cubicBezTo>
                  <a:cubicBezTo>
                    <a:pt x="2861764" y="486848"/>
                    <a:pt x="2852578" y="490653"/>
                    <a:pt x="2842998" y="490653"/>
                  </a:cubicBezTo>
                  <a:lnTo>
                    <a:pt x="36119" y="490653"/>
                  </a:lnTo>
                  <a:cubicBezTo>
                    <a:pt x="26539" y="490653"/>
                    <a:pt x="17353" y="486848"/>
                    <a:pt x="10579" y="480074"/>
                  </a:cubicBezTo>
                  <a:cubicBezTo>
                    <a:pt x="3805" y="473301"/>
                    <a:pt x="0" y="464114"/>
                    <a:pt x="0" y="454535"/>
                  </a:cubicBezTo>
                  <a:lnTo>
                    <a:pt x="0" y="36119"/>
                  </a:lnTo>
                  <a:cubicBezTo>
                    <a:pt x="0" y="26539"/>
                    <a:pt x="3805" y="17353"/>
                    <a:pt x="10579" y="10579"/>
                  </a:cubicBezTo>
                  <a:cubicBezTo>
                    <a:pt x="17353" y="3805"/>
                    <a:pt x="26539" y="0"/>
                    <a:pt x="36119" y="0"/>
                  </a:cubicBezTo>
                  <a:close/>
                </a:path>
              </a:pathLst>
            </a:custGeom>
            <a:solidFill>
              <a:srgbClr val="1C498B"/>
            </a:solidFill>
          </p:spPr>
        </p:sp>
        <p:sp>
          <p:nvSpPr>
            <p:cNvPr id="15" name="TextBox 8">
              <a:extLst>
                <a:ext uri="{FF2B5EF4-FFF2-40B4-BE49-F238E27FC236}">
                  <a16:creationId xmlns:a16="http://schemas.microsoft.com/office/drawing/2014/main" id="{41866C53-10BB-5C7A-FBB8-8B559FBF4543}"/>
                </a:ext>
              </a:extLst>
            </p:cNvPr>
            <p:cNvSpPr txBox="1"/>
            <p:nvPr/>
          </p:nvSpPr>
          <p:spPr>
            <a:xfrm>
              <a:off x="0" y="-57150"/>
              <a:ext cx="2879117" cy="547803"/>
            </a:xfrm>
            <a:prstGeom prst="rect">
              <a:avLst/>
            </a:prstGeom>
          </p:spPr>
          <p:txBody>
            <a:bodyPr lIns="33867" tIns="33867" rIns="33867" bIns="33867" rtlCol="0" anchor="ctr"/>
            <a:lstStyle/>
            <a:p>
              <a:pPr algn="ctr">
                <a:lnSpc>
                  <a:spcPts val="1773"/>
                </a:lnSpc>
                <a:spcBef>
                  <a:spcPct val="0"/>
                </a:spcBef>
              </a:pPr>
              <a:endParaRPr sz="800"/>
            </a:p>
          </p:txBody>
        </p:sp>
      </p:grpSp>
      <p:grpSp>
        <p:nvGrpSpPr>
          <p:cNvPr id="20" name="Group 9">
            <a:extLst>
              <a:ext uri="{FF2B5EF4-FFF2-40B4-BE49-F238E27FC236}">
                <a16:creationId xmlns:a16="http://schemas.microsoft.com/office/drawing/2014/main" id="{57B897C2-5645-67EB-E870-DDA8EEAA309C}"/>
              </a:ext>
            </a:extLst>
          </p:cNvPr>
          <p:cNvGrpSpPr/>
          <p:nvPr/>
        </p:nvGrpSpPr>
        <p:grpSpPr>
          <a:xfrm>
            <a:off x="91329" y="1152079"/>
            <a:ext cx="812800" cy="825500"/>
            <a:chOff x="0" y="0"/>
            <a:chExt cx="812800" cy="812800"/>
          </a:xfrm>
        </p:grpSpPr>
        <p:sp>
          <p:nvSpPr>
            <p:cNvPr id="18" name="Freeform 10">
              <a:extLst>
                <a:ext uri="{FF2B5EF4-FFF2-40B4-BE49-F238E27FC236}">
                  <a16:creationId xmlns:a16="http://schemas.microsoft.com/office/drawing/2014/main" id="{C87BADC8-1879-2359-C52E-E819876B32FA}"/>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C45ED1"/>
            </a:solidFill>
          </p:spPr>
        </p:sp>
        <p:sp>
          <p:nvSpPr>
            <p:cNvPr id="19" name="TextBox 11">
              <a:extLst>
                <a:ext uri="{FF2B5EF4-FFF2-40B4-BE49-F238E27FC236}">
                  <a16:creationId xmlns:a16="http://schemas.microsoft.com/office/drawing/2014/main" id="{AF32047E-EB6B-BD4B-76DD-7D47B980544C}"/>
                </a:ext>
              </a:extLst>
            </p:cNvPr>
            <p:cNvSpPr txBox="1"/>
            <p:nvPr/>
          </p:nvSpPr>
          <p:spPr>
            <a:xfrm>
              <a:off x="76200" y="19050"/>
              <a:ext cx="660400" cy="717550"/>
            </a:xfrm>
            <a:prstGeom prst="rect">
              <a:avLst/>
            </a:prstGeom>
          </p:spPr>
          <p:txBody>
            <a:bodyPr lIns="33867" tIns="33867" rIns="33867" bIns="33867" rtlCol="0" anchor="ctr"/>
            <a:lstStyle/>
            <a:p>
              <a:pPr algn="ctr">
                <a:lnSpc>
                  <a:spcPts val="1773"/>
                </a:lnSpc>
              </a:pPr>
              <a:endParaRPr sz="800"/>
            </a:p>
          </p:txBody>
        </p:sp>
      </p:grpSp>
      <p:sp>
        <p:nvSpPr>
          <p:cNvPr id="26" name="TextBox 15">
            <a:extLst>
              <a:ext uri="{FF2B5EF4-FFF2-40B4-BE49-F238E27FC236}">
                <a16:creationId xmlns:a16="http://schemas.microsoft.com/office/drawing/2014/main" id="{E9780070-BCB0-A4DC-93F5-6A72106D04EE}"/>
              </a:ext>
            </a:extLst>
          </p:cNvPr>
          <p:cNvSpPr txBox="1"/>
          <p:nvPr/>
        </p:nvSpPr>
        <p:spPr>
          <a:xfrm>
            <a:off x="992051" y="1158360"/>
            <a:ext cx="10796527" cy="951735"/>
          </a:xfrm>
          <a:prstGeom prst="rect">
            <a:avLst/>
          </a:prstGeom>
        </p:spPr>
        <p:txBody>
          <a:bodyPr wrap="square" lIns="0" tIns="0" rIns="0" bIns="0" rtlCol="0" anchor="t">
            <a:spAutoFit/>
          </a:bodyPr>
          <a:lstStyle/>
          <a:p>
            <a:pPr>
              <a:lnSpc>
                <a:spcPts val="2600"/>
              </a:lnSpc>
            </a:pPr>
            <a:r>
              <a:rPr lang="en-US" sz="2000">
                <a:solidFill>
                  <a:srgbClr val="FFFFFF"/>
                </a:solidFill>
                <a:latin typeface="DM Sans"/>
              </a:rPr>
              <a:t>By December 2025, greater than 70% of Illinois birthing and children’s hospitals will address disparities and promote neonatal equity by actively participating in the ESSI initiative.​</a:t>
            </a:r>
          </a:p>
          <a:p>
            <a:pPr>
              <a:lnSpc>
                <a:spcPts val="2167"/>
              </a:lnSpc>
            </a:pPr>
            <a:endParaRPr lang="en-US" sz="2000">
              <a:solidFill>
                <a:srgbClr val="FFFFFF"/>
              </a:solidFill>
              <a:latin typeface="DM Sans"/>
            </a:endParaRPr>
          </a:p>
        </p:txBody>
      </p:sp>
      <p:sp>
        <p:nvSpPr>
          <p:cNvPr id="28" name="TextBox 16">
            <a:extLst>
              <a:ext uri="{FF2B5EF4-FFF2-40B4-BE49-F238E27FC236}">
                <a16:creationId xmlns:a16="http://schemas.microsoft.com/office/drawing/2014/main" id="{8C1D734D-3C73-E6F6-D1A8-CF64A5F8112D}"/>
              </a:ext>
            </a:extLst>
          </p:cNvPr>
          <p:cNvSpPr txBox="1"/>
          <p:nvPr/>
        </p:nvSpPr>
        <p:spPr>
          <a:xfrm>
            <a:off x="1111307" y="2549809"/>
            <a:ext cx="10558015" cy="656783"/>
          </a:xfrm>
          <a:prstGeom prst="rect">
            <a:avLst/>
          </a:prstGeom>
        </p:spPr>
        <p:txBody>
          <a:bodyPr wrap="square" lIns="0" tIns="0" rIns="0" bIns="0" rtlCol="0" anchor="t">
            <a:spAutoFit/>
          </a:bodyPr>
          <a:lstStyle/>
          <a:p>
            <a:pPr>
              <a:lnSpc>
                <a:spcPts val="2600"/>
              </a:lnSpc>
            </a:pPr>
            <a:r>
              <a:rPr lang="en-US" sz="2000">
                <a:solidFill>
                  <a:srgbClr val="FFFFFF"/>
                </a:solidFill>
                <a:latin typeface="DM Sans"/>
              </a:rPr>
              <a:t>By December 2025, greater than 80% of infants will be discharged from ILPQC hospitals with a completed ESSI Bundle.</a:t>
            </a:r>
          </a:p>
        </p:txBody>
      </p:sp>
      <p:sp>
        <p:nvSpPr>
          <p:cNvPr id="30" name="Freeform 17">
            <a:extLst>
              <a:ext uri="{FF2B5EF4-FFF2-40B4-BE49-F238E27FC236}">
                <a16:creationId xmlns:a16="http://schemas.microsoft.com/office/drawing/2014/main" id="{807B8E33-7EFF-7586-9B2A-EEB15CC8C381}"/>
              </a:ext>
            </a:extLst>
          </p:cNvPr>
          <p:cNvSpPr/>
          <p:nvPr/>
        </p:nvSpPr>
        <p:spPr>
          <a:xfrm>
            <a:off x="886026" y="4618936"/>
            <a:ext cx="3150228" cy="608867"/>
          </a:xfrm>
          <a:custGeom>
            <a:avLst/>
            <a:gdLst/>
            <a:ahLst/>
            <a:cxnLst/>
            <a:rect l="l" t="t" r="r" b="b"/>
            <a:pathLst>
              <a:path w="4592821" h="780779">
                <a:moveTo>
                  <a:pt x="0" y="0"/>
                </a:moveTo>
                <a:lnTo>
                  <a:pt x="4592820" y="0"/>
                </a:lnTo>
                <a:lnTo>
                  <a:pt x="4592820" y="780780"/>
                </a:lnTo>
                <a:lnTo>
                  <a:pt x="0" y="78078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32" name="TextBox 18">
            <a:extLst>
              <a:ext uri="{FF2B5EF4-FFF2-40B4-BE49-F238E27FC236}">
                <a16:creationId xmlns:a16="http://schemas.microsoft.com/office/drawing/2014/main" id="{A29085F2-BEE6-99AF-40AD-620EFEAA68F9}"/>
              </a:ext>
            </a:extLst>
          </p:cNvPr>
          <p:cNvSpPr txBox="1"/>
          <p:nvPr/>
        </p:nvSpPr>
        <p:spPr>
          <a:xfrm>
            <a:off x="1387344" y="4822963"/>
            <a:ext cx="2028316" cy="300210"/>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READINESS</a:t>
            </a:r>
          </a:p>
        </p:txBody>
      </p:sp>
      <p:sp>
        <p:nvSpPr>
          <p:cNvPr id="34" name="Freeform 19">
            <a:extLst>
              <a:ext uri="{FF2B5EF4-FFF2-40B4-BE49-F238E27FC236}">
                <a16:creationId xmlns:a16="http://schemas.microsoft.com/office/drawing/2014/main" id="{27AAACD0-2AD9-0861-FD85-F167BEEF8D8C}"/>
              </a:ext>
            </a:extLst>
          </p:cNvPr>
          <p:cNvSpPr/>
          <p:nvPr/>
        </p:nvSpPr>
        <p:spPr>
          <a:xfrm>
            <a:off x="886027" y="5385726"/>
            <a:ext cx="3150228" cy="553649"/>
          </a:xfrm>
          <a:custGeom>
            <a:avLst/>
            <a:gdLst/>
            <a:ahLst/>
            <a:cxnLst/>
            <a:rect l="l" t="t" r="r" b="b"/>
            <a:pathLst>
              <a:path w="4592821" h="780779">
                <a:moveTo>
                  <a:pt x="0" y="0"/>
                </a:moveTo>
                <a:lnTo>
                  <a:pt x="4592820" y="0"/>
                </a:lnTo>
                <a:lnTo>
                  <a:pt x="4592820" y="780779"/>
                </a:lnTo>
                <a:lnTo>
                  <a:pt x="0" y="780779"/>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36" name="TextBox 20">
            <a:extLst>
              <a:ext uri="{FF2B5EF4-FFF2-40B4-BE49-F238E27FC236}">
                <a16:creationId xmlns:a16="http://schemas.microsoft.com/office/drawing/2014/main" id="{73602F57-63E5-AD2C-8F35-EEE5A55C03B9}"/>
              </a:ext>
            </a:extLst>
          </p:cNvPr>
          <p:cNvSpPr txBox="1"/>
          <p:nvPr/>
        </p:nvSpPr>
        <p:spPr>
          <a:xfrm>
            <a:off x="836786" y="5562784"/>
            <a:ext cx="3206735" cy="300210"/>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TRANSFER OF CARE</a:t>
            </a:r>
          </a:p>
        </p:txBody>
      </p:sp>
      <p:sp>
        <p:nvSpPr>
          <p:cNvPr id="38" name="Freeform 21">
            <a:extLst>
              <a:ext uri="{FF2B5EF4-FFF2-40B4-BE49-F238E27FC236}">
                <a16:creationId xmlns:a16="http://schemas.microsoft.com/office/drawing/2014/main" id="{B9969608-898E-6FC6-1F08-56733F2AA44B}"/>
              </a:ext>
            </a:extLst>
          </p:cNvPr>
          <p:cNvSpPr/>
          <p:nvPr/>
        </p:nvSpPr>
        <p:spPr>
          <a:xfrm>
            <a:off x="888227" y="3819390"/>
            <a:ext cx="3148028" cy="608493"/>
          </a:xfrm>
          <a:custGeom>
            <a:avLst/>
            <a:gdLst/>
            <a:ahLst/>
            <a:cxnLst/>
            <a:rect l="l" t="t" r="r" b="b"/>
            <a:pathLst>
              <a:path w="4589522" h="780219">
                <a:moveTo>
                  <a:pt x="0" y="0"/>
                </a:moveTo>
                <a:lnTo>
                  <a:pt x="4589521" y="0"/>
                </a:lnTo>
                <a:lnTo>
                  <a:pt x="4589521" y="780218"/>
                </a:lnTo>
                <a:lnTo>
                  <a:pt x="0" y="780218"/>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40" name="TextBox 22">
            <a:extLst>
              <a:ext uri="{FF2B5EF4-FFF2-40B4-BE49-F238E27FC236}">
                <a16:creationId xmlns:a16="http://schemas.microsoft.com/office/drawing/2014/main" id="{9869AD74-D8A3-0B44-10F4-685B412FCB24}"/>
              </a:ext>
            </a:extLst>
          </p:cNvPr>
          <p:cNvSpPr txBox="1"/>
          <p:nvPr/>
        </p:nvSpPr>
        <p:spPr>
          <a:xfrm>
            <a:off x="298855" y="947398"/>
            <a:ext cx="410448" cy="1034835"/>
          </a:xfrm>
          <a:prstGeom prst="rect">
            <a:avLst/>
          </a:prstGeom>
        </p:spPr>
        <p:txBody>
          <a:bodyPr wrap="square" lIns="0" tIns="0" rIns="0" bIns="0" rtlCol="0" anchor="t">
            <a:spAutoFit/>
          </a:bodyPr>
          <a:lstStyle/>
          <a:p>
            <a:pPr algn="ctr">
              <a:lnSpc>
                <a:spcPts val="8587"/>
              </a:lnSpc>
            </a:pPr>
            <a:r>
              <a:rPr lang="en-US" sz="6134">
                <a:solidFill>
                  <a:srgbClr val="FFFFFF"/>
                </a:solidFill>
                <a:latin typeface="Canva Sans 2 Bold"/>
              </a:rPr>
              <a:t>1</a:t>
            </a:r>
          </a:p>
        </p:txBody>
      </p:sp>
      <p:sp>
        <p:nvSpPr>
          <p:cNvPr id="44" name="TextBox 24">
            <a:extLst>
              <a:ext uri="{FF2B5EF4-FFF2-40B4-BE49-F238E27FC236}">
                <a16:creationId xmlns:a16="http://schemas.microsoft.com/office/drawing/2014/main" id="{E3D868BB-9056-5F85-37FB-DC17C2377580}"/>
              </a:ext>
            </a:extLst>
          </p:cNvPr>
          <p:cNvSpPr txBox="1"/>
          <p:nvPr/>
        </p:nvSpPr>
        <p:spPr>
          <a:xfrm>
            <a:off x="1488052" y="4008485"/>
            <a:ext cx="1951014" cy="311253"/>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AWARENESS</a:t>
            </a:r>
          </a:p>
        </p:txBody>
      </p:sp>
      <p:sp>
        <p:nvSpPr>
          <p:cNvPr id="46" name="TextBox 25">
            <a:extLst>
              <a:ext uri="{FF2B5EF4-FFF2-40B4-BE49-F238E27FC236}">
                <a16:creationId xmlns:a16="http://schemas.microsoft.com/office/drawing/2014/main" id="{1072F846-48B0-2F56-6528-205809296213}"/>
              </a:ext>
            </a:extLst>
          </p:cNvPr>
          <p:cNvSpPr txBox="1"/>
          <p:nvPr/>
        </p:nvSpPr>
        <p:spPr>
          <a:xfrm>
            <a:off x="4312052" y="3863840"/>
            <a:ext cx="7763339" cy="574966"/>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latin typeface="Calibri"/>
                <a:ea typeface="Calibri"/>
                <a:cs typeface="Calibri"/>
              </a:rPr>
              <a:t>Parents or caregivers report an understanding of a safe sleep environment.</a:t>
            </a:r>
          </a:p>
        </p:txBody>
      </p:sp>
      <p:sp>
        <p:nvSpPr>
          <p:cNvPr id="48" name="TextBox 26">
            <a:extLst>
              <a:ext uri="{FF2B5EF4-FFF2-40B4-BE49-F238E27FC236}">
                <a16:creationId xmlns:a16="http://schemas.microsoft.com/office/drawing/2014/main" id="{9DA002CE-213B-0EFE-03DC-C3DB65BCF003}"/>
              </a:ext>
            </a:extLst>
          </p:cNvPr>
          <p:cNvSpPr txBox="1"/>
          <p:nvPr/>
        </p:nvSpPr>
        <p:spPr>
          <a:xfrm>
            <a:off x="4311686" y="4691360"/>
            <a:ext cx="7409744" cy="574966"/>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ea typeface="+mn-lt"/>
                <a:cs typeface="+mn-lt"/>
              </a:rPr>
              <a:t>Family is prepared for a transition to home, including </a:t>
            </a:r>
            <a:r>
              <a:rPr lang="en-US" sz="2200" err="1">
                <a:solidFill>
                  <a:srgbClr val="000000"/>
                </a:solidFill>
                <a:ea typeface="+mn-lt"/>
                <a:cs typeface="+mn-lt"/>
              </a:rPr>
              <a:t>SDoH</a:t>
            </a:r>
            <a:r>
              <a:rPr lang="en-US" sz="2200">
                <a:solidFill>
                  <a:srgbClr val="000000"/>
                </a:solidFill>
                <a:ea typeface="+mn-lt"/>
                <a:cs typeface="+mn-lt"/>
              </a:rPr>
              <a:t> screening and resource linkage.</a:t>
            </a:r>
            <a:endParaRPr lang="en-US" sz="2200">
              <a:solidFill>
                <a:srgbClr val="000000"/>
              </a:solidFill>
            </a:endParaRPr>
          </a:p>
        </p:txBody>
      </p:sp>
      <p:sp>
        <p:nvSpPr>
          <p:cNvPr id="50" name="TextBox 27">
            <a:extLst>
              <a:ext uri="{FF2B5EF4-FFF2-40B4-BE49-F238E27FC236}">
                <a16:creationId xmlns:a16="http://schemas.microsoft.com/office/drawing/2014/main" id="{484FA518-5005-04AD-A148-23B555389D18}"/>
              </a:ext>
            </a:extLst>
          </p:cNvPr>
          <p:cNvSpPr txBox="1"/>
          <p:nvPr/>
        </p:nvSpPr>
        <p:spPr>
          <a:xfrm>
            <a:off x="4314936" y="5474241"/>
            <a:ext cx="7457964" cy="568232"/>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latin typeface="Calibri"/>
                <a:ea typeface="Calibri"/>
                <a:cs typeface="Calibri"/>
              </a:rPr>
              <a:t>ESSI Newborn Care Plan is documented in the discharge summary.</a:t>
            </a:r>
          </a:p>
        </p:txBody>
      </p:sp>
      <p:grpSp>
        <p:nvGrpSpPr>
          <p:cNvPr id="7" name="Group 9">
            <a:extLst>
              <a:ext uri="{FF2B5EF4-FFF2-40B4-BE49-F238E27FC236}">
                <a16:creationId xmlns:a16="http://schemas.microsoft.com/office/drawing/2014/main" id="{59DCCF77-1BDF-BB49-8752-58A43F365FAC}"/>
              </a:ext>
            </a:extLst>
          </p:cNvPr>
          <p:cNvGrpSpPr/>
          <p:nvPr/>
        </p:nvGrpSpPr>
        <p:grpSpPr>
          <a:xfrm>
            <a:off x="91329" y="2498278"/>
            <a:ext cx="812800" cy="825500"/>
            <a:chOff x="0" y="0"/>
            <a:chExt cx="812800" cy="812800"/>
          </a:xfrm>
        </p:grpSpPr>
        <p:sp>
          <p:nvSpPr>
            <p:cNvPr id="8" name="Freeform 10">
              <a:extLst>
                <a:ext uri="{FF2B5EF4-FFF2-40B4-BE49-F238E27FC236}">
                  <a16:creationId xmlns:a16="http://schemas.microsoft.com/office/drawing/2014/main" id="{E15AE669-9885-B6BE-D637-60B38E0F95F5}"/>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C45ED1"/>
            </a:solidFill>
          </p:spPr>
        </p:sp>
        <p:sp>
          <p:nvSpPr>
            <p:cNvPr id="9" name="TextBox 11">
              <a:extLst>
                <a:ext uri="{FF2B5EF4-FFF2-40B4-BE49-F238E27FC236}">
                  <a16:creationId xmlns:a16="http://schemas.microsoft.com/office/drawing/2014/main" id="{2EC913AF-9BAA-D267-4DAB-C2EAAC071B91}"/>
                </a:ext>
              </a:extLst>
            </p:cNvPr>
            <p:cNvSpPr txBox="1"/>
            <p:nvPr/>
          </p:nvSpPr>
          <p:spPr>
            <a:xfrm>
              <a:off x="76200" y="19050"/>
              <a:ext cx="660400" cy="717550"/>
            </a:xfrm>
            <a:prstGeom prst="rect">
              <a:avLst/>
            </a:prstGeom>
          </p:spPr>
          <p:txBody>
            <a:bodyPr lIns="33867" tIns="33867" rIns="33867" bIns="33867" rtlCol="0" anchor="ctr"/>
            <a:lstStyle/>
            <a:p>
              <a:pPr algn="ctr">
                <a:lnSpc>
                  <a:spcPts val="1773"/>
                </a:lnSpc>
              </a:pPr>
              <a:endParaRPr sz="800"/>
            </a:p>
          </p:txBody>
        </p:sp>
      </p:grpSp>
      <p:sp>
        <p:nvSpPr>
          <p:cNvPr id="42" name="TextBox 23">
            <a:extLst>
              <a:ext uri="{FF2B5EF4-FFF2-40B4-BE49-F238E27FC236}">
                <a16:creationId xmlns:a16="http://schemas.microsoft.com/office/drawing/2014/main" id="{FB430A34-582F-067B-AEF5-DB4764FC6C5A}"/>
              </a:ext>
            </a:extLst>
          </p:cNvPr>
          <p:cNvSpPr txBox="1"/>
          <p:nvPr/>
        </p:nvSpPr>
        <p:spPr>
          <a:xfrm>
            <a:off x="290166" y="2295809"/>
            <a:ext cx="434023" cy="1034835"/>
          </a:xfrm>
          <a:prstGeom prst="rect">
            <a:avLst/>
          </a:prstGeom>
        </p:spPr>
        <p:txBody>
          <a:bodyPr wrap="square" lIns="0" tIns="0" rIns="0" bIns="0" rtlCol="0" anchor="t">
            <a:spAutoFit/>
          </a:bodyPr>
          <a:lstStyle/>
          <a:p>
            <a:pPr algn="ctr">
              <a:lnSpc>
                <a:spcPts val="8587"/>
              </a:lnSpc>
            </a:pPr>
            <a:r>
              <a:rPr lang="en-US" sz="6134">
                <a:solidFill>
                  <a:srgbClr val="FFFFFF"/>
                </a:solidFill>
                <a:latin typeface="Canva Sans 2 Bold"/>
              </a:rPr>
              <a:t>2</a:t>
            </a:r>
          </a:p>
        </p:txBody>
      </p:sp>
      <p:sp>
        <p:nvSpPr>
          <p:cNvPr id="13" name="Freeform 13">
            <a:extLst>
              <a:ext uri="{FF2B5EF4-FFF2-40B4-BE49-F238E27FC236}">
                <a16:creationId xmlns:a16="http://schemas.microsoft.com/office/drawing/2014/main" id="{3BDDD164-0124-FE54-AD8E-88B343F5817D}"/>
              </a:ext>
            </a:extLst>
          </p:cNvPr>
          <p:cNvSpPr/>
          <p:nvPr/>
        </p:nvSpPr>
        <p:spPr>
          <a:xfrm>
            <a:off x="9566983" y="166209"/>
            <a:ext cx="1520914" cy="655191"/>
          </a:xfrm>
          <a:custGeom>
            <a:avLst/>
            <a:gdLst/>
            <a:ahLst/>
            <a:cxnLst/>
            <a:rect l="l" t="t" r="r" b="b"/>
            <a:pathLst>
              <a:path w="2281371" h="982786">
                <a:moveTo>
                  <a:pt x="0" y="0"/>
                </a:moveTo>
                <a:lnTo>
                  <a:pt x="2281372" y="0"/>
                </a:lnTo>
                <a:lnTo>
                  <a:pt x="2281372" y="982786"/>
                </a:lnTo>
                <a:lnTo>
                  <a:pt x="0" y="982786"/>
                </a:lnTo>
                <a:lnTo>
                  <a:pt x="0" y="0"/>
                </a:lnTo>
                <a:close/>
              </a:path>
            </a:pathLst>
          </a:custGeom>
          <a:blipFill>
            <a:blip r:embed="rId9"/>
            <a:stretch>
              <a:fillRect t="-16582"/>
            </a:stretch>
          </a:blipFill>
        </p:spPr>
      </p:sp>
    </p:spTree>
    <p:extLst>
      <p:ext uri="{BB962C8B-B14F-4D97-AF65-F5344CB8AC3E}">
        <p14:creationId xmlns:p14="http://schemas.microsoft.com/office/powerpoint/2010/main" val="383852242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B429CC-FC8C-ECA7-15C8-7563C27BFB95}"/>
              </a:ext>
            </a:extLst>
          </p:cNvPr>
          <p:cNvSpPr>
            <a:spLocks noGrp="1"/>
          </p:cNvSpPr>
          <p:nvPr>
            <p:ph type="title"/>
          </p:nvPr>
        </p:nvSpPr>
        <p:spPr/>
        <p:txBody>
          <a:bodyPr/>
          <a:lstStyle/>
          <a:p>
            <a:r>
              <a:rPr lang="en-US" sz="4800">
                <a:ea typeface="Lato Medium"/>
                <a:cs typeface="Lato Medium"/>
              </a:rPr>
              <a:t>ESSI 10 Steps to Getting Started</a:t>
            </a:r>
            <a:endParaRPr lang="en-US" sz="4800"/>
          </a:p>
        </p:txBody>
      </p:sp>
      <p:sp>
        <p:nvSpPr>
          <p:cNvPr id="3" name="Subtitle 2">
            <a:extLst>
              <a:ext uri="{FF2B5EF4-FFF2-40B4-BE49-F238E27FC236}">
                <a16:creationId xmlns:a16="http://schemas.microsoft.com/office/drawing/2014/main" id="{C0454086-94BF-0693-766D-F1659194519A}"/>
              </a:ext>
            </a:extLst>
          </p:cNvPr>
          <p:cNvSpPr>
            <a:spLocks noGrp="1"/>
          </p:cNvSpPr>
          <p:nvPr>
            <p:ph type="subTitle" idx="1"/>
          </p:nvPr>
        </p:nvSpPr>
        <p:spPr/>
        <p:txBody>
          <a:bodyPr vert="horz" lIns="91440" tIns="45720" rIns="91440" bIns="45720" rtlCol="0" anchor="t">
            <a:noAutofit/>
          </a:bodyPr>
          <a:lstStyle/>
          <a:p>
            <a:endParaRPr lang="en-US" sz="3200">
              <a:ea typeface="Lato"/>
              <a:cs typeface="Lato"/>
            </a:endParaRPr>
          </a:p>
        </p:txBody>
      </p:sp>
    </p:spTree>
    <p:extLst>
      <p:ext uri="{BB962C8B-B14F-4D97-AF65-F5344CB8AC3E}">
        <p14:creationId xmlns:p14="http://schemas.microsoft.com/office/powerpoint/2010/main" val="374570680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rot="16200000">
            <a:off x="4930637" y="-4691521"/>
            <a:ext cx="2330727" cy="15794965"/>
            <a:chOff x="0" y="0"/>
            <a:chExt cx="4661454" cy="31589931"/>
          </a:xfrm>
        </p:grpSpPr>
        <p:sp>
          <p:nvSpPr>
            <p:cNvPr id="3" name="Freeform 3"/>
            <p:cNvSpPr/>
            <p:nvPr/>
          </p:nvSpPr>
          <p:spPr>
            <a:xfrm>
              <a:off x="0" y="0"/>
              <a:ext cx="4540020" cy="3716966"/>
            </a:xfrm>
            <a:custGeom>
              <a:avLst/>
              <a:gdLst/>
              <a:ahLst/>
              <a:cxnLst/>
              <a:rect l="l" t="t" r="r" b="b"/>
              <a:pathLst>
                <a:path w="4540020" h="3716966">
                  <a:moveTo>
                    <a:pt x="0" y="0"/>
                  </a:moveTo>
                  <a:lnTo>
                    <a:pt x="4540020" y="0"/>
                  </a:lnTo>
                  <a:lnTo>
                    <a:pt x="4540020" y="3716966"/>
                  </a:lnTo>
                  <a:lnTo>
                    <a:pt x="0" y="3716966"/>
                  </a:lnTo>
                  <a:lnTo>
                    <a:pt x="0" y="0"/>
                  </a:lnTo>
                  <a:close/>
                </a:path>
              </a:pathLst>
            </a:custGeom>
            <a:blipFill>
              <a:blip r:embed="rId3">
                <a:extLst>
                  <a:ext uri="{96DAC541-7B7A-43D3-8B79-37D633B846F1}">
                    <asvg:svgBlip xmlns:asvg="http://schemas.microsoft.com/office/drawing/2016/SVG/main" r:embed="rId4"/>
                  </a:ext>
                </a:extLst>
              </a:blip>
              <a:stretch>
                <a:fillRect t="-14523" r="-785"/>
              </a:stretch>
            </a:blipFill>
          </p:spPr>
        </p:sp>
        <p:sp>
          <p:nvSpPr>
            <p:cNvPr id="4" name="Freeform 4"/>
            <p:cNvSpPr/>
            <p:nvPr/>
          </p:nvSpPr>
          <p:spPr>
            <a:xfrm flipH="1">
              <a:off x="85794" y="3416688"/>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5" name="Freeform 5"/>
            <p:cNvSpPr/>
            <p:nvPr/>
          </p:nvSpPr>
          <p:spPr>
            <a:xfrm>
              <a:off x="0" y="7470685"/>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6" name="Freeform 6"/>
            <p:cNvSpPr/>
            <p:nvPr/>
          </p:nvSpPr>
          <p:spPr>
            <a:xfrm flipH="1">
              <a:off x="85794" y="11427206"/>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7" name="Freeform 7"/>
            <p:cNvSpPr/>
            <p:nvPr/>
          </p:nvSpPr>
          <p:spPr>
            <a:xfrm>
              <a:off x="0" y="15408250"/>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8" name="Freeform 8"/>
            <p:cNvSpPr/>
            <p:nvPr/>
          </p:nvSpPr>
          <p:spPr>
            <a:xfrm flipH="1">
              <a:off x="85794" y="19364771"/>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9" name="Freeform 9"/>
            <p:cNvSpPr/>
            <p:nvPr/>
          </p:nvSpPr>
          <p:spPr>
            <a:xfrm>
              <a:off x="0" y="23376611"/>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10" name="Freeform 10"/>
            <p:cNvSpPr/>
            <p:nvPr/>
          </p:nvSpPr>
          <p:spPr>
            <a:xfrm flipH="1">
              <a:off x="85794" y="27333132"/>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3">
                <a:extLst>
                  <a:ext uri="{96DAC541-7B7A-43D3-8B79-37D633B846F1}">
                    <asvg:svgBlip xmlns:asvg="http://schemas.microsoft.com/office/drawing/2016/SVG/main" r:embed="rId4"/>
                  </a:ext>
                </a:extLst>
              </a:blip>
              <a:stretch>
                <a:fillRect/>
              </a:stretch>
            </a:blipFill>
          </p:spPr>
        </p:sp>
      </p:grpSp>
      <p:grpSp>
        <p:nvGrpSpPr>
          <p:cNvPr id="11" name="Group 11"/>
          <p:cNvGrpSpPr/>
          <p:nvPr/>
        </p:nvGrpSpPr>
        <p:grpSpPr>
          <a:xfrm>
            <a:off x="-374795" y="-384029"/>
            <a:ext cx="12851803" cy="2015183"/>
            <a:chOff x="0" y="0"/>
            <a:chExt cx="2319558" cy="363711"/>
          </a:xfrm>
        </p:grpSpPr>
        <p:sp>
          <p:nvSpPr>
            <p:cNvPr id="12" name="Freeform 12"/>
            <p:cNvSpPr/>
            <p:nvPr/>
          </p:nvSpPr>
          <p:spPr>
            <a:xfrm>
              <a:off x="0" y="0"/>
              <a:ext cx="2319558" cy="363711"/>
            </a:xfrm>
            <a:custGeom>
              <a:avLst/>
              <a:gdLst/>
              <a:ahLst/>
              <a:cxnLst/>
              <a:rect l="l" t="t" r="r" b="b"/>
              <a:pathLst>
                <a:path w="2319558" h="363711">
                  <a:moveTo>
                    <a:pt x="0" y="0"/>
                  </a:moveTo>
                  <a:lnTo>
                    <a:pt x="2319558" y="0"/>
                  </a:lnTo>
                  <a:lnTo>
                    <a:pt x="2319558" y="363711"/>
                  </a:lnTo>
                  <a:lnTo>
                    <a:pt x="0" y="363711"/>
                  </a:lnTo>
                  <a:close/>
                </a:path>
              </a:pathLst>
            </a:custGeom>
            <a:solidFill>
              <a:srgbClr val="5271FF"/>
            </a:solidFill>
          </p:spPr>
        </p:sp>
        <p:sp>
          <p:nvSpPr>
            <p:cNvPr id="13" name="TextBox 13"/>
            <p:cNvSpPr txBox="1"/>
            <p:nvPr/>
          </p:nvSpPr>
          <p:spPr>
            <a:xfrm>
              <a:off x="0" y="-38100"/>
              <a:ext cx="2319558" cy="401811"/>
            </a:xfrm>
            <a:prstGeom prst="rect">
              <a:avLst/>
            </a:prstGeom>
          </p:spPr>
          <p:txBody>
            <a:bodyPr lIns="18288" tIns="18288" rIns="18288" bIns="18288" rtlCol="0" anchor="ctr"/>
            <a:lstStyle/>
            <a:p>
              <a:pPr algn="ctr">
                <a:lnSpc>
                  <a:spcPts val="889"/>
                </a:lnSpc>
              </a:pPr>
              <a:endParaRPr sz="800"/>
            </a:p>
          </p:txBody>
        </p:sp>
      </p:grpSp>
      <p:sp>
        <p:nvSpPr>
          <p:cNvPr id="14" name="TextBox 14"/>
          <p:cNvSpPr txBox="1"/>
          <p:nvPr/>
        </p:nvSpPr>
        <p:spPr>
          <a:xfrm>
            <a:off x="-376744" y="623754"/>
            <a:ext cx="13461234" cy="576633"/>
          </a:xfrm>
          <a:prstGeom prst="rect">
            <a:avLst/>
          </a:prstGeom>
        </p:spPr>
        <p:txBody>
          <a:bodyPr wrap="square" lIns="0" tIns="0" rIns="0" bIns="0" rtlCol="0" anchor="t">
            <a:spAutoFit/>
          </a:bodyPr>
          <a:lstStyle/>
          <a:p>
            <a:pPr algn="ctr">
              <a:lnSpc>
                <a:spcPts val="4248"/>
              </a:lnSpc>
            </a:pPr>
            <a:r>
              <a:rPr lang="en-US" sz="5100" spc="379">
                <a:solidFill>
                  <a:srgbClr val="FFFFFF"/>
                </a:solidFill>
                <a:latin typeface="Agrandir Wide Bold"/>
              </a:rPr>
              <a:t>10 "STOPS" ON THE ROAD TO ESSI </a:t>
            </a:r>
            <a:endParaRPr lang="en-US" sz="5118" spc="379">
              <a:solidFill>
                <a:srgbClr val="FFFFFF"/>
              </a:solidFill>
              <a:latin typeface="Agrandir Wide Bold"/>
            </a:endParaRPr>
          </a:p>
        </p:txBody>
      </p:sp>
      <p:grpSp>
        <p:nvGrpSpPr>
          <p:cNvPr id="15" name="Group 15"/>
          <p:cNvGrpSpPr/>
          <p:nvPr/>
        </p:nvGrpSpPr>
        <p:grpSpPr>
          <a:xfrm rot="16200000">
            <a:off x="1452767" y="3116752"/>
            <a:ext cx="1288571" cy="865133"/>
            <a:chOff x="0" y="0"/>
            <a:chExt cx="2577142" cy="1730266"/>
          </a:xfrm>
        </p:grpSpPr>
        <p:sp>
          <p:nvSpPr>
            <p:cNvPr id="16" name="Freeform 16"/>
            <p:cNvSpPr/>
            <p:nvPr/>
          </p:nvSpPr>
          <p:spPr>
            <a:xfrm rot="5318660">
              <a:off x="453231" y="-404030"/>
              <a:ext cx="1670680" cy="2538327"/>
            </a:xfrm>
            <a:custGeom>
              <a:avLst/>
              <a:gdLst/>
              <a:ahLst/>
              <a:cxnLst/>
              <a:rect l="l" t="t" r="r" b="b"/>
              <a:pathLst>
                <a:path w="1670680" h="2538327">
                  <a:moveTo>
                    <a:pt x="0" y="0"/>
                  </a:moveTo>
                  <a:lnTo>
                    <a:pt x="1670680" y="0"/>
                  </a:lnTo>
                  <a:lnTo>
                    <a:pt x="1670680" y="2538326"/>
                  </a:lnTo>
                  <a:lnTo>
                    <a:pt x="0" y="2538326"/>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grpSp>
          <p:nvGrpSpPr>
            <p:cNvPr id="17" name="Group 17"/>
            <p:cNvGrpSpPr/>
            <p:nvPr/>
          </p:nvGrpSpPr>
          <p:grpSpPr>
            <a:xfrm>
              <a:off x="1084280" y="220848"/>
              <a:ext cx="1288571" cy="1288571"/>
              <a:chOff x="0" y="0"/>
              <a:chExt cx="812800" cy="812800"/>
            </a:xfrm>
          </p:grpSpPr>
          <p:sp>
            <p:nvSpPr>
              <p:cNvPr id="18" name="Freeform 1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19" name="TextBox 19"/>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20" name="TextBox 20"/>
          <p:cNvSpPr txBox="1"/>
          <p:nvPr/>
        </p:nvSpPr>
        <p:spPr>
          <a:xfrm>
            <a:off x="1073259" y="4508640"/>
            <a:ext cx="1805395" cy="1302472"/>
          </a:xfrm>
          <a:prstGeom prst="rect">
            <a:avLst/>
          </a:prstGeom>
        </p:spPr>
        <p:txBody>
          <a:bodyPr lIns="0" tIns="0" rIns="0" bIns="0" rtlCol="0" anchor="t">
            <a:spAutoFit/>
          </a:bodyPr>
          <a:lstStyle/>
          <a:p>
            <a:pPr algn="ctr">
              <a:lnSpc>
                <a:spcPts val="2603"/>
              </a:lnSpc>
              <a:spcBef>
                <a:spcPct val="0"/>
              </a:spcBef>
            </a:pPr>
            <a:r>
              <a:rPr lang="en-US">
                <a:solidFill>
                  <a:srgbClr val="000000"/>
                </a:solidFill>
                <a:latin typeface="Arial Nova"/>
              </a:rPr>
              <a:t>Establish </a:t>
            </a:r>
            <a:r>
              <a:rPr lang="en-US" b="1">
                <a:solidFill>
                  <a:srgbClr val="000000"/>
                </a:solidFill>
                <a:latin typeface="Arial Nova"/>
              </a:rPr>
              <a:t>leadership commitment </a:t>
            </a:r>
            <a:r>
              <a:rPr lang="en-US">
                <a:solidFill>
                  <a:srgbClr val="000000"/>
                </a:solidFill>
                <a:latin typeface="Arial Nova"/>
              </a:rPr>
              <a:t>for ESSI</a:t>
            </a:r>
          </a:p>
        </p:txBody>
      </p:sp>
      <p:sp>
        <p:nvSpPr>
          <p:cNvPr id="22" name="TextBox 22"/>
          <p:cNvSpPr txBox="1"/>
          <p:nvPr/>
        </p:nvSpPr>
        <p:spPr>
          <a:xfrm>
            <a:off x="1756381" y="2958542"/>
            <a:ext cx="670859" cy="577530"/>
          </a:xfrm>
          <a:prstGeom prst="rect">
            <a:avLst/>
          </a:prstGeom>
        </p:spPr>
        <p:txBody>
          <a:bodyPr lIns="0" tIns="0" rIns="0" bIns="0" rtlCol="0" anchor="t">
            <a:spAutoFit/>
          </a:bodyPr>
          <a:lstStyle/>
          <a:p>
            <a:pPr algn="ctr">
              <a:lnSpc>
                <a:spcPts val="4790"/>
              </a:lnSpc>
            </a:pPr>
            <a:r>
              <a:rPr lang="en-US" sz="3422">
                <a:solidFill>
                  <a:srgbClr val="000000"/>
                </a:solidFill>
                <a:latin typeface="Funtastic"/>
              </a:rPr>
              <a:t>1</a:t>
            </a:r>
          </a:p>
        </p:txBody>
      </p:sp>
      <p:sp>
        <p:nvSpPr>
          <p:cNvPr id="23" name="TextBox 23"/>
          <p:cNvSpPr txBox="1"/>
          <p:nvPr/>
        </p:nvSpPr>
        <p:spPr>
          <a:xfrm>
            <a:off x="5151615" y="4592145"/>
            <a:ext cx="1716524" cy="1007199"/>
          </a:xfrm>
          <a:prstGeom prst="rect">
            <a:avLst/>
          </a:prstGeom>
        </p:spPr>
        <p:txBody>
          <a:bodyPr wrap="square" lIns="0" tIns="0" rIns="0" bIns="0" rtlCol="0" anchor="t">
            <a:spAutoFit/>
          </a:bodyPr>
          <a:lstStyle/>
          <a:p>
            <a:pPr algn="ctr">
              <a:lnSpc>
                <a:spcPts val="2697"/>
              </a:lnSpc>
              <a:spcBef>
                <a:spcPct val="0"/>
              </a:spcBef>
            </a:pPr>
            <a:r>
              <a:rPr lang="en-US" dirty="0">
                <a:solidFill>
                  <a:srgbClr val="000000"/>
                </a:solidFill>
                <a:latin typeface="Arial Nova"/>
              </a:rPr>
              <a:t>Schedule regular </a:t>
            </a:r>
            <a:r>
              <a:rPr lang="en-US" b="1" dirty="0">
                <a:solidFill>
                  <a:srgbClr val="000000"/>
                </a:solidFill>
                <a:latin typeface="Arial Nova"/>
              </a:rPr>
              <a:t>ESSI QI team meetings</a:t>
            </a:r>
          </a:p>
        </p:txBody>
      </p:sp>
      <p:grpSp>
        <p:nvGrpSpPr>
          <p:cNvPr id="25" name="Group 25"/>
          <p:cNvGrpSpPr/>
          <p:nvPr/>
        </p:nvGrpSpPr>
        <p:grpSpPr>
          <a:xfrm rot="16200000">
            <a:off x="5433703" y="3102346"/>
            <a:ext cx="1305810" cy="876707"/>
            <a:chOff x="0" y="0"/>
            <a:chExt cx="2611620" cy="1753414"/>
          </a:xfrm>
        </p:grpSpPr>
        <p:sp>
          <p:nvSpPr>
            <p:cNvPr id="26" name="Freeform 26"/>
            <p:cNvSpPr/>
            <p:nvPr/>
          </p:nvSpPr>
          <p:spPr>
            <a:xfrm rot="5318660">
              <a:off x="459294" y="-409436"/>
              <a:ext cx="1693031" cy="2572285"/>
            </a:xfrm>
            <a:custGeom>
              <a:avLst/>
              <a:gdLst/>
              <a:ahLst/>
              <a:cxnLst/>
              <a:rect l="l" t="t" r="r" b="b"/>
              <a:pathLst>
                <a:path w="1693031" h="2572285">
                  <a:moveTo>
                    <a:pt x="0" y="0"/>
                  </a:moveTo>
                  <a:lnTo>
                    <a:pt x="1693032" y="0"/>
                  </a:lnTo>
                  <a:lnTo>
                    <a:pt x="1693032" y="2572286"/>
                  </a:lnTo>
                  <a:lnTo>
                    <a:pt x="0" y="2572286"/>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grpSp>
          <p:nvGrpSpPr>
            <p:cNvPr id="27" name="Group 27"/>
            <p:cNvGrpSpPr/>
            <p:nvPr/>
          </p:nvGrpSpPr>
          <p:grpSpPr>
            <a:xfrm>
              <a:off x="1098786" y="223802"/>
              <a:ext cx="1305810" cy="1305810"/>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29" name="TextBox 29"/>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30" name="TextBox 30"/>
          <p:cNvSpPr txBox="1"/>
          <p:nvPr/>
        </p:nvSpPr>
        <p:spPr>
          <a:xfrm>
            <a:off x="5746690" y="2937368"/>
            <a:ext cx="679835" cy="588687"/>
          </a:xfrm>
          <a:prstGeom prst="rect">
            <a:avLst/>
          </a:prstGeom>
        </p:spPr>
        <p:txBody>
          <a:bodyPr lIns="0" tIns="0" rIns="0" bIns="0" rtlCol="0" anchor="t">
            <a:spAutoFit/>
          </a:bodyPr>
          <a:lstStyle/>
          <a:p>
            <a:pPr algn="ctr">
              <a:lnSpc>
                <a:spcPts val="4854"/>
              </a:lnSpc>
            </a:pPr>
            <a:r>
              <a:rPr lang="en-US" sz="3467">
                <a:solidFill>
                  <a:srgbClr val="000000"/>
                </a:solidFill>
                <a:latin typeface="Funtastic"/>
              </a:rPr>
              <a:t>3</a:t>
            </a:r>
          </a:p>
        </p:txBody>
      </p:sp>
      <p:sp>
        <p:nvSpPr>
          <p:cNvPr id="31" name="TextBox 31"/>
          <p:cNvSpPr txBox="1"/>
          <p:nvPr/>
        </p:nvSpPr>
        <p:spPr>
          <a:xfrm>
            <a:off x="9386131" y="4509026"/>
            <a:ext cx="1951532" cy="1574983"/>
          </a:xfrm>
          <a:prstGeom prst="rect">
            <a:avLst/>
          </a:prstGeom>
        </p:spPr>
        <p:txBody>
          <a:bodyPr wrap="square" lIns="0" tIns="0" rIns="0" bIns="0" rtlCol="0" anchor="t">
            <a:spAutoFit/>
          </a:bodyPr>
          <a:lstStyle/>
          <a:p>
            <a:pPr algn="ctr">
              <a:lnSpc>
                <a:spcPts val="2510"/>
              </a:lnSpc>
              <a:spcBef>
                <a:spcPct val="0"/>
              </a:spcBef>
            </a:pPr>
            <a:r>
              <a:rPr lang="en-US" dirty="0">
                <a:solidFill>
                  <a:srgbClr val="000000"/>
                </a:solidFill>
                <a:latin typeface="Arial Nova"/>
              </a:rPr>
              <a:t>Complete the</a:t>
            </a:r>
            <a:r>
              <a:rPr lang="en-US" b="1" dirty="0">
                <a:solidFill>
                  <a:srgbClr val="000000"/>
                </a:solidFill>
                <a:latin typeface="Arial Nova"/>
              </a:rPr>
              <a:t> ESSI Teams Readiness Survey</a:t>
            </a:r>
            <a:r>
              <a:rPr lang="en-US" dirty="0">
                <a:solidFill>
                  <a:srgbClr val="000000"/>
                </a:solidFill>
                <a:latin typeface="Arial Nova"/>
              </a:rPr>
              <a:t> if you have not done so already </a:t>
            </a:r>
          </a:p>
        </p:txBody>
      </p:sp>
      <p:grpSp>
        <p:nvGrpSpPr>
          <p:cNvPr id="33" name="Group 33"/>
          <p:cNvGrpSpPr/>
          <p:nvPr/>
        </p:nvGrpSpPr>
        <p:grpSpPr>
          <a:xfrm rot="16200000">
            <a:off x="9461270" y="3131430"/>
            <a:ext cx="1271007" cy="853341"/>
            <a:chOff x="0" y="0"/>
            <a:chExt cx="2542015" cy="1706682"/>
          </a:xfrm>
        </p:grpSpPr>
        <p:sp>
          <p:nvSpPr>
            <p:cNvPr id="34" name="Freeform 34"/>
            <p:cNvSpPr/>
            <p:nvPr/>
          </p:nvSpPr>
          <p:spPr>
            <a:xfrm rot="5318660">
              <a:off x="447053" y="-398523"/>
              <a:ext cx="1647909" cy="2503729"/>
            </a:xfrm>
            <a:custGeom>
              <a:avLst/>
              <a:gdLst/>
              <a:ahLst/>
              <a:cxnLst/>
              <a:rect l="l" t="t" r="r" b="b"/>
              <a:pathLst>
                <a:path w="1647909" h="2503729">
                  <a:moveTo>
                    <a:pt x="0" y="0"/>
                  </a:moveTo>
                  <a:lnTo>
                    <a:pt x="1647909" y="0"/>
                  </a:lnTo>
                  <a:lnTo>
                    <a:pt x="1647909" y="2503728"/>
                  </a:lnTo>
                  <a:lnTo>
                    <a:pt x="0" y="2503728"/>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grpSp>
          <p:nvGrpSpPr>
            <p:cNvPr id="35" name="Group 35"/>
            <p:cNvGrpSpPr/>
            <p:nvPr/>
          </p:nvGrpSpPr>
          <p:grpSpPr>
            <a:xfrm>
              <a:off x="1069501" y="217837"/>
              <a:ext cx="1271008" cy="1271008"/>
              <a:chOff x="0" y="0"/>
              <a:chExt cx="812800" cy="812800"/>
            </a:xfrm>
          </p:grpSpPr>
          <p:sp>
            <p:nvSpPr>
              <p:cNvPr id="36" name="Freeform 3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37" name="TextBox 37"/>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38" name="TextBox 38"/>
          <p:cNvSpPr txBox="1"/>
          <p:nvPr/>
        </p:nvSpPr>
        <p:spPr>
          <a:xfrm>
            <a:off x="9760745" y="2977649"/>
            <a:ext cx="661715" cy="566309"/>
          </a:xfrm>
          <a:prstGeom prst="rect">
            <a:avLst/>
          </a:prstGeom>
        </p:spPr>
        <p:txBody>
          <a:bodyPr lIns="0" tIns="0" rIns="0" bIns="0" rtlCol="0" anchor="t">
            <a:spAutoFit/>
          </a:bodyPr>
          <a:lstStyle/>
          <a:p>
            <a:pPr algn="ctr">
              <a:lnSpc>
                <a:spcPts val="4725"/>
              </a:lnSpc>
            </a:pPr>
            <a:r>
              <a:rPr lang="en-US" sz="3375">
                <a:solidFill>
                  <a:srgbClr val="000000"/>
                </a:solidFill>
                <a:latin typeface="Funtastic"/>
              </a:rPr>
              <a:t>5</a:t>
            </a:r>
          </a:p>
        </p:txBody>
      </p:sp>
      <p:grpSp>
        <p:nvGrpSpPr>
          <p:cNvPr id="39" name="Group 39"/>
          <p:cNvGrpSpPr/>
          <p:nvPr/>
        </p:nvGrpSpPr>
        <p:grpSpPr>
          <a:xfrm rot="16200000">
            <a:off x="3449707" y="2071673"/>
            <a:ext cx="1289785" cy="865948"/>
            <a:chOff x="0" y="0"/>
            <a:chExt cx="2579569" cy="1731896"/>
          </a:xfrm>
        </p:grpSpPr>
        <p:sp>
          <p:nvSpPr>
            <p:cNvPr id="40" name="Freeform 40"/>
            <p:cNvSpPr/>
            <p:nvPr/>
          </p:nvSpPr>
          <p:spPr>
            <a:xfrm rot="5318660">
              <a:off x="453658" y="-404411"/>
              <a:ext cx="1672254" cy="2540717"/>
            </a:xfrm>
            <a:custGeom>
              <a:avLst/>
              <a:gdLst/>
              <a:ahLst/>
              <a:cxnLst/>
              <a:rect l="l" t="t" r="r" b="b"/>
              <a:pathLst>
                <a:path w="1672254" h="2540717">
                  <a:moveTo>
                    <a:pt x="0" y="0"/>
                  </a:moveTo>
                  <a:lnTo>
                    <a:pt x="1672253" y="0"/>
                  </a:lnTo>
                  <a:lnTo>
                    <a:pt x="1672253" y="2540717"/>
                  </a:lnTo>
                  <a:lnTo>
                    <a:pt x="0" y="2540717"/>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grpSp>
          <p:nvGrpSpPr>
            <p:cNvPr id="41" name="Group 41"/>
            <p:cNvGrpSpPr/>
            <p:nvPr/>
          </p:nvGrpSpPr>
          <p:grpSpPr>
            <a:xfrm>
              <a:off x="1085301" y="221056"/>
              <a:ext cx="1289785" cy="1289785"/>
              <a:chOff x="0" y="0"/>
              <a:chExt cx="812800" cy="812800"/>
            </a:xfrm>
          </p:grpSpPr>
          <p:sp>
            <p:nvSpPr>
              <p:cNvPr id="42" name="Freeform 4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43" name="TextBox 43"/>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grpSp>
        <p:nvGrpSpPr>
          <p:cNvPr id="44" name="Group 44"/>
          <p:cNvGrpSpPr/>
          <p:nvPr/>
        </p:nvGrpSpPr>
        <p:grpSpPr>
          <a:xfrm rot="16200000">
            <a:off x="7434652" y="2042082"/>
            <a:ext cx="1289785" cy="865948"/>
            <a:chOff x="0" y="0"/>
            <a:chExt cx="2579569" cy="1731896"/>
          </a:xfrm>
        </p:grpSpPr>
        <p:sp>
          <p:nvSpPr>
            <p:cNvPr id="45" name="Freeform 45"/>
            <p:cNvSpPr/>
            <p:nvPr/>
          </p:nvSpPr>
          <p:spPr>
            <a:xfrm rot="5318660">
              <a:off x="453658" y="-404411"/>
              <a:ext cx="1672254" cy="2540717"/>
            </a:xfrm>
            <a:custGeom>
              <a:avLst/>
              <a:gdLst/>
              <a:ahLst/>
              <a:cxnLst/>
              <a:rect l="l" t="t" r="r" b="b"/>
              <a:pathLst>
                <a:path w="1672254" h="2540717">
                  <a:moveTo>
                    <a:pt x="0" y="0"/>
                  </a:moveTo>
                  <a:lnTo>
                    <a:pt x="1672253" y="0"/>
                  </a:lnTo>
                  <a:lnTo>
                    <a:pt x="1672253" y="2540717"/>
                  </a:lnTo>
                  <a:lnTo>
                    <a:pt x="0" y="2540717"/>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grpSp>
          <p:nvGrpSpPr>
            <p:cNvPr id="46" name="Group 46"/>
            <p:cNvGrpSpPr/>
            <p:nvPr/>
          </p:nvGrpSpPr>
          <p:grpSpPr>
            <a:xfrm>
              <a:off x="1085301" y="221056"/>
              <a:ext cx="1289785" cy="1289785"/>
              <a:chOff x="0" y="0"/>
              <a:chExt cx="812800" cy="812800"/>
            </a:xfrm>
          </p:grpSpPr>
          <p:sp>
            <p:nvSpPr>
              <p:cNvPr id="47" name="Freeform 4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48" name="TextBox 48"/>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49" name="TextBox 49"/>
          <p:cNvSpPr txBox="1"/>
          <p:nvPr/>
        </p:nvSpPr>
        <p:spPr>
          <a:xfrm>
            <a:off x="3758853" y="1898012"/>
            <a:ext cx="671491" cy="577659"/>
          </a:xfrm>
          <a:prstGeom prst="rect">
            <a:avLst/>
          </a:prstGeom>
        </p:spPr>
        <p:txBody>
          <a:bodyPr lIns="0" tIns="0" rIns="0" bIns="0" rtlCol="0" anchor="t">
            <a:spAutoFit/>
          </a:bodyPr>
          <a:lstStyle/>
          <a:p>
            <a:pPr algn="ctr">
              <a:lnSpc>
                <a:spcPts val="4795"/>
              </a:lnSpc>
            </a:pPr>
            <a:r>
              <a:rPr lang="en-US" sz="3425">
                <a:solidFill>
                  <a:srgbClr val="000000"/>
                </a:solidFill>
                <a:latin typeface="Funtastic"/>
              </a:rPr>
              <a:t>2</a:t>
            </a:r>
          </a:p>
        </p:txBody>
      </p:sp>
      <p:sp>
        <p:nvSpPr>
          <p:cNvPr id="50" name="TextBox 50"/>
          <p:cNvSpPr txBox="1"/>
          <p:nvPr/>
        </p:nvSpPr>
        <p:spPr>
          <a:xfrm>
            <a:off x="7743798" y="1947570"/>
            <a:ext cx="671491" cy="577659"/>
          </a:xfrm>
          <a:prstGeom prst="rect">
            <a:avLst/>
          </a:prstGeom>
        </p:spPr>
        <p:txBody>
          <a:bodyPr lIns="0" tIns="0" rIns="0" bIns="0" rtlCol="0" anchor="t">
            <a:spAutoFit/>
          </a:bodyPr>
          <a:lstStyle/>
          <a:p>
            <a:pPr algn="ctr">
              <a:lnSpc>
                <a:spcPts val="4795"/>
              </a:lnSpc>
            </a:pPr>
            <a:r>
              <a:rPr lang="en-US" sz="3425">
                <a:solidFill>
                  <a:srgbClr val="000000"/>
                </a:solidFill>
                <a:latin typeface="Funtastic"/>
              </a:rPr>
              <a:t>4</a:t>
            </a:r>
          </a:p>
        </p:txBody>
      </p:sp>
      <p:sp>
        <p:nvSpPr>
          <p:cNvPr id="51" name="TextBox 51"/>
          <p:cNvSpPr txBox="1"/>
          <p:nvPr/>
        </p:nvSpPr>
        <p:spPr>
          <a:xfrm>
            <a:off x="3119049" y="3663480"/>
            <a:ext cx="1964546" cy="1398653"/>
          </a:xfrm>
          <a:prstGeom prst="rect">
            <a:avLst/>
          </a:prstGeom>
        </p:spPr>
        <p:txBody>
          <a:bodyPr lIns="0" tIns="0" rIns="0" bIns="0" rtlCol="0" anchor="t">
            <a:spAutoFit/>
          </a:bodyPr>
          <a:lstStyle/>
          <a:p>
            <a:pPr algn="ctr">
              <a:lnSpc>
                <a:spcPts val="2790"/>
              </a:lnSpc>
              <a:spcBef>
                <a:spcPct val="0"/>
              </a:spcBef>
            </a:pPr>
            <a:r>
              <a:rPr lang="en-US" dirty="0">
                <a:solidFill>
                  <a:srgbClr val="000000"/>
                </a:solidFill>
                <a:latin typeface="Arial Nova"/>
              </a:rPr>
              <a:t>Confirm that your </a:t>
            </a:r>
            <a:r>
              <a:rPr lang="en-US" b="1" dirty="0">
                <a:solidFill>
                  <a:srgbClr val="000000"/>
                </a:solidFill>
                <a:latin typeface="Arial Nova"/>
              </a:rPr>
              <a:t>ESSI QI team roster</a:t>
            </a:r>
            <a:r>
              <a:rPr lang="en-US" dirty="0">
                <a:solidFill>
                  <a:srgbClr val="000000"/>
                </a:solidFill>
                <a:latin typeface="Arial Nova"/>
              </a:rPr>
              <a:t> is complete and up-to-date </a:t>
            </a:r>
          </a:p>
        </p:txBody>
      </p:sp>
      <p:sp>
        <p:nvSpPr>
          <p:cNvPr id="53" name="TextBox 53"/>
          <p:cNvSpPr txBox="1"/>
          <p:nvPr/>
        </p:nvSpPr>
        <p:spPr>
          <a:xfrm>
            <a:off x="7126034" y="3137056"/>
            <a:ext cx="2003723" cy="3059877"/>
          </a:xfrm>
          <a:prstGeom prst="rect">
            <a:avLst/>
          </a:prstGeom>
        </p:spPr>
        <p:txBody>
          <a:bodyPr wrap="square" lIns="0" tIns="0" rIns="0" bIns="0" rtlCol="0" anchor="t">
            <a:spAutoFit/>
          </a:bodyPr>
          <a:lstStyle/>
          <a:p>
            <a:pPr algn="ctr">
              <a:lnSpc>
                <a:spcPts val="2417"/>
              </a:lnSpc>
              <a:spcBef>
                <a:spcPct val="0"/>
              </a:spcBef>
            </a:pPr>
            <a:r>
              <a:rPr lang="en-US" dirty="0">
                <a:solidFill>
                  <a:srgbClr val="000000"/>
                </a:solidFill>
                <a:latin typeface="Arial Nova"/>
              </a:rPr>
              <a:t>Review the </a:t>
            </a:r>
            <a:endParaRPr lang="en-US" dirty="0">
              <a:cs typeface="Calibri"/>
            </a:endParaRPr>
          </a:p>
          <a:p>
            <a:pPr algn="ctr">
              <a:lnSpc>
                <a:spcPts val="2417"/>
              </a:lnSpc>
              <a:spcBef>
                <a:spcPct val="0"/>
              </a:spcBef>
            </a:pPr>
            <a:r>
              <a:rPr lang="en-US" b="1" dirty="0">
                <a:solidFill>
                  <a:srgbClr val="000000"/>
                </a:solidFill>
                <a:latin typeface="Arial Nova"/>
              </a:rPr>
              <a:t>ESSI Monthly Patient and Monthly Hospital Data Collection</a:t>
            </a:r>
            <a:r>
              <a:rPr lang="en-US" dirty="0">
                <a:solidFill>
                  <a:srgbClr val="000000"/>
                </a:solidFill>
                <a:latin typeface="Arial Nova"/>
              </a:rPr>
              <a:t> Forms with your team and discuss strategies for data collection </a:t>
            </a:r>
            <a:endParaRPr lang="en-US" dirty="0">
              <a:cs typeface="Calibri"/>
            </a:endParaRPr>
          </a:p>
        </p:txBody>
      </p:sp>
      <p:grpSp>
        <p:nvGrpSpPr>
          <p:cNvPr id="55" name="Group 55"/>
          <p:cNvGrpSpPr/>
          <p:nvPr/>
        </p:nvGrpSpPr>
        <p:grpSpPr>
          <a:xfrm>
            <a:off x="-446727" y="6199640"/>
            <a:ext cx="12851803" cy="2015183"/>
            <a:chOff x="0" y="0"/>
            <a:chExt cx="2319558" cy="363711"/>
          </a:xfrm>
        </p:grpSpPr>
        <p:sp>
          <p:nvSpPr>
            <p:cNvPr id="56" name="Freeform 56"/>
            <p:cNvSpPr/>
            <p:nvPr/>
          </p:nvSpPr>
          <p:spPr>
            <a:xfrm>
              <a:off x="0" y="0"/>
              <a:ext cx="2319558" cy="363711"/>
            </a:xfrm>
            <a:custGeom>
              <a:avLst/>
              <a:gdLst/>
              <a:ahLst/>
              <a:cxnLst/>
              <a:rect l="l" t="t" r="r" b="b"/>
              <a:pathLst>
                <a:path w="2319558" h="363711">
                  <a:moveTo>
                    <a:pt x="0" y="0"/>
                  </a:moveTo>
                  <a:lnTo>
                    <a:pt x="2319558" y="0"/>
                  </a:lnTo>
                  <a:lnTo>
                    <a:pt x="2319558" y="363711"/>
                  </a:lnTo>
                  <a:lnTo>
                    <a:pt x="0" y="363711"/>
                  </a:lnTo>
                  <a:close/>
                </a:path>
              </a:pathLst>
            </a:custGeom>
            <a:solidFill>
              <a:srgbClr val="5271FF"/>
            </a:solidFill>
          </p:spPr>
        </p:sp>
        <p:sp>
          <p:nvSpPr>
            <p:cNvPr id="57" name="TextBox 57"/>
            <p:cNvSpPr txBox="1"/>
            <p:nvPr/>
          </p:nvSpPr>
          <p:spPr>
            <a:xfrm>
              <a:off x="0" y="-38100"/>
              <a:ext cx="2319558" cy="401811"/>
            </a:xfrm>
            <a:prstGeom prst="rect">
              <a:avLst/>
            </a:prstGeom>
          </p:spPr>
          <p:txBody>
            <a:bodyPr lIns="18288" tIns="18288" rIns="18288" bIns="18288" rtlCol="0" anchor="ctr"/>
            <a:lstStyle/>
            <a:p>
              <a:pPr algn="ctr">
                <a:lnSpc>
                  <a:spcPts val="889"/>
                </a:lnSpc>
              </a:pPr>
              <a:endParaRPr sz="800"/>
            </a:p>
          </p:txBody>
        </p:sp>
      </p:grpSp>
    </p:spTree>
    <p:extLst>
      <p:ext uri="{BB962C8B-B14F-4D97-AF65-F5344CB8AC3E}">
        <p14:creationId xmlns:p14="http://schemas.microsoft.com/office/powerpoint/2010/main" val="25622830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A3CC463-F933-4AC4-86E1-5AC14B0C31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lumMod val="5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6025D2DB-A12A-44DB-B00E-F4D622329E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1331" y="480060"/>
            <a:ext cx="4180332" cy="2788074"/>
          </a:xfrm>
          <a:prstGeom prst="rect">
            <a:avLst/>
          </a:prstGeom>
          <a:solidFill>
            <a:srgbClr val="FFFFFF"/>
          </a:solidFill>
          <a:ln w="19050">
            <a:solidFill>
              <a:srgbClr val="50E5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CE7E7877-F64E-4EEA-B778-138031EFF87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1331" y="3603670"/>
            <a:ext cx="4180332" cy="2788074"/>
          </a:xfrm>
          <a:prstGeom prst="rect">
            <a:avLst/>
          </a:prstGeom>
          <a:solidFill>
            <a:srgbClr val="FFFFFF"/>
          </a:solidFill>
          <a:ln w="19050">
            <a:solidFill>
              <a:srgbClr val="50E5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Content Placeholder 5" descr="A purple background with white text&#10;&#10;Description automatically generated">
            <a:extLst>
              <a:ext uri="{FF2B5EF4-FFF2-40B4-BE49-F238E27FC236}">
                <a16:creationId xmlns:a16="http://schemas.microsoft.com/office/drawing/2014/main" id="{EF676F65-F32E-BCC1-B4AB-2FC96638BE9E}"/>
              </a:ext>
            </a:extLst>
          </p:cNvPr>
          <p:cNvPicPr>
            <a:picLocks noGrp="1" noChangeAspect="1"/>
          </p:cNvPicPr>
          <p:nvPr>
            <p:ph idx="1"/>
          </p:nvPr>
        </p:nvPicPr>
        <p:blipFill rotWithShape="1">
          <a:blip r:embed="rId2"/>
          <a:srcRect l="-763" r="79009" b="-9091"/>
          <a:stretch/>
        </p:blipFill>
        <p:spPr>
          <a:xfrm>
            <a:off x="1731168" y="993947"/>
            <a:ext cx="1520176" cy="937493"/>
          </a:xfrm>
          <a:prstGeom prst="rect">
            <a:avLst/>
          </a:prstGeom>
        </p:spPr>
      </p:pic>
      <p:sp>
        <p:nvSpPr>
          <p:cNvPr id="5" name="Footer Placeholder 4">
            <a:extLst>
              <a:ext uri="{FF2B5EF4-FFF2-40B4-BE49-F238E27FC236}">
                <a16:creationId xmlns:a16="http://schemas.microsoft.com/office/drawing/2014/main" id="{FD357973-69DB-04A9-A2C1-6BBC79CB3784}"/>
              </a:ext>
            </a:extLst>
          </p:cNvPr>
          <p:cNvSpPr>
            <a:spLocks noGrp="1"/>
          </p:cNvSpPr>
          <p:nvPr>
            <p:ph type="ftr" sz="quarter" idx="11"/>
          </p:nvPr>
        </p:nvSpPr>
        <p:spPr>
          <a:xfrm>
            <a:off x="622548" y="6356350"/>
            <a:ext cx="6059605" cy="365125"/>
          </a:xfrm>
        </p:spPr>
        <p:txBody>
          <a:bodyPr vert="horz" lIns="91440" tIns="45720" rIns="91440" bIns="45720" rtlCol="0" anchor="ctr">
            <a:normAutofit/>
          </a:bodyPr>
          <a:lstStyle/>
          <a:p>
            <a:pPr algn="l">
              <a:spcAft>
                <a:spcPts val="600"/>
              </a:spcAft>
            </a:pPr>
            <a:r>
              <a:rPr lang="en-US" kern="1200">
                <a:solidFill>
                  <a:srgbClr val="FFFFFF"/>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7C6CB985-0431-BE7A-0A14-7D8A51C03E22}"/>
              </a:ext>
            </a:extLst>
          </p:cNvPr>
          <p:cNvSpPr>
            <a:spLocks noGrp="1"/>
          </p:cNvSpPr>
          <p:nvPr>
            <p:ph type="sldNum" sz="quarter" idx="10"/>
          </p:nvPr>
        </p:nvSpPr>
        <p:spPr>
          <a:xfrm>
            <a:off x="10691446" y="6356350"/>
            <a:ext cx="662354" cy="365125"/>
          </a:xfrm>
        </p:spPr>
        <p:txBody>
          <a:bodyPr vert="horz" lIns="91440" tIns="45720" rIns="91440" bIns="45720" rtlCol="0" anchor="ctr">
            <a:normAutofit/>
          </a:bodyPr>
          <a:lstStyle/>
          <a:p>
            <a:pPr>
              <a:spcAft>
                <a:spcPts val="600"/>
              </a:spcAft>
            </a:pPr>
            <a:fld id="{97033E4B-E3EB-3D46-B2D8-3159663620FA}" type="slidenum">
              <a:rPr lang="en-US">
                <a:solidFill>
                  <a:srgbClr val="FFFFFF"/>
                </a:solidFill>
              </a:rPr>
              <a:pPr>
                <a:spcAft>
                  <a:spcPts val="600"/>
                </a:spcAft>
              </a:pPr>
              <a:t>6</a:t>
            </a:fld>
            <a:endParaRPr lang="en-US">
              <a:solidFill>
                <a:srgbClr val="FFFFFF"/>
              </a:solidFill>
            </a:endParaRPr>
          </a:p>
        </p:txBody>
      </p:sp>
      <p:sp>
        <p:nvSpPr>
          <p:cNvPr id="22" name="Rectangle 21">
            <a:extLst>
              <a:ext uri="{FF2B5EF4-FFF2-40B4-BE49-F238E27FC236}">
                <a16:creationId xmlns:a16="http://schemas.microsoft.com/office/drawing/2014/main" id="{7DD6C4F3-70FD-4F13-919C-702EE48864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80596" y="487090"/>
            <a:ext cx="6741849" cy="5897880"/>
          </a:xfrm>
          <a:prstGeom prst="rect">
            <a:avLst/>
          </a:prstGeom>
          <a:solidFill>
            <a:srgbClr val="FFFF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screenshot of a diagram&#10;&#10;Description automatically generated">
            <a:extLst>
              <a:ext uri="{FF2B5EF4-FFF2-40B4-BE49-F238E27FC236}">
                <a16:creationId xmlns:a16="http://schemas.microsoft.com/office/drawing/2014/main" id="{E09D5B73-1671-B84D-6132-06E4A8E9E2DC}"/>
              </a:ext>
            </a:extLst>
          </p:cNvPr>
          <p:cNvPicPr>
            <a:picLocks noChangeAspect="1"/>
          </p:cNvPicPr>
          <p:nvPr/>
        </p:nvPicPr>
        <p:blipFill>
          <a:blip r:embed="rId3"/>
          <a:stretch>
            <a:fillRect/>
          </a:stretch>
        </p:blipFill>
        <p:spPr>
          <a:xfrm>
            <a:off x="5202311" y="650497"/>
            <a:ext cx="6294989" cy="5571066"/>
          </a:xfrm>
          <a:prstGeom prst="rect">
            <a:avLst/>
          </a:prstGeom>
        </p:spPr>
      </p:pic>
      <p:pic>
        <p:nvPicPr>
          <p:cNvPr id="10" name="Picture 9" descr="A close up of a chart&#10;&#10;Description automatically generated">
            <a:extLst>
              <a:ext uri="{FF2B5EF4-FFF2-40B4-BE49-F238E27FC236}">
                <a16:creationId xmlns:a16="http://schemas.microsoft.com/office/drawing/2014/main" id="{1B456DB8-BA21-BAEA-F66C-46C6DD431168}"/>
              </a:ext>
            </a:extLst>
          </p:cNvPr>
          <p:cNvPicPr>
            <a:picLocks noChangeAspect="1"/>
          </p:cNvPicPr>
          <p:nvPr/>
        </p:nvPicPr>
        <p:blipFill>
          <a:blip r:embed="rId4"/>
          <a:stretch>
            <a:fillRect/>
          </a:stretch>
        </p:blipFill>
        <p:spPr>
          <a:xfrm>
            <a:off x="744385" y="3757157"/>
            <a:ext cx="3611273" cy="2475653"/>
          </a:xfrm>
          <a:prstGeom prst="rect">
            <a:avLst/>
          </a:prstGeom>
        </p:spPr>
      </p:pic>
      <p:pic>
        <p:nvPicPr>
          <p:cNvPr id="13" name="Content Placeholder 5" descr="A purple background with white text&#10;&#10;Description automatically generated">
            <a:extLst>
              <a:ext uri="{FF2B5EF4-FFF2-40B4-BE49-F238E27FC236}">
                <a16:creationId xmlns:a16="http://schemas.microsoft.com/office/drawing/2014/main" id="{97F41871-076F-3542-7DCC-5CF58E271492}"/>
              </a:ext>
            </a:extLst>
          </p:cNvPr>
          <p:cNvPicPr>
            <a:picLocks noChangeAspect="1"/>
          </p:cNvPicPr>
          <p:nvPr/>
        </p:nvPicPr>
        <p:blipFill rotWithShape="1">
          <a:blip r:embed="rId2"/>
          <a:srcRect l="19477" r="9884" b="2325"/>
          <a:stretch/>
        </p:blipFill>
        <p:spPr>
          <a:xfrm>
            <a:off x="551603" y="2052864"/>
            <a:ext cx="3988565" cy="701589"/>
          </a:xfrm>
          <a:prstGeom prst="rect">
            <a:avLst/>
          </a:prstGeom>
        </p:spPr>
      </p:pic>
      <p:sp>
        <p:nvSpPr>
          <p:cNvPr id="14" name="Rectangle 13">
            <a:extLst>
              <a:ext uri="{FF2B5EF4-FFF2-40B4-BE49-F238E27FC236}">
                <a16:creationId xmlns:a16="http://schemas.microsoft.com/office/drawing/2014/main" id="{DA90BC2C-8D4E-A05C-243D-BCA657477692}"/>
              </a:ext>
            </a:extLst>
          </p:cNvPr>
          <p:cNvSpPr/>
          <p:nvPr/>
        </p:nvSpPr>
        <p:spPr>
          <a:xfrm>
            <a:off x="5140215" y="4696810"/>
            <a:ext cx="2167758" cy="1615965"/>
          </a:xfrm>
          <a:prstGeom prst="rect">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8009550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rot="16200000">
            <a:off x="4930637" y="-4691521"/>
            <a:ext cx="2330727" cy="15794965"/>
            <a:chOff x="0" y="0"/>
            <a:chExt cx="4661454" cy="31589931"/>
          </a:xfrm>
        </p:grpSpPr>
        <p:sp>
          <p:nvSpPr>
            <p:cNvPr id="3" name="Freeform 3"/>
            <p:cNvSpPr/>
            <p:nvPr/>
          </p:nvSpPr>
          <p:spPr>
            <a:xfrm>
              <a:off x="0" y="0"/>
              <a:ext cx="4540020" cy="3716966"/>
            </a:xfrm>
            <a:custGeom>
              <a:avLst/>
              <a:gdLst/>
              <a:ahLst/>
              <a:cxnLst/>
              <a:rect l="l" t="t" r="r" b="b"/>
              <a:pathLst>
                <a:path w="4540020" h="3716966">
                  <a:moveTo>
                    <a:pt x="0" y="0"/>
                  </a:moveTo>
                  <a:lnTo>
                    <a:pt x="4540020" y="0"/>
                  </a:lnTo>
                  <a:lnTo>
                    <a:pt x="4540020" y="3716966"/>
                  </a:lnTo>
                  <a:lnTo>
                    <a:pt x="0" y="3716966"/>
                  </a:lnTo>
                  <a:lnTo>
                    <a:pt x="0" y="0"/>
                  </a:lnTo>
                  <a:close/>
                </a:path>
              </a:pathLst>
            </a:custGeom>
            <a:blipFill>
              <a:blip r:embed="rId2">
                <a:extLst>
                  <a:ext uri="{96DAC541-7B7A-43D3-8B79-37D633B846F1}">
                    <asvg:svgBlip xmlns:asvg="http://schemas.microsoft.com/office/drawing/2016/SVG/main" r:embed="rId3"/>
                  </a:ext>
                </a:extLst>
              </a:blip>
              <a:stretch>
                <a:fillRect t="-14523" r="-785"/>
              </a:stretch>
            </a:blipFill>
          </p:spPr>
        </p:sp>
        <p:sp>
          <p:nvSpPr>
            <p:cNvPr id="4" name="Freeform 4"/>
            <p:cNvSpPr/>
            <p:nvPr/>
          </p:nvSpPr>
          <p:spPr>
            <a:xfrm flipH="1">
              <a:off x="85794" y="3416688"/>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5" name="Freeform 5"/>
            <p:cNvSpPr/>
            <p:nvPr/>
          </p:nvSpPr>
          <p:spPr>
            <a:xfrm>
              <a:off x="0" y="7470685"/>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6" name="Freeform 6"/>
            <p:cNvSpPr/>
            <p:nvPr/>
          </p:nvSpPr>
          <p:spPr>
            <a:xfrm flipH="1">
              <a:off x="85794" y="11427206"/>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7" name="Freeform 7"/>
            <p:cNvSpPr/>
            <p:nvPr/>
          </p:nvSpPr>
          <p:spPr>
            <a:xfrm>
              <a:off x="0" y="15408250"/>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8" name="Freeform 8"/>
            <p:cNvSpPr/>
            <p:nvPr/>
          </p:nvSpPr>
          <p:spPr>
            <a:xfrm flipH="1">
              <a:off x="85794" y="19364771"/>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9" name="Freeform 9"/>
            <p:cNvSpPr/>
            <p:nvPr/>
          </p:nvSpPr>
          <p:spPr>
            <a:xfrm>
              <a:off x="0" y="23376611"/>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10" name="Freeform 10"/>
            <p:cNvSpPr/>
            <p:nvPr/>
          </p:nvSpPr>
          <p:spPr>
            <a:xfrm flipH="1">
              <a:off x="85794" y="27333132"/>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2">
                <a:extLst>
                  <a:ext uri="{96DAC541-7B7A-43D3-8B79-37D633B846F1}">
                    <asvg:svgBlip xmlns:asvg="http://schemas.microsoft.com/office/drawing/2016/SVG/main" r:embed="rId3"/>
                  </a:ext>
                </a:extLst>
              </a:blip>
              <a:stretch>
                <a:fillRect/>
              </a:stretch>
            </a:blipFill>
          </p:spPr>
        </p:sp>
      </p:grpSp>
      <p:grpSp>
        <p:nvGrpSpPr>
          <p:cNvPr id="11" name="Group 11"/>
          <p:cNvGrpSpPr/>
          <p:nvPr/>
        </p:nvGrpSpPr>
        <p:grpSpPr>
          <a:xfrm>
            <a:off x="-374795" y="-384029"/>
            <a:ext cx="12851803" cy="2015183"/>
            <a:chOff x="0" y="0"/>
            <a:chExt cx="2319558" cy="363711"/>
          </a:xfrm>
        </p:grpSpPr>
        <p:sp>
          <p:nvSpPr>
            <p:cNvPr id="12" name="Freeform 12"/>
            <p:cNvSpPr/>
            <p:nvPr/>
          </p:nvSpPr>
          <p:spPr>
            <a:xfrm>
              <a:off x="0" y="0"/>
              <a:ext cx="2319558" cy="363711"/>
            </a:xfrm>
            <a:custGeom>
              <a:avLst/>
              <a:gdLst/>
              <a:ahLst/>
              <a:cxnLst/>
              <a:rect l="l" t="t" r="r" b="b"/>
              <a:pathLst>
                <a:path w="2319558" h="363711">
                  <a:moveTo>
                    <a:pt x="0" y="0"/>
                  </a:moveTo>
                  <a:lnTo>
                    <a:pt x="2319558" y="0"/>
                  </a:lnTo>
                  <a:lnTo>
                    <a:pt x="2319558" y="363711"/>
                  </a:lnTo>
                  <a:lnTo>
                    <a:pt x="0" y="363711"/>
                  </a:lnTo>
                  <a:close/>
                </a:path>
              </a:pathLst>
            </a:custGeom>
            <a:solidFill>
              <a:srgbClr val="5271FF"/>
            </a:solidFill>
          </p:spPr>
        </p:sp>
        <p:sp>
          <p:nvSpPr>
            <p:cNvPr id="13" name="TextBox 13"/>
            <p:cNvSpPr txBox="1"/>
            <p:nvPr/>
          </p:nvSpPr>
          <p:spPr>
            <a:xfrm>
              <a:off x="0" y="-38100"/>
              <a:ext cx="2319558" cy="401811"/>
            </a:xfrm>
            <a:prstGeom prst="rect">
              <a:avLst/>
            </a:prstGeom>
          </p:spPr>
          <p:txBody>
            <a:bodyPr lIns="18288" tIns="18288" rIns="18288" bIns="18288" rtlCol="0" anchor="ctr"/>
            <a:lstStyle/>
            <a:p>
              <a:pPr algn="ctr">
                <a:lnSpc>
                  <a:spcPts val="889"/>
                </a:lnSpc>
              </a:pPr>
              <a:endParaRPr sz="800"/>
            </a:p>
          </p:txBody>
        </p:sp>
      </p:grpSp>
      <p:sp>
        <p:nvSpPr>
          <p:cNvPr id="14" name="TextBox 14"/>
          <p:cNvSpPr txBox="1"/>
          <p:nvPr/>
        </p:nvSpPr>
        <p:spPr>
          <a:xfrm>
            <a:off x="-247940" y="638131"/>
            <a:ext cx="12460531" cy="576633"/>
          </a:xfrm>
          <a:prstGeom prst="rect">
            <a:avLst/>
          </a:prstGeom>
        </p:spPr>
        <p:txBody>
          <a:bodyPr wrap="square" lIns="0" tIns="0" rIns="0" bIns="0" rtlCol="0" anchor="t">
            <a:spAutoFit/>
          </a:bodyPr>
          <a:lstStyle/>
          <a:p>
            <a:pPr algn="ctr">
              <a:lnSpc>
                <a:spcPts val="4248"/>
              </a:lnSpc>
            </a:pPr>
            <a:r>
              <a:rPr lang="en-US" sz="5100" spc="379">
                <a:solidFill>
                  <a:srgbClr val="FFFFFF"/>
                </a:solidFill>
                <a:latin typeface="Agrandir Wide Bold"/>
              </a:rPr>
              <a:t>10 "STOPS" ON THE ROAD TO ESSI</a:t>
            </a:r>
            <a:endParaRPr lang="en-US" sz="5118" spc="379">
              <a:solidFill>
                <a:srgbClr val="FFFFFF"/>
              </a:solidFill>
              <a:latin typeface="Agrandir Wide Bold"/>
            </a:endParaRPr>
          </a:p>
        </p:txBody>
      </p:sp>
      <p:grpSp>
        <p:nvGrpSpPr>
          <p:cNvPr id="15" name="Group 15"/>
          <p:cNvGrpSpPr/>
          <p:nvPr/>
        </p:nvGrpSpPr>
        <p:grpSpPr>
          <a:xfrm rot="16200000">
            <a:off x="1452767" y="3116752"/>
            <a:ext cx="1288571" cy="865133"/>
            <a:chOff x="0" y="0"/>
            <a:chExt cx="2577142" cy="1730266"/>
          </a:xfrm>
        </p:grpSpPr>
        <p:sp>
          <p:nvSpPr>
            <p:cNvPr id="16" name="Freeform 16"/>
            <p:cNvSpPr/>
            <p:nvPr/>
          </p:nvSpPr>
          <p:spPr>
            <a:xfrm rot="5318660">
              <a:off x="453231" y="-404030"/>
              <a:ext cx="1670680" cy="2538327"/>
            </a:xfrm>
            <a:custGeom>
              <a:avLst/>
              <a:gdLst/>
              <a:ahLst/>
              <a:cxnLst/>
              <a:rect l="l" t="t" r="r" b="b"/>
              <a:pathLst>
                <a:path w="1670680" h="2538327">
                  <a:moveTo>
                    <a:pt x="0" y="0"/>
                  </a:moveTo>
                  <a:lnTo>
                    <a:pt x="1670680" y="0"/>
                  </a:lnTo>
                  <a:lnTo>
                    <a:pt x="1670680" y="2538326"/>
                  </a:lnTo>
                  <a:lnTo>
                    <a:pt x="0" y="2538326"/>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grpSp>
          <p:nvGrpSpPr>
            <p:cNvPr id="17" name="Group 17"/>
            <p:cNvGrpSpPr/>
            <p:nvPr/>
          </p:nvGrpSpPr>
          <p:grpSpPr>
            <a:xfrm>
              <a:off x="1084280" y="220848"/>
              <a:ext cx="1288571" cy="1288571"/>
              <a:chOff x="0" y="0"/>
              <a:chExt cx="812800" cy="812800"/>
            </a:xfrm>
          </p:grpSpPr>
          <p:sp>
            <p:nvSpPr>
              <p:cNvPr id="18" name="Freeform 1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19" name="TextBox 19"/>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20" name="TextBox 20"/>
          <p:cNvSpPr txBox="1"/>
          <p:nvPr/>
        </p:nvSpPr>
        <p:spPr>
          <a:xfrm>
            <a:off x="973114" y="4445500"/>
            <a:ext cx="2140065" cy="1603003"/>
          </a:xfrm>
          <a:prstGeom prst="rect">
            <a:avLst/>
          </a:prstGeom>
        </p:spPr>
        <p:txBody>
          <a:bodyPr wrap="square" lIns="0" tIns="0" rIns="0" bIns="0" rtlCol="0" anchor="t">
            <a:spAutoFit/>
          </a:bodyPr>
          <a:lstStyle/>
          <a:p>
            <a:pPr algn="ctr">
              <a:lnSpc>
                <a:spcPts val="2510"/>
              </a:lnSpc>
              <a:spcBef>
                <a:spcPct val="0"/>
              </a:spcBef>
            </a:pPr>
            <a:r>
              <a:rPr lang="en-US" dirty="0">
                <a:solidFill>
                  <a:srgbClr val="000000"/>
                </a:solidFill>
                <a:latin typeface="Arial Nova"/>
              </a:rPr>
              <a:t>Review your current safe sleep and respectful care </a:t>
            </a:r>
            <a:r>
              <a:rPr lang="en-US" b="1" dirty="0">
                <a:solidFill>
                  <a:srgbClr val="000000"/>
                </a:solidFill>
                <a:latin typeface="Arial Nova"/>
              </a:rPr>
              <a:t>provider, nursing, and staff education</a:t>
            </a:r>
          </a:p>
        </p:txBody>
      </p:sp>
      <p:sp>
        <p:nvSpPr>
          <p:cNvPr id="22" name="TextBox 22"/>
          <p:cNvSpPr txBox="1"/>
          <p:nvPr/>
        </p:nvSpPr>
        <p:spPr>
          <a:xfrm>
            <a:off x="1756381" y="2958542"/>
            <a:ext cx="670859" cy="577530"/>
          </a:xfrm>
          <a:prstGeom prst="rect">
            <a:avLst/>
          </a:prstGeom>
        </p:spPr>
        <p:txBody>
          <a:bodyPr lIns="0" tIns="0" rIns="0" bIns="0" rtlCol="0" anchor="t">
            <a:spAutoFit/>
          </a:bodyPr>
          <a:lstStyle/>
          <a:p>
            <a:pPr algn="ctr">
              <a:lnSpc>
                <a:spcPts val="4790"/>
              </a:lnSpc>
            </a:pPr>
            <a:r>
              <a:rPr lang="en-US" sz="3422">
                <a:solidFill>
                  <a:srgbClr val="000000"/>
                </a:solidFill>
                <a:latin typeface="Funtastic"/>
              </a:rPr>
              <a:t>6</a:t>
            </a:r>
          </a:p>
        </p:txBody>
      </p:sp>
      <p:sp>
        <p:nvSpPr>
          <p:cNvPr id="23" name="TextBox 23"/>
          <p:cNvSpPr txBox="1"/>
          <p:nvPr/>
        </p:nvSpPr>
        <p:spPr>
          <a:xfrm>
            <a:off x="5075340" y="4508640"/>
            <a:ext cx="1805395" cy="1303370"/>
          </a:xfrm>
          <a:prstGeom prst="rect">
            <a:avLst/>
          </a:prstGeom>
        </p:spPr>
        <p:txBody>
          <a:bodyPr lIns="0" tIns="0" rIns="0" bIns="0" rtlCol="0" anchor="t">
            <a:spAutoFit/>
          </a:bodyPr>
          <a:lstStyle/>
          <a:p>
            <a:pPr algn="ctr">
              <a:lnSpc>
                <a:spcPts val="2603"/>
              </a:lnSpc>
              <a:spcBef>
                <a:spcPct val="0"/>
              </a:spcBef>
            </a:pPr>
            <a:r>
              <a:rPr lang="en-US" dirty="0">
                <a:solidFill>
                  <a:srgbClr val="000000"/>
                </a:solidFill>
                <a:latin typeface="Arial Nova"/>
              </a:rPr>
              <a:t>Begin the QI work by drafting a </a:t>
            </a:r>
            <a:r>
              <a:rPr lang="en-US" b="1" dirty="0">
                <a:solidFill>
                  <a:srgbClr val="000000"/>
                </a:solidFill>
                <a:latin typeface="Arial Nova"/>
              </a:rPr>
              <a:t>30/60/90-day plan</a:t>
            </a:r>
          </a:p>
        </p:txBody>
      </p:sp>
      <p:grpSp>
        <p:nvGrpSpPr>
          <p:cNvPr id="25" name="Group 25"/>
          <p:cNvGrpSpPr/>
          <p:nvPr/>
        </p:nvGrpSpPr>
        <p:grpSpPr>
          <a:xfrm rot="16200000">
            <a:off x="5433703" y="3102346"/>
            <a:ext cx="1305810" cy="876707"/>
            <a:chOff x="0" y="0"/>
            <a:chExt cx="2611620" cy="1753414"/>
          </a:xfrm>
        </p:grpSpPr>
        <p:sp>
          <p:nvSpPr>
            <p:cNvPr id="26" name="Freeform 26"/>
            <p:cNvSpPr/>
            <p:nvPr/>
          </p:nvSpPr>
          <p:spPr>
            <a:xfrm rot="5318660">
              <a:off x="459294" y="-409436"/>
              <a:ext cx="1693031" cy="2572285"/>
            </a:xfrm>
            <a:custGeom>
              <a:avLst/>
              <a:gdLst/>
              <a:ahLst/>
              <a:cxnLst/>
              <a:rect l="l" t="t" r="r" b="b"/>
              <a:pathLst>
                <a:path w="1693031" h="2572285">
                  <a:moveTo>
                    <a:pt x="0" y="0"/>
                  </a:moveTo>
                  <a:lnTo>
                    <a:pt x="1693032" y="0"/>
                  </a:lnTo>
                  <a:lnTo>
                    <a:pt x="1693032" y="2572286"/>
                  </a:lnTo>
                  <a:lnTo>
                    <a:pt x="0" y="2572286"/>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grpSp>
          <p:nvGrpSpPr>
            <p:cNvPr id="27" name="Group 27"/>
            <p:cNvGrpSpPr/>
            <p:nvPr/>
          </p:nvGrpSpPr>
          <p:grpSpPr>
            <a:xfrm>
              <a:off x="1098786" y="223802"/>
              <a:ext cx="1305810" cy="1305810"/>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29" name="TextBox 29"/>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30" name="TextBox 30"/>
          <p:cNvSpPr txBox="1"/>
          <p:nvPr/>
        </p:nvSpPr>
        <p:spPr>
          <a:xfrm>
            <a:off x="5746690" y="2937368"/>
            <a:ext cx="679835" cy="588687"/>
          </a:xfrm>
          <a:prstGeom prst="rect">
            <a:avLst/>
          </a:prstGeom>
        </p:spPr>
        <p:txBody>
          <a:bodyPr lIns="0" tIns="0" rIns="0" bIns="0" rtlCol="0" anchor="t">
            <a:spAutoFit/>
          </a:bodyPr>
          <a:lstStyle/>
          <a:p>
            <a:pPr algn="ctr">
              <a:lnSpc>
                <a:spcPts val="4854"/>
              </a:lnSpc>
            </a:pPr>
            <a:r>
              <a:rPr lang="en-US" sz="3467">
                <a:solidFill>
                  <a:srgbClr val="000000"/>
                </a:solidFill>
                <a:latin typeface="Funtastic"/>
              </a:rPr>
              <a:t>8</a:t>
            </a:r>
          </a:p>
        </p:txBody>
      </p:sp>
      <p:sp>
        <p:nvSpPr>
          <p:cNvPr id="31" name="TextBox 31"/>
          <p:cNvSpPr txBox="1"/>
          <p:nvPr/>
        </p:nvSpPr>
        <p:spPr>
          <a:xfrm>
            <a:off x="9386742" y="4506383"/>
            <a:ext cx="1805395" cy="1511183"/>
          </a:xfrm>
          <a:prstGeom prst="rect">
            <a:avLst/>
          </a:prstGeom>
        </p:spPr>
        <p:txBody>
          <a:bodyPr lIns="0" tIns="0" rIns="0" bIns="0" rtlCol="0" anchor="t">
            <a:spAutoFit/>
          </a:bodyPr>
          <a:lstStyle/>
          <a:p>
            <a:pPr algn="ctr">
              <a:lnSpc>
                <a:spcPts val="2417"/>
              </a:lnSpc>
              <a:spcBef>
                <a:spcPct val="0"/>
              </a:spcBef>
            </a:pPr>
            <a:r>
              <a:rPr lang="en-US" b="1" dirty="0">
                <a:solidFill>
                  <a:srgbClr val="000000"/>
                </a:solidFill>
                <a:latin typeface="Arial Nova"/>
              </a:rPr>
              <a:t>Energize and educate</a:t>
            </a:r>
            <a:r>
              <a:rPr lang="en-US" dirty="0">
                <a:solidFill>
                  <a:srgbClr val="000000"/>
                </a:solidFill>
                <a:latin typeface="Arial Nova"/>
              </a:rPr>
              <a:t> your hospital team members about ESSI</a:t>
            </a:r>
          </a:p>
        </p:txBody>
      </p:sp>
      <p:grpSp>
        <p:nvGrpSpPr>
          <p:cNvPr id="33" name="Group 33"/>
          <p:cNvGrpSpPr/>
          <p:nvPr/>
        </p:nvGrpSpPr>
        <p:grpSpPr>
          <a:xfrm rot="16200000">
            <a:off x="9461270" y="3131430"/>
            <a:ext cx="1271007" cy="853341"/>
            <a:chOff x="0" y="0"/>
            <a:chExt cx="2542015" cy="1706682"/>
          </a:xfrm>
        </p:grpSpPr>
        <p:sp>
          <p:nvSpPr>
            <p:cNvPr id="34" name="Freeform 34"/>
            <p:cNvSpPr/>
            <p:nvPr/>
          </p:nvSpPr>
          <p:spPr>
            <a:xfrm rot="5318660">
              <a:off x="447053" y="-398523"/>
              <a:ext cx="1647909" cy="2503729"/>
            </a:xfrm>
            <a:custGeom>
              <a:avLst/>
              <a:gdLst/>
              <a:ahLst/>
              <a:cxnLst/>
              <a:rect l="l" t="t" r="r" b="b"/>
              <a:pathLst>
                <a:path w="1647909" h="2503729">
                  <a:moveTo>
                    <a:pt x="0" y="0"/>
                  </a:moveTo>
                  <a:lnTo>
                    <a:pt x="1647909" y="0"/>
                  </a:lnTo>
                  <a:lnTo>
                    <a:pt x="1647909" y="2503728"/>
                  </a:lnTo>
                  <a:lnTo>
                    <a:pt x="0" y="2503728"/>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grpSp>
          <p:nvGrpSpPr>
            <p:cNvPr id="35" name="Group 35"/>
            <p:cNvGrpSpPr/>
            <p:nvPr/>
          </p:nvGrpSpPr>
          <p:grpSpPr>
            <a:xfrm>
              <a:off x="1069501" y="217837"/>
              <a:ext cx="1271008" cy="1271008"/>
              <a:chOff x="0" y="0"/>
              <a:chExt cx="812800" cy="812800"/>
            </a:xfrm>
          </p:grpSpPr>
          <p:sp>
            <p:nvSpPr>
              <p:cNvPr id="36" name="Freeform 3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37" name="TextBox 37"/>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38" name="TextBox 38"/>
          <p:cNvSpPr txBox="1"/>
          <p:nvPr/>
        </p:nvSpPr>
        <p:spPr>
          <a:xfrm>
            <a:off x="9760745" y="2977649"/>
            <a:ext cx="661715" cy="566309"/>
          </a:xfrm>
          <a:prstGeom prst="rect">
            <a:avLst/>
          </a:prstGeom>
        </p:spPr>
        <p:txBody>
          <a:bodyPr lIns="0" tIns="0" rIns="0" bIns="0" rtlCol="0" anchor="t">
            <a:spAutoFit/>
          </a:bodyPr>
          <a:lstStyle/>
          <a:p>
            <a:pPr algn="ctr">
              <a:lnSpc>
                <a:spcPts val="4725"/>
              </a:lnSpc>
            </a:pPr>
            <a:r>
              <a:rPr lang="en-US" sz="3375">
                <a:solidFill>
                  <a:srgbClr val="000000"/>
                </a:solidFill>
                <a:latin typeface="Funtastic"/>
              </a:rPr>
              <a:t>10</a:t>
            </a:r>
          </a:p>
        </p:txBody>
      </p:sp>
      <p:grpSp>
        <p:nvGrpSpPr>
          <p:cNvPr id="39" name="Group 39"/>
          <p:cNvGrpSpPr/>
          <p:nvPr/>
        </p:nvGrpSpPr>
        <p:grpSpPr>
          <a:xfrm rot="16200000">
            <a:off x="3449707" y="2071673"/>
            <a:ext cx="1289785" cy="865948"/>
            <a:chOff x="0" y="0"/>
            <a:chExt cx="2579569" cy="1731896"/>
          </a:xfrm>
        </p:grpSpPr>
        <p:sp>
          <p:nvSpPr>
            <p:cNvPr id="40" name="Freeform 40"/>
            <p:cNvSpPr/>
            <p:nvPr/>
          </p:nvSpPr>
          <p:spPr>
            <a:xfrm rot="5318660">
              <a:off x="453658" y="-404411"/>
              <a:ext cx="1672254" cy="2540717"/>
            </a:xfrm>
            <a:custGeom>
              <a:avLst/>
              <a:gdLst/>
              <a:ahLst/>
              <a:cxnLst/>
              <a:rect l="l" t="t" r="r" b="b"/>
              <a:pathLst>
                <a:path w="1672254" h="2540717">
                  <a:moveTo>
                    <a:pt x="0" y="0"/>
                  </a:moveTo>
                  <a:lnTo>
                    <a:pt x="1672253" y="0"/>
                  </a:lnTo>
                  <a:lnTo>
                    <a:pt x="1672253" y="2540717"/>
                  </a:lnTo>
                  <a:lnTo>
                    <a:pt x="0" y="2540717"/>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grpSp>
          <p:nvGrpSpPr>
            <p:cNvPr id="41" name="Group 41"/>
            <p:cNvGrpSpPr/>
            <p:nvPr/>
          </p:nvGrpSpPr>
          <p:grpSpPr>
            <a:xfrm>
              <a:off x="1085301" y="221056"/>
              <a:ext cx="1289785" cy="1289785"/>
              <a:chOff x="0" y="0"/>
              <a:chExt cx="812800" cy="812800"/>
            </a:xfrm>
          </p:grpSpPr>
          <p:sp>
            <p:nvSpPr>
              <p:cNvPr id="42" name="Freeform 4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43" name="TextBox 43"/>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grpSp>
        <p:nvGrpSpPr>
          <p:cNvPr id="44" name="Group 44"/>
          <p:cNvGrpSpPr/>
          <p:nvPr/>
        </p:nvGrpSpPr>
        <p:grpSpPr>
          <a:xfrm rot="16200000">
            <a:off x="7434652" y="2113969"/>
            <a:ext cx="1289785" cy="865948"/>
            <a:chOff x="0" y="0"/>
            <a:chExt cx="2579569" cy="1731896"/>
          </a:xfrm>
        </p:grpSpPr>
        <p:sp>
          <p:nvSpPr>
            <p:cNvPr id="45" name="Freeform 45"/>
            <p:cNvSpPr/>
            <p:nvPr/>
          </p:nvSpPr>
          <p:spPr>
            <a:xfrm rot="5318660">
              <a:off x="453658" y="-404411"/>
              <a:ext cx="1672254" cy="2540717"/>
            </a:xfrm>
            <a:custGeom>
              <a:avLst/>
              <a:gdLst/>
              <a:ahLst/>
              <a:cxnLst/>
              <a:rect l="l" t="t" r="r" b="b"/>
              <a:pathLst>
                <a:path w="1672254" h="2540717">
                  <a:moveTo>
                    <a:pt x="0" y="0"/>
                  </a:moveTo>
                  <a:lnTo>
                    <a:pt x="1672253" y="0"/>
                  </a:lnTo>
                  <a:lnTo>
                    <a:pt x="1672253" y="2540717"/>
                  </a:lnTo>
                  <a:lnTo>
                    <a:pt x="0" y="2540717"/>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sp>
        <p:grpSp>
          <p:nvGrpSpPr>
            <p:cNvPr id="46" name="Group 46"/>
            <p:cNvGrpSpPr/>
            <p:nvPr/>
          </p:nvGrpSpPr>
          <p:grpSpPr>
            <a:xfrm>
              <a:off x="1085301" y="221056"/>
              <a:ext cx="1289785" cy="1289785"/>
              <a:chOff x="0" y="0"/>
              <a:chExt cx="812800" cy="812800"/>
            </a:xfrm>
          </p:grpSpPr>
          <p:sp>
            <p:nvSpPr>
              <p:cNvPr id="47" name="Freeform 4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48" name="TextBox 48"/>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49" name="TextBox 49"/>
          <p:cNvSpPr txBox="1"/>
          <p:nvPr/>
        </p:nvSpPr>
        <p:spPr>
          <a:xfrm>
            <a:off x="3758853" y="1898012"/>
            <a:ext cx="671491" cy="577659"/>
          </a:xfrm>
          <a:prstGeom prst="rect">
            <a:avLst/>
          </a:prstGeom>
        </p:spPr>
        <p:txBody>
          <a:bodyPr lIns="0" tIns="0" rIns="0" bIns="0" rtlCol="0" anchor="t">
            <a:spAutoFit/>
          </a:bodyPr>
          <a:lstStyle/>
          <a:p>
            <a:pPr algn="ctr">
              <a:lnSpc>
                <a:spcPts val="4795"/>
              </a:lnSpc>
            </a:pPr>
            <a:r>
              <a:rPr lang="en-US" sz="3425">
                <a:solidFill>
                  <a:srgbClr val="000000"/>
                </a:solidFill>
                <a:latin typeface="Funtastic"/>
              </a:rPr>
              <a:t>7</a:t>
            </a:r>
          </a:p>
        </p:txBody>
      </p:sp>
      <p:sp>
        <p:nvSpPr>
          <p:cNvPr id="50" name="TextBox 50"/>
          <p:cNvSpPr txBox="1"/>
          <p:nvPr/>
        </p:nvSpPr>
        <p:spPr>
          <a:xfrm>
            <a:off x="7743798" y="1947570"/>
            <a:ext cx="671491" cy="577659"/>
          </a:xfrm>
          <a:prstGeom prst="rect">
            <a:avLst/>
          </a:prstGeom>
        </p:spPr>
        <p:txBody>
          <a:bodyPr lIns="0" tIns="0" rIns="0" bIns="0" rtlCol="0" anchor="t">
            <a:spAutoFit/>
          </a:bodyPr>
          <a:lstStyle/>
          <a:p>
            <a:pPr algn="ctr">
              <a:lnSpc>
                <a:spcPts val="4795"/>
              </a:lnSpc>
            </a:pPr>
            <a:r>
              <a:rPr lang="en-US" sz="3425">
                <a:solidFill>
                  <a:srgbClr val="000000"/>
                </a:solidFill>
                <a:latin typeface="Funtastic"/>
              </a:rPr>
              <a:t>9</a:t>
            </a:r>
          </a:p>
        </p:txBody>
      </p:sp>
      <p:sp>
        <p:nvSpPr>
          <p:cNvPr id="51" name="TextBox 51"/>
          <p:cNvSpPr txBox="1"/>
          <p:nvPr/>
        </p:nvSpPr>
        <p:spPr>
          <a:xfrm>
            <a:off x="3191562" y="3415633"/>
            <a:ext cx="1805395" cy="1894621"/>
          </a:xfrm>
          <a:prstGeom prst="rect">
            <a:avLst/>
          </a:prstGeom>
        </p:spPr>
        <p:txBody>
          <a:bodyPr lIns="0" tIns="0" rIns="0" bIns="0" rtlCol="0" anchor="t">
            <a:spAutoFit/>
          </a:bodyPr>
          <a:lstStyle/>
          <a:p>
            <a:pPr algn="ctr">
              <a:lnSpc>
                <a:spcPts val="2510"/>
              </a:lnSpc>
              <a:spcBef>
                <a:spcPct val="0"/>
              </a:spcBef>
            </a:pPr>
            <a:r>
              <a:rPr lang="en-US" sz="1750" dirty="0">
                <a:solidFill>
                  <a:srgbClr val="000000"/>
                </a:solidFill>
                <a:latin typeface="Arial Nova"/>
              </a:rPr>
              <a:t>Review </a:t>
            </a:r>
            <a:r>
              <a:rPr lang="en-US" sz="1750" b="1" dirty="0">
                <a:solidFill>
                  <a:srgbClr val="000000"/>
                </a:solidFill>
                <a:latin typeface="Arial Nova"/>
              </a:rPr>
              <a:t>key ESSI resources </a:t>
            </a:r>
            <a:r>
              <a:rPr lang="en-US" sz="1750" dirty="0">
                <a:solidFill>
                  <a:srgbClr val="000000"/>
                </a:solidFill>
                <a:latin typeface="Arial Nova"/>
              </a:rPr>
              <a:t>including the Key Driver Diagram and the ESSI Online Toolkit</a:t>
            </a:r>
          </a:p>
        </p:txBody>
      </p:sp>
      <p:sp>
        <p:nvSpPr>
          <p:cNvPr id="53" name="TextBox 53"/>
          <p:cNvSpPr txBox="1"/>
          <p:nvPr/>
        </p:nvSpPr>
        <p:spPr>
          <a:xfrm>
            <a:off x="6978614" y="3464490"/>
            <a:ext cx="2280297" cy="1885131"/>
          </a:xfrm>
          <a:prstGeom prst="rect">
            <a:avLst/>
          </a:prstGeom>
        </p:spPr>
        <p:txBody>
          <a:bodyPr wrap="square" lIns="0" tIns="0" rIns="0" bIns="0" rtlCol="0" anchor="t">
            <a:spAutoFit/>
          </a:bodyPr>
          <a:lstStyle/>
          <a:p>
            <a:pPr algn="ctr">
              <a:lnSpc>
                <a:spcPts val="2137"/>
              </a:lnSpc>
            </a:pPr>
            <a:r>
              <a:rPr lang="en-US" dirty="0">
                <a:solidFill>
                  <a:srgbClr val="000000"/>
                </a:solidFill>
                <a:latin typeface="Arial Nova"/>
              </a:rPr>
              <a:t>Attend the </a:t>
            </a:r>
            <a:endParaRPr lang="en-US" dirty="0"/>
          </a:p>
          <a:p>
            <a:pPr algn="ctr">
              <a:lnSpc>
                <a:spcPts val="2137"/>
              </a:lnSpc>
            </a:pPr>
            <a:r>
              <a:rPr lang="en-US" b="1" dirty="0">
                <a:solidFill>
                  <a:srgbClr val="000000"/>
                </a:solidFill>
                <a:latin typeface="Arial Nova"/>
              </a:rPr>
              <a:t>upcoming ESSI webinars:</a:t>
            </a:r>
            <a:endParaRPr lang="en-US" dirty="0"/>
          </a:p>
          <a:p>
            <a:pPr marL="328930" lvl="1" indent="-164465">
              <a:lnSpc>
                <a:spcPts val="2137"/>
              </a:lnSpc>
              <a:buFont typeface="Arial"/>
              <a:buChar char="•"/>
            </a:pPr>
            <a:r>
              <a:rPr lang="en-US" dirty="0">
                <a:solidFill>
                  <a:srgbClr val="000000"/>
                </a:solidFill>
                <a:latin typeface="Arial Nova"/>
              </a:rPr>
              <a:t>QI Team Leads Support Call</a:t>
            </a:r>
          </a:p>
          <a:p>
            <a:pPr marL="328930" lvl="1" indent="-164465">
              <a:lnSpc>
                <a:spcPts val="2137"/>
              </a:lnSpc>
              <a:buFont typeface="Arial"/>
              <a:buChar char="•"/>
            </a:pPr>
            <a:r>
              <a:rPr lang="en-US" dirty="0">
                <a:solidFill>
                  <a:srgbClr val="000000"/>
                </a:solidFill>
                <a:latin typeface="Arial Nova"/>
              </a:rPr>
              <a:t> ESSI Data Training Webinars </a:t>
            </a:r>
          </a:p>
        </p:txBody>
      </p:sp>
      <p:grpSp>
        <p:nvGrpSpPr>
          <p:cNvPr id="55" name="Group 55"/>
          <p:cNvGrpSpPr/>
          <p:nvPr/>
        </p:nvGrpSpPr>
        <p:grpSpPr>
          <a:xfrm>
            <a:off x="-656998" y="6195521"/>
            <a:ext cx="12851803" cy="2015183"/>
            <a:chOff x="0" y="0"/>
            <a:chExt cx="2319558" cy="363711"/>
          </a:xfrm>
        </p:grpSpPr>
        <p:sp>
          <p:nvSpPr>
            <p:cNvPr id="56" name="Freeform 56"/>
            <p:cNvSpPr/>
            <p:nvPr/>
          </p:nvSpPr>
          <p:spPr>
            <a:xfrm>
              <a:off x="0" y="0"/>
              <a:ext cx="2319558" cy="363711"/>
            </a:xfrm>
            <a:custGeom>
              <a:avLst/>
              <a:gdLst/>
              <a:ahLst/>
              <a:cxnLst/>
              <a:rect l="l" t="t" r="r" b="b"/>
              <a:pathLst>
                <a:path w="2319558" h="363711">
                  <a:moveTo>
                    <a:pt x="0" y="0"/>
                  </a:moveTo>
                  <a:lnTo>
                    <a:pt x="2319558" y="0"/>
                  </a:lnTo>
                  <a:lnTo>
                    <a:pt x="2319558" y="363711"/>
                  </a:lnTo>
                  <a:lnTo>
                    <a:pt x="0" y="363711"/>
                  </a:lnTo>
                  <a:close/>
                </a:path>
              </a:pathLst>
            </a:custGeom>
            <a:solidFill>
              <a:srgbClr val="5271FF"/>
            </a:solidFill>
          </p:spPr>
        </p:sp>
        <p:sp>
          <p:nvSpPr>
            <p:cNvPr id="57" name="TextBox 57"/>
            <p:cNvSpPr txBox="1"/>
            <p:nvPr/>
          </p:nvSpPr>
          <p:spPr>
            <a:xfrm>
              <a:off x="0" y="-38100"/>
              <a:ext cx="2319558" cy="401811"/>
            </a:xfrm>
            <a:prstGeom prst="rect">
              <a:avLst/>
            </a:prstGeom>
          </p:spPr>
          <p:txBody>
            <a:bodyPr lIns="18288" tIns="18288" rIns="18288" bIns="18288" rtlCol="0" anchor="ctr"/>
            <a:lstStyle/>
            <a:p>
              <a:pPr algn="ctr">
                <a:lnSpc>
                  <a:spcPts val="889"/>
                </a:lnSpc>
              </a:pPr>
              <a:endParaRPr sz="800"/>
            </a:p>
          </p:txBody>
        </p:sp>
      </p:grpSp>
    </p:spTree>
    <p:extLst>
      <p:ext uri="{BB962C8B-B14F-4D97-AF65-F5344CB8AC3E}">
        <p14:creationId xmlns:p14="http://schemas.microsoft.com/office/powerpoint/2010/main" val="347296408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a:xfrm>
            <a:off x="686834" y="1153572"/>
            <a:ext cx="3200400" cy="4461163"/>
          </a:xfrm>
        </p:spPr>
        <p:txBody>
          <a:bodyPr>
            <a:normAutofit/>
          </a:bodyPr>
          <a:lstStyle/>
          <a:p>
            <a:r>
              <a:rPr lang="en-US">
                <a:solidFill>
                  <a:srgbClr val="FFFFFF"/>
                </a:solidFill>
                <a:ea typeface="Lato Medium"/>
                <a:cs typeface="Lato Medium"/>
              </a:rPr>
              <a:t>Let’s get started!</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C55"/>
              </a:solidFill>
              <a:effectLst/>
              <a:uLnTx/>
              <a:uFillTx/>
              <a:latin typeface="Calibri" panose="020F0502020204030204"/>
              <a:ea typeface="+mn-ea"/>
              <a:cs typeface="+mn-cs"/>
            </a:endParaRPr>
          </a:p>
        </p:txBody>
      </p:sp>
      <p:sp>
        <p:nvSpPr>
          <p:cNvPr id="3" name="Content Placeholder 2"/>
          <p:cNvSpPr>
            <a:spLocks noGrp="1"/>
          </p:cNvSpPr>
          <p:nvPr>
            <p:ph idx="1"/>
          </p:nvPr>
        </p:nvSpPr>
        <p:spPr>
          <a:xfrm>
            <a:off x="4447308" y="591344"/>
            <a:ext cx="6906491" cy="5585619"/>
          </a:xfrm>
        </p:spPr>
        <p:txBody>
          <a:bodyPr anchor="ctr">
            <a:normAutofit/>
          </a:bodyPr>
          <a:lstStyle/>
          <a:p>
            <a:r>
              <a:rPr lang="en-US" dirty="0"/>
              <a:t>At the ILPQC Annual Conference those who attended the Neonatal Breakout session did an activity to break down the 10 steps to getting started and come up with strategies to implement them.</a:t>
            </a:r>
          </a:p>
          <a:p>
            <a:endParaRPr lang="en-US" dirty="0"/>
          </a:p>
        </p:txBody>
      </p:sp>
    </p:spTree>
    <p:extLst>
      <p:ext uri="{BB962C8B-B14F-4D97-AF65-F5344CB8AC3E}">
        <p14:creationId xmlns:p14="http://schemas.microsoft.com/office/powerpoint/2010/main" val="178331084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23056" y="230666"/>
            <a:ext cx="4985644" cy="1325562"/>
          </a:xfrm>
        </p:spPr>
        <p:txBody>
          <a:bodyPr>
            <a:normAutofit/>
          </a:bodyPr>
          <a:lstStyle/>
          <a:p>
            <a:pPr algn="l"/>
            <a:r>
              <a:rPr lang="en-US" sz="3600" b="1" dirty="0">
                <a:solidFill>
                  <a:schemeClr val="tx2"/>
                </a:solidFill>
              </a:rPr>
              <a:t>Step 1: </a:t>
            </a:r>
            <a:r>
              <a:rPr lang="en-US" sz="3600" dirty="0">
                <a:solidFill>
                  <a:schemeClr val="tx2"/>
                </a:solidFill>
              </a:rPr>
              <a:t>Establish Leadership Commitment</a:t>
            </a:r>
          </a:p>
        </p:txBody>
      </p:sp>
      <p:sp>
        <p:nvSpPr>
          <p:cNvPr id="3" name="Content Placeholder 2"/>
          <p:cNvSpPr>
            <a:spLocks noGrp="1"/>
          </p:cNvSpPr>
          <p:nvPr>
            <p:ph idx="4294967295"/>
          </p:nvPr>
        </p:nvSpPr>
        <p:spPr>
          <a:xfrm>
            <a:off x="529943" y="2152659"/>
            <a:ext cx="5051797" cy="4351338"/>
          </a:xfrm>
        </p:spPr>
        <p:txBody>
          <a:bodyPr vert="horz" lIns="91440" tIns="45720" rIns="91440" bIns="45720" rtlCol="0" anchor="t">
            <a:normAutofit/>
          </a:bodyPr>
          <a:lstStyle/>
          <a:p>
            <a:pPr marL="228600" indent="-228600">
              <a:buClr>
                <a:srgbClr val="F5668F"/>
              </a:buClr>
            </a:pPr>
            <a:r>
              <a:rPr lang="en-US" sz="2800" b="1" dirty="0">
                <a:solidFill>
                  <a:schemeClr val="tx1">
                    <a:lumMod val="65000"/>
                    <a:lumOff val="35000"/>
                  </a:schemeClr>
                </a:solidFill>
              </a:rPr>
              <a:t>Share the ILPQC and IDPH letter of Support with Leadership</a:t>
            </a:r>
            <a:endParaRPr lang="en-US" sz="2800">
              <a:solidFill>
                <a:schemeClr val="tx1">
                  <a:lumMod val="65000"/>
                  <a:lumOff val="35000"/>
                </a:schemeClr>
              </a:solidFill>
            </a:endParaRPr>
          </a:p>
          <a:p>
            <a:pPr>
              <a:buClr>
                <a:srgbClr val="F5668F"/>
              </a:buClr>
            </a:pPr>
            <a:endParaRPr lang="en-US" dirty="0">
              <a:solidFill>
                <a:schemeClr val="tx1">
                  <a:lumMod val="65000"/>
                  <a:lumOff val="35000"/>
                </a:schemeClr>
              </a:solidFill>
            </a:endParaRPr>
          </a:p>
          <a:p>
            <a:pPr>
              <a:buClr>
                <a:srgbClr val="F5668F"/>
              </a:buClr>
            </a:pPr>
            <a:endParaRPr lang="en-US" dirty="0">
              <a:solidFill>
                <a:schemeClr val="tx1">
                  <a:lumMod val="65000"/>
                  <a:lumOff val="35000"/>
                </a:schemeClr>
              </a:solidFill>
            </a:endParaRPr>
          </a:p>
          <a:p>
            <a:pPr>
              <a:buClr>
                <a:srgbClr val="F5668F"/>
              </a:buClr>
            </a:pPr>
            <a:endParaRPr lang="en-US" dirty="0">
              <a:solidFill>
                <a:schemeClr val="tx1">
                  <a:lumMod val="65000"/>
                  <a:lumOff val="35000"/>
                </a:schemeClr>
              </a:solidFill>
            </a:endParaRPr>
          </a:p>
          <a:p>
            <a:pPr>
              <a:buClr>
                <a:srgbClr val="F5668F"/>
              </a:buClr>
            </a:pPr>
            <a:endParaRPr lang="en-US" dirty="0">
              <a:solidFill>
                <a:schemeClr val="tx1">
                  <a:lumMod val="65000"/>
                  <a:lumOff val="35000"/>
                </a:schemeClr>
              </a:solidFill>
            </a:endParaRPr>
          </a:p>
          <a:p>
            <a:pPr marL="0" indent="0">
              <a:buClr>
                <a:srgbClr val="F5668F"/>
              </a:buClr>
              <a:buNone/>
            </a:pPr>
            <a:endParaRPr lang="en-US" sz="2100" dirty="0">
              <a:solidFill>
                <a:schemeClr val="tx1">
                  <a:lumMod val="65000"/>
                  <a:lumOff val="35000"/>
                </a:schemeClr>
              </a:solidFill>
              <a:ea typeface="Calibri"/>
              <a:cs typeface="Calibri"/>
            </a:endParaRPr>
          </a:p>
        </p:txBody>
      </p:sp>
      <p:sp>
        <p:nvSpPr>
          <p:cNvPr id="4" name="Freeform 11"/>
          <p:cNvSpPr/>
          <p:nvPr/>
        </p:nvSpPr>
        <p:spPr>
          <a:xfrm>
            <a:off x="605899" y="3746702"/>
            <a:ext cx="3190673" cy="829453"/>
          </a:xfrm>
          <a:custGeom>
            <a:avLst/>
            <a:gdLst/>
            <a:ahLst/>
            <a:cxnLst/>
            <a:rect l="l" t="t" r="r" b="b"/>
            <a:pathLst>
              <a:path w="3790822" h="1101472">
                <a:moveTo>
                  <a:pt x="0" y="0"/>
                </a:moveTo>
                <a:lnTo>
                  <a:pt x="3790822" y="0"/>
                </a:lnTo>
                <a:lnTo>
                  <a:pt x="3790822" y="1101472"/>
                </a:lnTo>
                <a:lnTo>
                  <a:pt x="0" y="1101472"/>
                </a:lnTo>
                <a:lnTo>
                  <a:pt x="0" y="0"/>
                </a:lnTo>
                <a:close/>
              </a:path>
            </a:pathLst>
          </a:custGeom>
          <a:blipFill>
            <a:blip r:embed="rId2"/>
            <a:stretch>
              <a:fillRect t="-35117" r="-125453" b="-33211"/>
            </a:stretch>
          </a:blipFill>
        </p:spPr>
      </p:sp>
      <p:grpSp>
        <p:nvGrpSpPr>
          <p:cNvPr id="5" name="Group 3"/>
          <p:cNvGrpSpPr/>
          <p:nvPr/>
        </p:nvGrpSpPr>
        <p:grpSpPr>
          <a:xfrm>
            <a:off x="5398106" y="4752671"/>
            <a:ext cx="1001973" cy="1165933"/>
            <a:chOff x="0" y="0"/>
            <a:chExt cx="698500" cy="812800"/>
          </a:xfrm>
        </p:grpSpPr>
        <p:sp>
          <p:nvSpPr>
            <p:cNvPr id="6" name="Freeform 4"/>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6B95FD"/>
            </a:solidFill>
          </p:spPr>
        </p:sp>
        <p:sp>
          <p:nvSpPr>
            <p:cNvPr id="7" name="TextBox 5"/>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 name="Group 6"/>
          <p:cNvGrpSpPr/>
          <p:nvPr/>
        </p:nvGrpSpPr>
        <p:grpSpPr>
          <a:xfrm>
            <a:off x="5953818" y="3740227"/>
            <a:ext cx="1001973" cy="1165933"/>
            <a:chOff x="0" y="0"/>
            <a:chExt cx="698500" cy="812800"/>
          </a:xfrm>
        </p:grpSpPr>
        <p:sp>
          <p:nvSpPr>
            <p:cNvPr id="9" name="Freeform 7"/>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48CFAE"/>
            </a:solidFill>
          </p:spPr>
        </p:sp>
        <p:sp>
          <p:nvSpPr>
            <p:cNvPr id="10" name="TextBox 8"/>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1" name="Group 9"/>
          <p:cNvGrpSpPr/>
          <p:nvPr/>
        </p:nvGrpSpPr>
        <p:grpSpPr>
          <a:xfrm>
            <a:off x="5398106" y="2749246"/>
            <a:ext cx="1001973" cy="1165933"/>
            <a:chOff x="0" y="0"/>
            <a:chExt cx="698500" cy="812800"/>
          </a:xfrm>
        </p:grpSpPr>
        <p:sp>
          <p:nvSpPr>
            <p:cNvPr id="12" name="Freeform 10"/>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4B03D"/>
            </a:solidFill>
          </p:spPr>
        </p:sp>
        <p:sp>
          <p:nvSpPr>
            <p:cNvPr id="13" name="TextBox 11"/>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4" name="Group 12"/>
          <p:cNvGrpSpPr/>
          <p:nvPr/>
        </p:nvGrpSpPr>
        <p:grpSpPr>
          <a:xfrm>
            <a:off x="5953818" y="1747533"/>
            <a:ext cx="1001973" cy="1165933"/>
            <a:chOff x="0" y="0"/>
            <a:chExt cx="698500" cy="812800"/>
          </a:xfrm>
        </p:grpSpPr>
        <p:sp>
          <p:nvSpPr>
            <p:cNvPr id="15" name="Freeform 13"/>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58366"/>
            </a:solidFill>
          </p:spPr>
        </p:sp>
        <p:sp>
          <p:nvSpPr>
            <p:cNvPr id="16" name="TextBox 14"/>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7" name="Group 15"/>
          <p:cNvGrpSpPr/>
          <p:nvPr/>
        </p:nvGrpSpPr>
        <p:grpSpPr>
          <a:xfrm>
            <a:off x="5398106" y="745821"/>
            <a:ext cx="1001973" cy="1165933"/>
            <a:chOff x="0" y="0"/>
            <a:chExt cx="698500" cy="812800"/>
          </a:xfrm>
        </p:grpSpPr>
        <p:sp>
          <p:nvSpPr>
            <p:cNvPr id="18" name="Freeform 16"/>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5668F"/>
            </a:solidFill>
          </p:spPr>
        </p:sp>
        <p:sp>
          <p:nvSpPr>
            <p:cNvPr id="19" name="TextBox 17"/>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0" name="Freeform 19"/>
          <p:cNvSpPr/>
          <p:nvPr/>
        </p:nvSpPr>
        <p:spPr>
          <a:xfrm>
            <a:off x="5322429" y="5677191"/>
            <a:ext cx="1153329" cy="461331"/>
          </a:xfrm>
          <a:custGeom>
            <a:avLst/>
            <a:gdLst/>
            <a:ahLst/>
            <a:cxnLst/>
            <a:rect l="l" t="t" r="r" b="b"/>
            <a:pathLst>
              <a:path w="1729993" h="691997">
                <a:moveTo>
                  <a:pt x="0" y="0"/>
                </a:moveTo>
                <a:lnTo>
                  <a:pt x="1729993" y="0"/>
                </a:lnTo>
                <a:lnTo>
                  <a:pt x="1729993" y="691997"/>
                </a:lnTo>
                <a:lnTo>
                  <a:pt x="0" y="691997"/>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grpSp>
        <p:nvGrpSpPr>
          <p:cNvPr id="21" name="Group 20"/>
          <p:cNvGrpSpPr/>
          <p:nvPr/>
        </p:nvGrpSpPr>
        <p:grpSpPr>
          <a:xfrm>
            <a:off x="5974771" y="5711737"/>
            <a:ext cx="1001973" cy="1165933"/>
            <a:chOff x="0" y="0"/>
            <a:chExt cx="698500" cy="812800"/>
          </a:xfrm>
        </p:grpSpPr>
        <p:sp>
          <p:nvSpPr>
            <p:cNvPr id="22" name="Freeform 21"/>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8CD7E7"/>
            </a:solidFill>
          </p:spPr>
        </p:sp>
        <p:sp>
          <p:nvSpPr>
            <p:cNvPr id="23" name="TextBox 22"/>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4" name="TextBox 29"/>
          <p:cNvSpPr txBox="1"/>
          <p:nvPr/>
        </p:nvSpPr>
        <p:spPr>
          <a:xfrm>
            <a:off x="5650456" y="1171307"/>
            <a:ext cx="483677" cy="301365"/>
          </a:xfrm>
          <a:prstGeom prst="rect">
            <a:avLst/>
          </a:prstGeom>
        </p:spPr>
        <p:txBody>
          <a:bodyPr lIns="0" tIns="0" rIns="0" bIns="0" rtlCol="0" anchor="t">
            <a:spAutoFit/>
          </a:bodyPr>
          <a:lstStyle/>
          <a:p>
            <a:pPr marL="0" marR="0" lvl="0" indent="0" algn="l" defTabSz="914400" rtl="0" eaLnBrk="1" fontAlgn="auto" latinLnBrk="0" hangingPunct="1">
              <a:lnSpc>
                <a:spcPts val="2519"/>
              </a:lnSpc>
              <a:spcBef>
                <a:spcPts val="0"/>
              </a:spcBef>
              <a:spcAft>
                <a:spcPts val="0"/>
              </a:spcAft>
              <a:buClrTx/>
              <a:buSzTx/>
              <a:buFontTx/>
              <a:buNone/>
              <a:tabLst/>
              <a:defRPr/>
            </a:pPr>
            <a:r>
              <a:rPr kumimoji="0" lang="en-US" sz="1799" b="0" i="0" u="none" strike="noStrike" kern="1200" cap="none" spc="57" normalizeH="0" baseline="0" noProof="0">
                <a:ln>
                  <a:noFill/>
                </a:ln>
                <a:solidFill>
                  <a:srgbClr val="000000"/>
                </a:solidFill>
                <a:effectLst/>
                <a:uLnTx/>
                <a:uFillTx/>
                <a:latin typeface="Barlow Semi-Bold"/>
                <a:ea typeface="+mn-ea"/>
                <a:cs typeface="+mn-cs"/>
              </a:rPr>
              <a:t>AAP</a:t>
            </a:r>
          </a:p>
        </p:txBody>
      </p:sp>
      <p:sp>
        <p:nvSpPr>
          <p:cNvPr id="25" name="TextBox 30"/>
          <p:cNvSpPr txBox="1"/>
          <p:nvPr/>
        </p:nvSpPr>
        <p:spPr>
          <a:xfrm>
            <a:off x="6641579" y="1182287"/>
            <a:ext cx="3386412" cy="263983"/>
          </a:xfrm>
          <a:prstGeom prst="rect">
            <a:avLst/>
          </a:prstGeom>
        </p:spPr>
        <p:txBody>
          <a:bodyPr lIns="0" tIns="0" rIns="0" bIns="0" rtlCol="0" anchor="t">
            <a:spAutoFit/>
          </a:bodyPr>
          <a:lstStyle/>
          <a:p>
            <a:pPr marL="0" marR="0" lvl="0" indent="0" algn="l" defTabSz="914400" rtl="0" eaLnBrk="1" fontAlgn="auto" latinLnBrk="0" hangingPunct="1">
              <a:lnSpc>
                <a:spcPts val="2333"/>
              </a:lnSpc>
              <a:spcBef>
                <a:spcPct val="0"/>
              </a:spcBef>
              <a:spcAft>
                <a:spcPts val="0"/>
              </a:spcAft>
              <a:buClrTx/>
              <a:buSzTx/>
              <a:buFontTx/>
              <a:buNone/>
              <a:tabLst/>
              <a:defRPr/>
            </a:pPr>
            <a:r>
              <a:rPr kumimoji="0" lang="en-US" sz="1667" b="0" i="0" u="none" strike="noStrike" kern="1200" cap="none" spc="0" normalizeH="0" baseline="0" noProof="0">
                <a:ln>
                  <a:noFill/>
                </a:ln>
                <a:solidFill>
                  <a:srgbClr val="545454"/>
                </a:solidFill>
                <a:effectLst/>
                <a:uLnTx/>
                <a:uFillTx/>
                <a:latin typeface="Barlow"/>
                <a:ea typeface="+mn-ea"/>
                <a:cs typeface="+mn-cs"/>
              </a:rPr>
              <a:t>Equity and Inclusion Efforts</a:t>
            </a:r>
          </a:p>
        </p:txBody>
      </p:sp>
      <p:sp>
        <p:nvSpPr>
          <p:cNvPr id="26" name="TextBox 31"/>
          <p:cNvSpPr txBox="1"/>
          <p:nvPr/>
        </p:nvSpPr>
        <p:spPr>
          <a:xfrm>
            <a:off x="7133958" y="1869272"/>
            <a:ext cx="4243061" cy="853888"/>
          </a:xfrm>
          <a:prstGeom prst="rect">
            <a:avLst/>
          </a:prstGeom>
        </p:spPr>
        <p:txBody>
          <a:bodyPr lIns="0" tIns="0" rIns="0" bIns="0" rtlCol="0" anchor="t">
            <a:spAutoFit/>
          </a:bodyPr>
          <a:lstStyle/>
          <a:p>
            <a:pPr marL="0" marR="0" lvl="0" indent="0" algn="l" defTabSz="914400" rtl="0" eaLnBrk="1" fontAlgn="auto" latinLnBrk="0" hangingPunct="1">
              <a:lnSpc>
                <a:spcPts val="2333"/>
              </a:lnSpc>
              <a:spcBef>
                <a:spcPct val="0"/>
              </a:spcBef>
              <a:spcAft>
                <a:spcPts val="0"/>
              </a:spcAft>
              <a:buClrTx/>
              <a:buSzTx/>
              <a:buFontTx/>
              <a:buNone/>
              <a:tabLst/>
              <a:defRPr/>
            </a:pPr>
            <a:r>
              <a:rPr kumimoji="0" lang="en-US" sz="1667" b="0" i="0" u="none" strike="noStrike" kern="1200" cap="none" spc="0" normalizeH="0" baseline="0" noProof="0">
                <a:ln>
                  <a:noFill/>
                </a:ln>
                <a:solidFill>
                  <a:srgbClr val="545454"/>
                </a:solidFill>
                <a:effectLst/>
                <a:uLnTx/>
                <a:uFillTx/>
                <a:latin typeface="Barlow"/>
                <a:ea typeface="+mn-ea"/>
                <a:cs typeface="+mn-cs"/>
              </a:rPr>
              <a:t>Sleep-Related Infant Deaths: Updated 2022 Recommendations for Reducing Infant Deaths in the Sleep Environment</a:t>
            </a:r>
          </a:p>
        </p:txBody>
      </p:sp>
      <p:sp>
        <p:nvSpPr>
          <p:cNvPr id="27" name="TextBox 32"/>
          <p:cNvSpPr txBox="1"/>
          <p:nvPr/>
        </p:nvSpPr>
        <p:spPr>
          <a:xfrm>
            <a:off x="5395439" y="3206958"/>
            <a:ext cx="1111557" cy="277640"/>
          </a:xfrm>
          <a:prstGeom prst="rect">
            <a:avLst/>
          </a:prstGeom>
        </p:spPr>
        <p:txBody>
          <a:bodyPr wrap="square" lIns="0" tIns="0" rIns="0" bIns="0" rtlCol="0" anchor="t">
            <a:spAutoFit/>
          </a:bodyPr>
          <a:lstStyle/>
          <a:p>
            <a:pPr marL="0" marR="0" lvl="0" indent="0" algn="l" defTabSz="914400" rtl="0" eaLnBrk="1" fontAlgn="auto" latinLnBrk="0" hangingPunct="1">
              <a:lnSpc>
                <a:spcPts val="2333"/>
              </a:lnSpc>
              <a:spcBef>
                <a:spcPts val="0"/>
              </a:spcBef>
              <a:spcAft>
                <a:spcPts val="0"/>
              </a:spcAft>
              <a:buClrTx/>
              <a:buSzTx/>
              <a:buFontTx/>
              <a:buNone/>
              <a:tabLst/>
              <a:defRPr/>
            </a:pPr>
            <a:r>
              <a:rPr kumimoji="0" lang="en-US" sz="1666" b="0" i="0" u="none" strike="noStrike" kern="1200" cap="none" spc="53" normalizeH="0" baseline="0" noProof="0">
                <a:ln>
                  <a:noFill/>
                </a:ln>
                <a:solidFill>
                  <a:srgbClr val="000000"/>
                </a:solidFill>
                <a:effectLst/>
                <a:uLnTx/>
                <a:uFillTx/>
                <a:latin typeface="Barlow Semi-Bold"/>
                <a:ea typeface="+mn-ea"/>
                <a:cs typeface="+mn-cs"/>
              </a:rPr>
              <a:t>AWHONN</a:t>
            </a:r>
          </a:p>
        </p:txBody>
      </p:sp>
      <p:sp>
        <p:nvSpPr>
          <p:cNvPr id="28" name="TextBox 33"/>
          <p:cNvSpPr txBox="1"/>
          <p:nvPr/>
        </p:nvSpPr>
        <p:spPr>
          <a:xfrm>
            <a:off x="6586581" y="3154789"/>
            <a:ext cx="4309500" cy="269882"/>
          </a:xfrm>
          <a:prstGeom prst="rect">
            <a:avLst/>
          </a:prstGeom>
        </p:spPr>
        <p:txBody>
          <a:bodyPr wrap="square" lIns="0" tIns="0" rIns="0" bIns="0" rtlCol="0" anchor="t">
            <a:spAutoFit/>
          </a:bodyPr>
          <a:lstStyle/>
          <a:p>
            <a:pPr marL="0" marR="0" lvl="0" indent="0" algn="l" defTabSz="914400" rtl="0" eaLnBrk="1" fontAlgn="auto" latinLnBrk="0" hangingPunct="1">
              <a:lnSpc>
                <a:spcPts val="2333"/>
              </a:lnSpc>
              <a:spcBef>
                <a:spcPct val="0"/>
              </a:spcBef>
              <a:spcAft>
                <a:spcPts val="0"/>
              </a:spcAft>
              <a:buClrTx/>
              <a:buSzTx/>
              <a:buFontTx/>
              <a:buNone/>
              <a:tabLst/>
              <a:defRPr/>
            </a:pPr>
            <a:r>
              <a:rPr kumimoji="0" lang="en-US" sz="1667" b="0" i="0" u="none" strike="noStrike" kern="1200" cap="none" spc="0" normalizeH="0" baseline="0" noProof="0">
                <a:ln>
                  <a:noFill/>
                </a:ln>
                <a:solidFill>
                  <a:srgbClr val="545454"/>
                </a:solidFill>
                <a:effectLst/>
                <a:uLnTx/>
                <a:uFillTx/>
                <a:latin typeface="Barlow"/>
                <a:ea typeface="+mn-ea"/>
                <a:cs typeface="+mn-cs"/>
              </a:rPr>
              <a:t>Diversity, Equity, and Inclusion at AWHONN ​</a:t>
            </a:r>
          </a:p>
        </p:txBody>
      </p:sp>
      <p:sp>
        <p:nvSpPr>
          <p:cNvPr id="29" name="TextBox 34"/>
          <p:cNvSpPr txBox="1"/>
          <p:nvPr/>
        </p:nvSpPr>
        <p:spPr>
          <a:xfrm>
            <a:off x="6085595" y="4162829"/>
            <a:ext cx="738418" cy="301365"/>
          </a:xfrm>
          <a:prstGeom prst="rect">
            <a:avLst/>
          </a:prstGeom>
        </p:spPr>
        <p:txBody>
          <a:bodyPr lIns="0" tIns="0" rIns="0" bIns="0" rtlCol="0" anchor="t">
            <a:spAutoFit/>
          </a:bodyPr>
          <a:lstStyle/>
          <a:p>
            <a:pPr marL="0" marR="0" lvl="0" indent="0" algn="l" defTabSz="914400" rtl="0" eaLnBrk="1" fontAlgn="auto" latinLnBrk="0" hangingPunct="1">
              <a:lnSpc>
                <a:spcPts val="2519"/>
              </a:lnSpc>
              <a:spcBef>
                <a:spcPts val="0"/>
              </a:spcBef>
              <a:spcAft>
                <a:spcPts val="0"/>
              </a:spcAft>
              <a:buClrTx/>
              <a:buSzTx/>
              <a:buFontTx/>
              <a:buNone/>
              <a:tabLst/>
              <a:defRPr/>
            </a:pPr>
            <a:r>
              <a:rPr kumimoji="0" lang="en-US" sz="1799" b="0" i="0" u="none" strike="noStrike" kern="1200" cap="none" spc="57" normalizeH="0" baseline="0" noProof="0">
                <a:ln>
                  <a:noFill/>
                </a:ln>
                <a:solidFill>
                  <a:srgbClr val="000000"/>
                </a:solidFill>
                <a:effectLst/>
                <a:uLnTx/>
                <a:uFillTx/>
                <a:latin typeface="Barlow Semi-Bold"/>
                <a:ea typeface="+mn-ea"/>
                <a:cs typeface="+mn-cs"/>
              </a:rPr>
              <a:t>NANN</a:t>
            </a:r>
          </a:p>
        </p:txBody>
      </p:sp>
      <p:sp>
        <p:nvSpPr>
          <p:cNvPr id="30" name="TextBox 35"/>
          <p:cNvSpPr txBox="1"/>
          <p:nvPr/>
        </p:nvSpPr>
        <p:spPr>
          <a:xfrm>
            <a:off x="7133957" y="4031242"/>
            <a:ext cx="4179727" cy="564835"/>
          </a:xfrm>
          <a:prstGeom prst="rect">
            <a:avLst/>
          </a:prstGeom>
        </p:spPr>
        <p:txBody>
          <a:bodyPr wrap="square" lIns="0" tIns="0" rIns="0" bIns="0" rtlCol="0" anchor="t">
            <a:spAutoFit/>
          </a:bodyPr>
          <a:lstStyle/>
          <a:p>
            <a:pPr marL="0" marR="0" lvl="0" indent="0" algn="l" defTabSz="914400" rtl="0" eaLnBrk="1" fontAlgn="auto" latinLnBrk="0" hangingPunct="1">
              <a:lnSpc>
                <a:spcPts val="2333"/>
              </a:lnSpc>
              <a:spcBef>
                <a:spcPct val="0"/>
              </a:spcBef>
              <a:spcAft>
                <a:spcPts val="0"/>
              </a:spcAft>
              <a:buClrTx/>
              <a:buSzTx/>
              <a:buFontTx/>
              <a:buNone/>
              <a:tabLst/>
              <a:defRPr/>
            </a:pPr>
            <a:r>
              <a:rPr kumimoji="0" lang="en-US" sz="1650" b="0" i="0" u="none" strike="noStrike" kern="1200" cap="none" spc="0" normalizeH="0" baseline="0" noProof="0">
                <a:ln>
                  <a:noFill/>
                </a:ln>
                <a:solidFill>
                  <a:srgbClr val="545454"/>
                </a:solidFill>
                <a:effectLst/>
                <a:uLnTx/>
                <a:uFillTx/>
                <a:latin typeface="Barlow"/>
                <a:ea typeface="+mn-ea"/>
                <a:cs typeface="+mn-cs"/>
              </a:rPr>
              <a:t>Position Statement #3070: Racial Disparity in the NICU (2020) ​</a:t>
            </a:r>
          </a:p>
        </p:txBody>
      </p:sp>
      <p:sp>
        <p:nvSpPr>
          <p:cNvPr id="31" name="TextBox 36"/>
          <p:cNvSpPr txBox="1"/>
          <p:nvPr/>
        </p:nvSpPr>
        <p:spPr>
          <a:xfrm>
            <a:off x="5556894" y="5203058"/>
            <a:ext cx="684399" cy="301365"/>
          </a:xfrm>
          <a:prstGeom prst="rect">
            <a:avLst/>
          </a:prstGeom>
        </p:spPr>
        <p:txBody>
          <a:bodyPr lIns="0" tIns="0" rIns="0" bIns="0" rtlCol="0" anchor="t">
            <a:spAutoFit/>
          </a:bodyPr>
          <a:lstStyle/>
          <a:p>
            <a:pPr marL="0" marR="0" lvl="0" indent="0" algn="l" defTabSz="914400" rtl="0" eaLnBrk="1" fontAlgn="auto" latinLnBrk="0" hangingPunct="1">
              <a:lnSpc>
                <a:spcPts val="2519"/>
              </a:lnSpc>
              <a:spcBef>
                <a:spcPts val="0"/>
              </a:spcBef>
              <a:spcAft>
                <a:spcPts val="0"/>
              </a:spcAft>
              <a:buClrTx/>
              <a:buSzTx/>
              <a:buFontTx/>
              <a:buNone/>
              <a:tabLst/>
              <a:defRPr/>
            </a:pPr>
            <a:r>
              <a:rPr kumimoji="0" lang="en-US" sz="1799" b="0" i="0" u="none" strike="noStrike" kern="1200" cap="none" spc="57" normalizeH="0" baseline="0" noProof="0">
                <a:ln>
                  <a:noFill/>
                </a:ln>
                <a:solidFill>
                  <a:srgbClr val="000000"/>
                </a:solidFill>
                <a:effectLst/>
                <a:uLnTx/>
                <a:uFillTx/>
                <a:latin typeface="Barlow Semi-Bold"/>
                <a:ea typeface="+mn-ea"/>
                <a:cs typeface="+mn-cs"/>
              </a:rPr>
              <a:t>NANN</a:t>
            </a:r>
          </a:p>
        </p:txBody>
      </p:sp>
      <p:sp>
        <p:nvSpPr>
          <p:cNvPr id="32" name="TextBox 37"/>
          <p:cNvSpPr txBox="1"/>
          <p:nvPr/>
        </p:nvSpPr>
        <p:spPr>
          <a:xfrm>
            <a:off x="6719317" y="5011631"/>
            <a:ext cx="3386412" cy="564835"/>
          </a:xfrm>
          <a:prstGeom prst="rect">
            <a:avLst/>
          </a:prstGeom>
        </p:spPr>
        <p:txBody>
          <a:bodyPr lIns="0" tIns="0" rIns="0" bIns="0" rtlCol="0" anchor="t">
            <a:spAutoFit/>
          </a:bodyPr>
          <a:lstStyle/>
          <a:p>
            <a:pPr marL="0" marR="0" lvl="0" indent="0" algn="l" defTabSz="914400" rtl="0" eaLnBrk="1" fontAlgn="auto" latinLnBrk="0" hangingPunct="1">
              <a:lnSpc>
                <a:spcPts val="2333"/>
              </a:lnSpc>
              <a:spcBef>
                <a:spcPct val="0"/>
              </a:spcBef>
              <a:spcAft>
                <a:spcPts val="0"/>
              </a:spcAft>
              <a:buClrTx/>
              <a:buSzTx/>
              <a:buFontTx/>
              <a:buNone/>
              <a:tabLst/>
              <a:defRPr/>
            </a:pPr>
            <a:r>
              <a:rPr kumimoji="0" lang="en-US" sz="1650" b="0" i="0" u="none" strike="noStrike" kern="1200" cap="none" spc="0" normalizeH="0" baseline="0" noProof="0">
                <a:ln>
                  <a:noFill/>
                </a:ln>
                <a:solidFill>
                  <a:srgbClr val="545454"/>
                </a:solidFill>
                <a:effectLst/>
                <a:uLnTx/>
                <a:uFillTx/>
                <a:latin typeface="Barlow"/>
                <a:ea typeface="+mn-ea"/>
                <a:cs typeface="+mn-cs"/>
              </a:rPr>
              <a:t>Position Statement #3075: Trauma-Informed Care in the NICU (2022)​</a:t>
            </a:r>
          </a:p>
        </p:txBody>
      </p:sp>
      <p:sp>
        <p:nvSpPr>
          <p:cNvPr id="33" name="TextBox 38"/>
          <p:cNvSpPr txBox="1"/>
          <p:nvPr/>
        </p:nvSpPr>
        <p:spPr>
          <a:xfrm>
            <a:off x="6209978" y="2215953"/>
            <a:ext cx="483677" cy="301365"/>
          </a:xfrm>
          <a:prstGeom prst="rect">
            <a:avLst/>
          </a:prstGeom>
        </p:spPr>
        <p:txBody>
          <a:bodyPr lIns="0" tIns="0" rIns="0" bIns="0" rtlCol="0" anchor="t">
            <a:spAutoFit/>
          </a:bodyPr>
          <a:lstStyle/>
          <a:p>
            <a:pPr marL="0" marR="0" lvl="0" indent="0" algn="l" defTabSz="914400" rtl="0" eaLnBrk="1" fontAlgn="auto" latinLnBrk="0" hangingPunct="1">
              <a:lnSpc>
                <a:spcPts val="2519"/>
              </a:lnSpc>
              <a:spcBef>
                <a:spcPts val="0"/>
              </a:spcBef>
              <a:spcAft>
                <a:spcPts val="0"/>
              </a:spcAft>
              <a:buClrTx/>
              <a:buSzTx/>
              <a:buFontTx/>
              <a:buNone/>
              <a:tabLst/>
              <a:defRPr/>
            </a:pPr>
            <a:r>
              <a:rPr kumimoji="0" lang="en-US" sz="1799" b="0" i="0" u="none" strike="noStrike" kern="1200" cap="none" spc="57" normalizeH="0" baseline="0" noProof="0">
                <a:ln>
                  <a:noFill/>
                </a:ln>
                <a:solidFill>
                  <a:srgbClr val="000000"/>
                </a:solidFill>
                <a:effectLst/>
                <a:uLnTx/>
                <a:uFillTx/>
                <a:latin typeface="Barlow Semi-Bold"/>
                <a:ea typeface="+mn-ea"/>
                <a:cs typeface="+mn-cs"/>
              </a:rPr>
              <a:t>AAP</a:t>
            </a:r>
          </a:p>
        </p:txBody>
      </p:sp>
      <p:sp>
        <p:nvSpPr>
          <p:cNvPr id="34" name="TextBox 39"/>
          <p:cNvSpPr txBox="1"/>
          <p:nvPr/>
        </p:nvSpPr>
        <p:spPr>
          <a:xfrm>
            <a:off x="6134134" y="6137223"/>
            <a:ext cx="684399" cy="301365"/>
          </a:xfrm>
          <a:prstGeom prst="rect">
            <a:avLst/>
          </a:prstGeom>
        </p:spPr>
        <p:txBody>
          <a:bodyPr lIns="0" tIns="0" rIns="0" bIns="0" rtlCol="0" anchor="t">
            <a:spAutoFit/>
          </a:bodyPr>
          <a:lstStyle/>
          <a:p>
            <a:pPr marL="0" marR="0" lvl="0" indent="0" algn="l" defTabSz="914400" rtl="0" eaLnBrk="1" fontAlgn="auto" latinLnBrk="0" hangingPunct="1">
              <a:lnSpc>
                <a:spcPts val="2519"/>
              </a:lnSpc>
              <a:spcBef>
                <a:spcPts val="0"/>
              </a:spcBef>
              <a:spcAft>
                <a:spcPts val="0"/>
              </a:spcAft>
              <a:buClrTx/>
              <a:buSzTx/>
              <a:buFontTx/>
              <a:buNone/>
              <a:tabLst/>
              <a:defRPr/>
            </a:pPr>
            <a:r>
              <a:rPr kumimoji="0" lang="en-US" sz="1799" b="0" i="0" u="none" strike="noStrike" kern="1200" cap="none" spc="57" normalizeH="0" baseline="0" noProof="0">
                <a:ln>
                  <a:noFill/>
                </a:ln>
                <a:solidFill>
                  <a:srgbClr val="000000"/>
                </a:solidFill>
                <a:effectLst/>
                <a:uLnTx/>
                <a:uFillTx/>
                <a:latin typeface="Barlow Semi-Bold"/>
                <a:ea typeface="+mn-ea"/>
                <a:cs typeface="+mn-cs"/>
              </a:rPr>
              <a:t>NANN</a:t>
            </a:r>
          </a:p>
        </p:txBody>
      </p:sp>
      <p:sp>
        <p:nvSpPr>
          <p:cNvPr id="35" name="TextBox 40"/>
          <p:cNvSpPr txBox="1"/>
          <p:nvPr/>
        </p:nvSpPr>
        <p:spPr>
          <a:xfrm>
            <a:off x="7239676" y="6143573"/>
            <a:ext cx="4137343" cy="275973"/>
          </a:xfrm>
          <a:prstGeom prst="rect">
            <a:avLst/>
          </a:prstGeom>
        </p:spPr>
        <p:txBody>
          <a:bodyPr lIns="0" tIns="0" rIns="0" bIns="0" rtlCol="0" anchor="t">
            <a:spAutoFit/>
          </a:bodyPr>
          <a:lstStyle/>
          <a:p>
            <a:pPr marL="0" marR="0" lvl="0" indent="0" algn="l" defTabSz="914400" rtl="0" eaLnBrk="1" fontAlgn="auto" latinLnBrk="0" hangingPunct="1">
              <a:lnSpc>
                <a:spcPts val="2333"/>
              </a:lnSpc>
              <a:spcBef>
                <a:spcPct val="0"/>
              </a:spcBef>
              <a:spcAft>
                <a:spcPts val="0"/>
              </a:spcAft>
              <a:buClrTx/>
              <a:buSzTx/>
              <a:buFontTx/>
              <a:buNone/>
              <a:tabLst/>
              <a:defRPr/>
            </a:pPr>
            <a:r>
              <a:rPr kumimoji="0" lang="en-US" sz="1650" b="0" i="0" u="none" strike="noStrike" kern="1200" cap="none" spc="0" normalizeH="0" baseline="0" noProof="0">
                <a:ln>
                  <a:noFill/>
                </a:ln>
                <a:solidFill>
                  <a:srgbClr val="545454"/>
                </a:solidFill>
                <a:effectLst/>
                <a:uLnTx/>
                <a:uFillTx/>
                <a:latin typeface="Barlow"/>
                <a:ea typeface="+mn-ea"/>
                <a:cs typeface="+mn-cs"/>
              </a:rPr>
              <a:t>9 Recommendations for Equality in Care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TextBox 35">
            <a:extLst>
              <a:ext uri="{FF2B5EF4-FFF2-40B4-BE49-F238E27FC236}">
                <a16:creationId xmlns:a16="http://schemas.microsoft.com/office/drawing/2014/main" id="{6DDD1FA6-DDF8-552B-4E86-7E808427ADE7}"/>
              </a:ext>
            </a:extLst>
          </p:cNvPr>
          <p:cNvSpPr txBox="1"/>
          <p:nvPr/>
        </p:nvSpPr>
        <p:spPr>
          <a:xfrm>
            <a:off x="6688430" y="367048"/>
            <a:ext cx="5651678" cy="4154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595959"/>
                </a:solidFill>
                <a:effectLst/>
                <a:uLnTx/>
                <a:uFillTx/>
                <a:latin typeface="Calibri"/>
                <a:ea typeface="+mn-ea"/>
                <a:cs typeface="+mn-cs"/>
              </a:rPr>
              <a:t>Share National Guidelines with Leadership</a:t>
            </a:r>
            <a:endParaRPr kumimoji="0" lang="en-US" sz="1800" b="1" i="0" u="none" strike="noStrike" kern="1200" cap="none" spc="0" normalizeH="0" baseline="0" noProof="0" dirty="0">
              <a:ln>
                <a:noFill/>
              </a:ln>
              <a:solidFill>
                <a:prstClr val="black"/>
              </a:solidFill>
              <a:effectLst/>
              <a:uLnTx/>
              <a:uFillTx/>
              <a:latin typeface="Calibri"/>
              <a:ea typeface="+mn-ea"/>
              <a:cs typeface="+mn-cs"/>
            </a:endParaRPr>
          </a:p>
        </p:txBody>
      </p:sp>
      <p:sp>
        <p:nvSpPr>
          <p:cNvPr id="38" name="Rectangle: Rounded Corners 37">
            <a:extLst>
              <a:ext uri="{FF2B5EF4-FFF2-40B4-BE49-F238E27FC236}">
                <a16:creationId xmlns:a16="http://schemas.microsoft.com/office/drawing/2014/main" id="{38A58365-605F-9282-AEAB-A7E2E448F3E2}"/>
              </a:ext>
            </a:extLst>
          </p:cNvPr>
          <p:cNvSpPr/>
          <p:nvPr/>
        </p:nvSpPr>
        <p:spPr>
          <a:xfrm>
            <a:off x="708588" y="4967652"/>
            <a:ext cx="3849394" cy="1562605"/>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100" dirty="0">
                <a:cs typeface="Calibri"/>
              </a:rPr>
              <a:t>Visit </a:t>
            </a:r>
            <a:r>
              <a:rPr lang="en-US" sz="3100" u="sng" dirty="0">
                <a:cs typeface="Calibri"/>
              </a:rPr>
              <a:t>ilpqc.org/ESSI</a:t>
            </a:r>
            <a:r>
              <a:rPr lang="en-US" sz="3100" dirty="0">
                <a:cs typeface="Calibri"/>
              </a:rPr>
              <a:t> for the </a:t>
            </a:r>
            <a:r>
              <a:rPr lang="en-US" sz="3100" b="1" dirty="0">
                <a:cs typeface="Calibri"/>
              </a:rPr>
              <a:t>ILPQC/IDPH Letter of Support</a:t>
            </a:r>
            <a:endParaRPr lang="en-US" sz="3600" b="1" dirty="0">
              <a:cs typeface="Calibri"/>
            </a:endParaRPr>
          </a:p>
        </p:txBody>
      </p:sp>
    </p:spTree>
    <p:extLst>
      <p:ext uri="{BB962C8B-B14F-4D97-AF65-F5344CB8AC3E}">
        <p14:creationId xmlns:p14="http://schemas.microsoft.com/office/powerpoint/2010/main" val="25471464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2">
            <a:alpha val="35000"/>
          </a:schemeClr>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5278130-DFE0-457B-8698-88DF69019D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2F99531B-1681-4D6E-BECB-18325B33A6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20344094-430A-400B-804B-910E696A1A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78324" y="709375"/>
            <a:ext cx="10713676" cy="5433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453C67DF-7782-4E57-AB9B-F1B4811AD8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43451" y="1248213"/>
            <a:ext cx="5413238" cy="4326335"/>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a:xfrm>
            <a:off x="504967" y="675564"/>
            <a:ext cx="3609833" cy="5204085"/>
          </a:xfrm>
        </p:spPr>
        <p:txBody>
          <a:bodyPr>
            <a:normAutofit/>
          </a:bodyPr>
          <a:lstStyle/>
          <a:p>
            <a:r>
              <a:rPr lang="en-US" dirty="0"/>
              <a:t>Step 2: </a:t>
            </a:r>
            <a:r>
              <a:rPr lang="en-US" b="0" dirty="0"/>
              <a:t>Schedule regular ESSI QI Team meetings</a:t>
            </a:r>
          </a:p>
        </p:txBody>
      </p:sp>
      <p:cxnSp>
        <p:nvCxnSpPr>
          <p:cNvPr id="19" name="Straight Connector 18">
            <a:extLst>
              <a:ext uri="{FF2B5EF4-FFF2-40B4-BE49-F238E27FC236}">
                <a16:creationId xmlns:a16="http://schemas.microsoft.com/office/drawing/2014/main" id="{B03A5AE3-BD30-455C-842B-7626C8BEF09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11365990" y="5610"/>
            <a:ext cx="0" cy="685800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10"/>
          </p:nvPr>
        </p:nvSpPr>
        <p:spPr>
          <a:xfrm>
            <a:off x="11380641" y="0"/>
            <a:ext cx="811359" cy="704762"/>
          </a:xfrm>
        </p:spPr>
        <p:txBody>
          <a:bodyP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600"/>
                </a:spcAft>
                <a:buClrTx/>
                <a:buSzTx/>
                <a:buFontTx/>
                <a:buNone/>
                <a:tabLst/>
                <a:defRPr/>
              </a:pPr>
              <a:t>63</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cxnSp>
        <p:nvCxnSpPr>
          <p:cNvPr id="21" name="Straight Connector 20">
            <a:extLst>
              <a:ext uri="{FF2B5EF4-FFF2-40B4-BE49-F238E27FC236}">
                <a16:creationId xmlns:a16="http://schemas.microsoft.com/office/drawing/2014/main" id="{2DBECAA5-1F2D-470D-875C-8F2C2CA3E5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18001"/>
            <a:ext cx="12192000" cy="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5" name="Footer Placeholder 4"/>
          <p:cNvSpPr>
            <a:spLocks noGrp="1"/>
          </p:cNvSpPr>
          <p:nvPr>
            <p:ph type="ftr" sz="quarter" idx="11"/>
          </p:nvPr>
        </p:nvSpPr>
        <p:spPr>
          <a:xfrm>
            <a:off x="6828293" y="6134382"/>
            <a:ext cx="4114800" cy="723618"/>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graphicFrame>
        <p:nvGraphicFramePr>
          <p:cNvPr id="7" name="Content Placeholder 2">
            <a:extLst>
              <a:ext uri="{FF2B5EF4-FFF2-40B4-BE49-F238E27FC236}">
                <a16:creationId xmlns:a16="http://schemas.microsoft.com/office/drawing/2014/main" id="{F06CF2E9-18E9-F336-FAF0-9ACB11E023F2}"/>
              </a:ext>
            </a:extLst>
          </p:cNvPr>
          <p:cNvGraphicFramePr>
            <a:graphicFrameLocks noGrp="1"/>
          </p:cNvGraphicFramePr>
          <p:nvPr>
            <p:ph idx="1"/>
          </p:nvPr>
        </p:nvGraphicFramePr>
        <p:xfrm>
          <a:off x="4776730" y="819369"/>
          <a:ext cx="6589260" cy="52439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6102120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65125"/>
            <a:ext cx="7441096" cy="1325563"/>
          </a:xfrm>
        </p:spPr>
        <p:txBody>
          <a:bodyPr/>
          <a:lstStyle/>
          <a:p>
            <a:r>
              <a:rPr lang="en-US" dirty="0"/>
              <a:t>Step 3: </a:t>
            </a:r>
            <a:r>
              <a:rPr lang="en-US" b="0" dirty="0"/>
              <a:t>Confirm that your ESSI QI team roster is complete and up-to-date</a:t>
            </a:r>
          </a:p>
        </p:txBody>
      </p:sp>
      <p:sp>
        <p:nvSpPr>
          <p:cNvPr id="3" name="Content Placeholder 2"/>
          <p:cNvSpPr>
            <a:spLocks noGrp="1"/>
          </p:cNvSpPr>
          <p:nvPr>
            <p:ph idx="1"/>
          </p:nvPr>
        </p:nvSpPr>
        <p:spPr>
          <a:xfrm>
            <a:off x="889587" y="1874009"/>
            <a:ext cx="4283413" cy="4351338"/>
          </a:xfrm>
        </p:spPr>
        <p:txBody>
          <a:bodyPr/>
          <a:lstStyle/>
          <a:p>
            <a:r>
              <a:rPr lang="en-US" dirty="0"/>
              <a:t>Project Team Leader </a:t>
            </a:r>
          </a:p>
          <a:p>
            <a:r>
              <a:rPr lang="en-US" dirty="0"/>
              <a:t>NICU Provider Lead 	</a:t>
            </a:r>
          </a:p>
          <a:p>
            <a:r>
              <a:rPr lang="en-US" dirty="0"/>
              <a:t>Postpartum Provider Lead 	</a:t>
            </a:r>
          </a:p>
          <a:p>
            <a:r>
              <a:rPr lang="en-US" dirty="0"/>
              <a:t>NICU Nurse Lead  </a:t>
            </a:r>
          </a:p>
          <a:p>
            <a:r>
              <a:rPr lang="en-US" dirty="0"/>
              <a:t>Postpartum Nurse Lead </a:t>
            </a:r>
          </a:p>
          <a:p>
            <a:r>
              <a:rPr lang="en-US" dirty="0"/>
              <a:t>Community Pediatrician </a:t>
            </a:r>
          </a:p>
          <a:p>
            <a:r>
              <a:rPr lang="en-US" dirty="0"/>
              <a:t>NICU Social Worker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6" name="Content Placeholder 2"/>
          <p:cNvSpPr txBox="1">
            <a:spLocks/>
          </p:cNvSpPr>
          <p:nvPr/>
        </p:nvSpPr>
        <p:spPr>
          <a:xfrm>
            <a:off x="5637178" y="1874009"/>
            <a:ext cx="6404043" cy="4351338"/>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444C55"/>
                </a:solidFill>
                <a:effectLst/>
                <a:uLnTx/>
                <a:uFillTx/>
                <a:latin typeface="Calibri" panose="020F0502020204030204"/>
              </a:rPr>
              <a:t>Postpartum Social Worker	</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444C55"/>
                </a:solidFill>
                <a:effectLst/>
                <a:uLnTx/>
                <a:uFillTx/>
                <a:latin typeface="Calibri" panose="020F0502020204030204"/>
              </a:rPr>
              <a:t>Patient Navigator / Discharge Planner </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444C55"/>
                </a:solidFill>
                <a:effectLst/>
                <a:uLnTx/>
                <a:uFillTx/>
                <a:latin typeface="Calibri" panose="020F0502020204030204"/>
              </a:rPr>
              <a:t>NICU Clinical Nurse Educator</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444C55"/>
                </a:solidFill>
                <a:effectLst/>
                <a:uLnTx/>
                <a:uFillTx/>
                <a:latin typeface="Calibri" panose="020F0502020204030204"/>
              </a:rPr>
              <a:t>Postpartum Clinical Nurse Educator </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444C55"/>
                </a:solidFill>
                <a:effectLst/>
                <a:uLnTx/>
                <a:uFillTx/>
                <a:latin typeface="Calibri" panose="020F0502020204030204"/>
              </a:rPr>
              <a:t>Parent Partner	</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444C55"/>
                </a:solidFill>
                <a:effectLst/>
                <a:uLnTx/>
                <a:uFillTx/>
                <a:latin typeface="Calibri" panose="020F0502020204030204"/>
              </a:rPr>
              <a:t>Any other team members</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444C55"/>
                </a:solidFill>
                <a:effectLst/>
                <a:uLnTx/>
                <a:uFillTx/>
                <a:latin typeface="Calibri" panose="020F0502020204030204"/>
              </a:rPr>
              <a:t>Who is going to enter data for the ESSI initiative and will need </a:t>
            </a:r>
            <a:r>
              <a:rPr kumimoji="0" lang="en-US" sz="2400" b="0" i="0" u="none" strike="noStrike" kern="1200" cap="none" spc="0" normalizeH="0" baseline="0" noProof="0" dirty="0" err="1">
                <a:ln>
                  <a:noFill/>
                </a:ln>
                <a:solidFill>
                  <a:srgbClr val="444C55"/>
                </a:solidFill>
                <a:effectLst/>
                <a:uLnTx/>
                <a:uFillTx/>
                <a:latin typeface="Calibri" panose="020F0502020204030204"/>
              </a:rPr>
              <a:t>REDCap</a:t>
            </a:r>
            <a:r>
              <a:rPr kumimoji="0" lang="en-US" sz="2400" b="0" i="0" u="none" strike="noStrike" kern="1200" cap="none" spc="0" normalizeH="0" baseline="0" noProof="0" dirty="0">
                <a:ln>
                  <a:noFill/>
                </a:ln>
                <a:solidFill>
                  <a:srgbClr val="444C55"/>
                </a:solidFill>
                <a:effectLst/>
                <a:uLnTx/>
                <a:uFillTx/>
                <a:latin typeface="Calibri" panose="020F0502020204030204"/>
              </a:rPr>
              <a:t> access? </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endParaRPr kumimoji="0" lang="en-US" sz="2400" b="0" i="0" u="none" strike="noStrike" kern="1200" cap="none" spc="0" normalizeH="0" baseline="0" noProof="0" dirty="0">
              <a:ln>
                <a:noFill/>
              </a:ln>
              <a:solidFill>
                <a:srgbClr val="444C55"/>
              </a:solidFill>
              <a:effectLst/>
              <a:uLnTx/>
              <a:uFillTx/>
              <a:latin typeface="Calibri" panose="020F0502020204030204"/>
            </a:endParaRPr>
          </a:p>
        </p:txBody>
      </p:sp>
    </p:spTree>
    <p:extLst>
      <p:ext uri="{BB962C8B-B14F-4D97-AF65-F5344CB8AC3E}">
        <p14:creationId xmlns:p14="http://schemas.microsoft.com/office/powerpoint/2010/main" val="243760295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 4: </a:t>
            </a:r>
            <a:r>
              <a:rPr lang="en-US" b="0" dirty="0"/>
              <a:t>Review ESSI Data Forms</a:t>
            </a:r>
          </a:p>
        </p:txBody>
      </p:sp>
      <p:graphicFrame>
        <p:nvGraphicFramePr>
          <p:cNvPr id="7" name="Content Placeholder 2">
            <a:extLst>
              <a:ext uri="{FF2B5EF4-FFF2-40B4-BE49-F238E27FC236}">
                <a16:creationId xmlns:a16="http://schemas.microsoft.com/office/drawing/2014/main" id="{D93EF601-CA84-ECB1-08DF-C8BAEC274FE9}"/>
              </a:ext>
            </a:extLst>
          </p:cNvPr>
          <p:cNvGraphicFramePr>
            <a:graphicFrameLocks noGrp="1"/>
          </p:cNvGraphicFramePr>
          <p:nvPr>
            <p:ph idx="1"/>
          </p:nvPr>
        </p:nvGraphicFramePr>
        <p:xfrm>
          <a:off x="609600" y="1544774"/>
          <a:ext cx="10972800" cy="48115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Tree>
    <p:extLst>
      <p:ext uri="{BB962C8B-B14F-4D97-AF65-F5344CB8AC3E}">
        <p14:creationId xmlns:p14="http://schemas.microsoft.com/office/powerpoint/2010/main" val="270176018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82097"/>
            <a:ext cx="5388429" cy="1325563"/>
          </a:xfrm>
        </p:spPr>
        <p:txBody>
          <a:bodyPr/>
          <a:lstStyle/>
          <a:p>
            <a:r>
              <a:rPr lang="en-US" dirty="0"/>
              <a:t>Hospital Level Data form: </a:t>
            </a:r>
            <a:r>
              <a:rPr lang="en-US" b="0" dirty="0"/>
              <a:t>Structure Measures</a:t>
            </a:r>
          </a:p>
        </p:txBody>
      </p:sp>
      <p:sp>
        <p:nvSpPr>
          <p:cNvPr id="4" name="Slide Number Placeholder 3"/>
          <p:cNvSpPr>
            <a:spLocks noGrp="1"/>
          </p:cNvSpPr>
          <p:nvPr>
            <p:ph type="sldNum" sz="quarter" idx="10"/>
          </p:nvPr>
        </p:nvSpPr>
        <p:spPr/>
        <p:txBody>
          <a:bodyPr/>
          <a:lstStyle/>
          <a:p>
            <a:fld id="{97033E4B-E3EB-3D46-B2D8-3159663620FA}" type="slidenum">
              <a:rPr lang="en-US" smtClean="0"/>
              <a:pPr/>
              <a:t>66</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8" name="Content Placeholder 7"/>
          <p:cNvSpPr>
            <a:spLocks noGrp="1"/>
          </p:cNvSpPr>
          <p:nvPr>
            <p:ph idx="1"/>
          </p:nvPr>
        </p:nvSpPr>
        <p:spPr>
          <a:xfrm>
            <a:off x="609600" y="1706336"/>
            <a:ext cx="10972800" cy="4351338"/>
          </a:xfrm>
        </p:spPr>
        <p:txBody>
          <a:bodyPr/>
          <a:lstStyle/>
          <a:p>
            <a:pPr fontAlgn="t">
              <a:spcBef>
                <a:spcPts val="0"/>
              </a:spcBef>
            </a:pPr>
            <a:r>
              <a:rPr lang="en-US" sz="1800" dirty="0"/>
              <a:t>Hospital has </a:t>
            </a:r>
            <a:r>
              <a:rPr lang="en-US" sz="1800" b="1" u="sng" dirty="0"/>
              <a:t>standardized provider and hospital staff education about listening to parents and caregivers, providing respectful care and building trust, addressing implicit bias and engaging in anti-racism</a:t>
            </a:r>
            <a:r>
              <a:rPr lang="en-US" sz="1800" dirty="0"/>
              <a:t>.</a:t>
            </a:r>
          </a:p>
          <a:p>
            <a:pPr fontAlgn="t">
              <a:spcBef>
                <a:spcPts val="0"/>
              </a:spcBef>
            </a:pPr>
            <a:r>
              <a:rPr lang="en-US" sz="1800" dirty="0"/>
              <a:t>Hospital has standardized </a:t>
            </a:r>
            <a:r>
              <a:rPr lang="en-US" sz="1800" b="1" u="sng" dirty="0"/>
              <a:t>provider and hospital staff education about the importance of a safe sleep environment </a:t>
            </a:r>
            <a:r>
              <a:rPr lang="en-US" sz="1800" dirty="0"/>
              <a:t>and engaging in meaningful, culturally appropriate, respectful, nonjudgmental conversations with parents or caregivers about safe sleep.  </a:t>
            </a:r>
          </a:p>
          <a:p>
            <a:pPr fontAlgn="t">
              <a:spcBef>
                <a:spcPts val="0"/>
              </a:spcBef>
            </a:pPr>
            <a:r>
              <a:rPr lang="en-US" sz="1800" dirty="0"/>
              <a:t>Hospital has a standardized practice of </a:t>
            </a:r>
            <a:r>
              <a:rPr lang="en-US" sz="1800" b="1" u="sng" dirty="0"/>
              <a:t>promoting a safe sleep environment </a:t>
            </a:r>
            <a:r>
              <a:rPr lang="en-US" sz="1800" dirty="0"/>
              <a:t>in the hospital setting in accordance with the 2022 AAP Recommendations.  </a:t>
            </a:r>
          </a:p>
          <a:p>
            <a:pPr fontAlgn="t">
              <a:spcBef>
                <a:spcPts val="0"/>
              </a:spcBef>
            </a:pPr>
            <a:r>
              <a:rPr lang="en-US" sz="1800" dirty="0"/>
              <a:t>Hospital has a </a:t>
            </a:r>
            <a:r>
              <a:rPr lang="en-US" sz="1800" b="1" u="sng" dirty="0"/>
              <a:t>policy in place for safe sleep practices</a:t>
            </a:r>
            <a:r>
              <a:rPr lang="en-US" sz="1800" dirty="0"/>
              <a:t> reflective of the 2022 AAP Recommendations.</a:t>
            </a:r>
          </a:p>
          <a:p>
            <a:pPr fontAlgn="t">
              <a:spcBef>
                <a:spcPts val="0"/>
              </a:spcBef>
            </a:pPr>
            <a:r>
              <a:rPr lang="en-US" sz="1800" dirty="0"/>
              <a:t>Hospital has a standardized process to use </a:t>
            </a:r>
            <a:r>
              <a:rPr lang="en-US" sz="1800" b="1" u="sng" dirty="0"/>
              <a:t>qualified language interpreters </a:t>
            </a:r>
            <a:r>
              <a:rPr lang="en-US" sz="1800" dirty="0"/>
              <a:t>in parents/caregivers’ preferred language.</a:t>
            </a:r>
          </a:p>
          <a:p>
            <a:pPr fontAlgn="t">
              <a:spcBef>
                <a:spcPts val="0"/>
              </a:spcBef>
            </a:pPr>
            <a:r>
              <a:rPr lang="en-US" sz="1800" dirty="0"/>
              <a:t>Hospital has a standardized process for </a:t>
            </a:r>
            <a:r>
              <a:rPr lang="en-US" sz="1800" b="1" u="sng" dirty="0"/>
              <a:t>reviewing all unit policies with an equity lens </a:t>
            </a:r>
            <a:r>
              <a:rPr lang="en-US" sz="1800" dirty="0"/>
              <a:t>and making necessary changes.  </a:t>
            </a:r>
          </a:p>
          <a:p>
            <a:pPr fontAlgn="t">
              <a:spcBef>
                <a:spcPts val="0"/>
              </a:spcBef>
            </a:pPr>
            <a:r>
              <a:rPr lang="en-US" sz="1800" dirty="0"/>
              <a:t>Hospital has </a:t>
            </a:r>
            <a:r>
              <a:rPr lang="en-US" sz="1800" b="1" u="sng" dirty="0"/>
              <a:t>parent(s) and/or caregiver(s) on the newborn quality improvement team</a:t>
            </a:r>
          </a:p>
        </p:txBody>
      </p:sp>
    </p:spTree>
    <p:extLst>
      <p:ext uri="{BB962C8B-B14F-4D97-AF65-F5344CB8AC3E}">
        <p14:creationId xmlns:p14="http://schemas.microsoft.com/office/powerpoint/2010/main" val="66104663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82097"/>
            <a:ext cx="5388429" cy="1325563"/>
          </a:xfrm>
        </p:spPr>
        <p:txBody>
          <a:bodyPr/>
          <a:lstStyle/>
          <a:p>
            <a:r>
              <a:rPr lang="en-US" dirty="0"/>
              <a:t>Hospital Level Data form: </a:t>
            </a:r>
            <a:r>
              <a:rPr lang="en-US" b="0" dirty="0"/>
              <a:t>Structure Measures</a:t>
            </a:r>
          </a:p>
        </p:txBody>
      </p:sp>
      <p:sp>
        <p:nvSpPr>
          <p:cNvPr id="4" name="Slide Number Placeholder 3"/>
          <p:cNvSpPr>
            <a:spLocks noGrp="1"/>
          </p:cNvSpPr>
          <p:nvPr>
            <p:ph type="sldNum" sz="quarter" idx="10"/>
          </p:nvPr>
        </p:nvSpPr>
        <p:spPr/>
        <p:txBody>
          <a:bodyPr/>
          <a:lstStyle/>
          <a:p>
            <a:fld id="{97033E4B-E3EB-3D46-B2D8-3159663620FA}" type="slidenum">
              <a:rPr lang="en-US" smtClean="0"/>
              <a:pPr/>
              <a:t>67</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8" name="Content Placeholder 7"/>
          <p:cNvSpPr>
            <a:spLocks noGrp="1"/>
          </p:cNvSpPr>
          <p:nvPr>
            <p:ph idx="1"/>
          </p:nvPr>
        </p:nvSpPr>
        <p:spPr>
          <a:xfrm>
            <a:off x="511629" y="1488168"/>
            <a:ext cx="10972800" cy="4351338"/>
          </a:xfrm>
        </p:spPr>
        <p:txBody>
          <a:bodyPr/>
          <a:lstStyle/>
          <a:p>
            <a:pPr fontAlgn="t"/>
            <a:r>
              <a:rPr lang="en-US" b="1" dirty="0"/>
              <a:t>Hospital has a standardized process to….</a:t>
            </a:r>
          </a:p>
          <a:p>
            <a:pPr lvl="1" fontAlgn="t"/>
            <a:r>
              <a:rPr lang="en-US" sz="1800" dirty="0"/>
              <a:t>Provide parents or caregivers </a:t>
            </a:r>
            <a:r>
              <a:rPr lang="en-US" sz="1800" b="1" u="sng" dirty="0"/>
              <a:t>culturally responsive safe sleep education</a:t>
            </a:r>
            <a:r>
              <a:rPr lang="en-US" sz="1800" dirty="0"/>
              <a:t> including awareness of potential challenges, modeling, and teach back opportunities during hospitalization.</a:t>
            </a:r>
          </a:p>
          <a:p>
            <a:pPr lvl="1" fontAlgn="t"/>
            <a:r>
              <a:rPr lang="en-US" sz="1800" dirty="0"/>
              <a:t>Identify </a:t>
            </a:r>
            <a:r>
              <a:rPr lang="en-US" sz="1800" b="1" u="sng" dirty="0"/>
              <a:t>barriers to providing a safe sleep environment </a:t>
            </a:r>
            <a:r>
              <a:rPr lang="en-US" sz="1800" dirty="0"/>
              <a:t>outside of the hospital.</a:t>
            </a:r>
          </a:p>
          <a:p>
            <a:pPr lvl="1" fontAlgn="t"/>
            <a:r>
              <a:rPr lang="en-US" sz="1800" dirty="0"/>
              <a:t>Provide </a:t>
            </a:r>
            <a:r>
              <a:rPr lang="en-US" sz="1800" b="1" u="sng" dirty="0"/>
              <a:t>resources to enable a safe sleep environment </a:t>
            </a:r>
            <a:r>
              <a:rPr lang="en-US" sz="1800" dirty="0"/>
              <a:t>outside of the hospital.</a:t>
            </a:r>
          </a:p>
          <a:p>
            <a:pPr lvl="1" fontAlgn="t"/>
            <a:r>
              <a:rPr lang="en-US" sz="1800" dirty="0"/>
              <a:t>Screen for </a:t>
            </a:r>
            <a:r>
              <a:rPr lang="en-US" sz="1800" b="1" u="sng" dirty="0"/>
              <a:t>newborn inclusive Social Determinants of Health </a:t>
            </a:r>
            <a:r>
              <a:rPr lang="en-US" sz="1800" dirty="0"/>
              <a:t>and to link to needed resources.</a:t>
            </a:r>
          </a:p>
          <a:p>
            <a:pPr lvl="1" fontAlgn="t"/>
            <a:r>
              <a:rPr lang="en-US" sz="1800" b="1" u="sng" dirty="0"/>
              <a:t>Transfer of care </a:t>
            </a:r>
            <a:r>
              <a:rPr lang="en-US" sz="1800" dirty="0"/>
              <a:t>to the newborn’s community provider, including documentation of ESSI Newborn Care Plan.</a:t>
            </a:r>
          </a:p>
          <a:p>
            <a:pPr lvl="1" fontAlgn="t"/>
            <a:r>
              <a:rPr lang="en-US" sz="1800" dirty="0"/>
              <a:t>The collection of </a:t>
            </a:r>
            <a:r>
              <a:rPr lang="en-US" sz="1800" b="1" u="sng" dirty="0"/>
              <a:t>parent-reported newborn race and ethnicity data</a:t>
            </a:r>
            <a:r>
              <a:rPr lang="en-US" sz="1800" dirty="0"/>
              <a:t>.</a:t>
            </a:r>
          </a:p>
          <a:p>
            <a:pPr lvl="1" fontAlgn="t"/>
            <a:r>
              <a:rPr lang="en-US" sz="1800" b="1" u="sng" dirty="0"/>
              <a:t>Stratify and share neonatal data </a:t>
            </a:r>
            <a:r>
              <a:rPr lang="en-US" sz="1800" dirty="0"/>
              <a:t>by birthing person’s race, ethnicity, and insurance status.</a:t>
            </a:r>
          </a:p>
          <a:p>
            <a:pPr lvl="1" fontAlgn="t"/>
            <a:r>
              <a:rPr lang="en-US" sz="1800" b="1" u="sng" dirty="0"/>
              <a:t>Address disparities </a:t>
            </a:r>
            <a:r>
              <a:rPr lang="en-US" sz="1800" dirty="0"/>
              <a:t>based on review of neonatal outcomes stratified by birthing person’s race, ethnicity, and insurance status.</a:t>
            </a:r>
          </a:p>
          <a:p>
            <a:pPr marL="342900" indent="-342900">
              <a:buFont typeface="+mj-lt"/>
              <a:buAutoNum type="arabicPeriod"/>
            </a:pPr>
            <a:endParaRPr lang="en-US" sz="1800" dirty="0"/>
          </a:p>
        </p:txBody>
      </p:sp>
    </p:spTree>
    <p:extLst>
      <p:ext uri="{BB962C8B-B14F-4D97-AF65-F5344CB8AC3E}">
        <p14:creationId xmlns:p14="http://schemas.microsoft.com/office/powerpoint/2010/main" val="317438498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10352"/>
            <a:ext cx="10972800" cy="1325563"/>
          </a:xfrm>
        </p:spPr>
        <p:txBody>
          <a:bodyPr/>
          <a:lstStyle/>
          <a:p>
            <a:r>
              <a:rPr lang="en-US" dirty="0"/>
              <a:t>Hospital Level Data Form: </a:t>
            </a:r>
            <a:br>
              <a:rPr lang="en-US" dirty="0"/>
            </a:br>
            <a:r>
              <a:rPr lang="en-US" b="0" dirty="0"/>
              <a:t>Safe Sleep Environment Audit</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584462526"/>
              </p:ext>
            </p:extLst>
          </p:nvPr>
        </p:nvGraphicFramePr>
        <p:xfrm>
          <a:off x="6306819" y="2406209"/>
          <a:ext cx="5275581" cy="3179848"/>
        </p:xfrm>
        <a:graphic>
          <a:graphicData uri="http://schemas.openxmlformats.org/drawingml/2006/table">
            <a:tbl>
              <a:tblPr firstRow="1" firstCol="1" bandRow="1">
                <a:tableStyleId>{F5AB1C69-6EDB-4FF4-983F-18BD219EF322}</a:tableStyleId>
              </a:tblPr>
              <a:tblGrid>
                <a:gridCol w="3918455">
                  <a:extLst>
                    <a:ext uri="{9D8B030D-6E8A-4147-A177-3AD203B41FA5}">
                      <a16:colId xmlns:a16="http://schemas.microsoft.com/office/drawing/2014/main" val="2155618341"/>
                    </a:ext>
                  </a:extLst>
                </a:gridCol>
                <a:gridCol w="1357126">
                  <a:extLst>
                    <a:ext uri="{9D8B030D-6E8A-4147-A177-3AD203B41FA5}">
                      <a16:colId xmlns:a16="http://schemas.microsoft.com/office/drawing/2014/main" val="3127340574"/>
                    </a:ext>
                  </a:extLst>
                </a:gridCol>
              </a:tblGrid>
              <a:tr h="200025">
                <a:tc gridSpan="2">
                  <a:txBody>
                    <a:bodyPr/>
                    <a:lstStyle/>
                    <a:p>
                      <a:pPr marL="0" marR="0" algn="l">
                        <a:lnSpc>
                          <a:spcPct val="115000"/>
                        </a:lnSpc>
                        <a:spcBef>
                          <a:spcPts val="0"/>
                        </a:spcBef>
                        <a:spcAft>
                          <a:spcPts val="1000"/>
                        </a:spcAft>
                      </a:pPr>
                      <a:r>
                        <a:rPr lang="en-US" sz="2000" dirty="0">
                          <a:effectLst/>
                        </a:rPr>
                        <a:t>Postpartum Unit</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endParaRPr lang="en-US"/>
                    </a:p>
                  </a:txBody>
                  <a:tcPr/>
                </a:tc>
                <a:extLst>
                  <a:ext uri="{0D108BD9-81ED-4DB2-BD59-A6C34878D82A}">
                    <a16:rowId xmlns:a16="http://schemas.microsoft.com/office/drawing/2014/main" val="3019059648"/>
                  </a:ext>
                </a:extLst>
              </a:tr>
              <a:tr h="450850">
                <a:tc>
                  <a:txBody>
                    <a:bodyPr/>
                    <a:lstStyle/>
                    <a:p>
                      <a:pPr marL="0" marR="0" lvl="0" indent="0" algn="l">
                        <a:lnSpc>
                          <a:spcPct val="115000"/>
                        </a:lnSpc>
                        <a:spcBef>
                          <a:spcPts val="0"/>
                        </a:spcBef>
                        <a:spcAft>
                          <a:spcPts val="1000"/>
                        </a:spcAft>
                        <a:buFont typeface="+mj-lt"/>
                        <a:buNone/>
                      </a:pPr>
                      <a:r>
                        <a:rPr lang="en-US" sz="1600">
                          <a:effectLst/>
                        </a:rPr>
                        <a:t>Number of infants on Postpartum unit audited for safe sleep</a:t>
                      </a:r>
                      <a:endParaRPr lang="en-US" sz="1600" b="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US" sz="1100">
                          <a:effectLst/>
                        </a:rPr>
                        <a:t> </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226943554"/>
                  </a:ext>
                </a:extLst>
              </a:tr>
              <a:tr h="606574">
                <a:tc>
                  <a:txBody>
                    <a:bodyPr/>
                    <a:lstStyle/>
                    <a:p>
                      <a:pPr marL="0" marR="0" lvl="0" indent="0" algn="l">
                        <a:lnSpc>
                          <a:spcPct val="115000"/>
                        </a:lnSpc>
                        <a:spcBef>
                          <a:spcPts val="0"/>
                        </a:spcBef>
                        <a:spcAft>
                          <a:spcPts val="0"/>
                        </a:spcAft>
                        <a:buFont typeface="+mj-lt"/>
                        <a:buNone/>
                      </a:pPr>
                      <a:r>
                        <a:rPr lang="en-US" sz="1600" dirty="0">
                          <a:effectLst/>
                        </a:rPr>
                        <a:t>Number of audited infants on Postpartum unit noted to be in a safe sleep environment</a:t>
                      </a:r>
                      <a:endParaRPr lang="en-US"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US" sz="1100" dirty="0">
                          <a:effectLst/>
                        </a:rPr>
                        <a:t> </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98229208"/>
                  </a:ext>
                </a:extLst>
              </a:tr>
              <a:tr h="190500">
                <a:tc gridSpan="2">
                  <a:txBody>
                    <a:bodyPr/>
                    <a:lstStyle/>
                    <a:p>
                      <a:pPr marL="0" marR="0" indent="0" algn="l">
                        <a:lnSpc>
                          <a:spcPct val="115000"/>
                        </a:lnSpc>
                        <a:spcBef>
                          <a:spcPts val="0"/>
                        </a:spcBef>
                        <a:spcAft>
                          <a:spcPts val="0"/>
                        </a:spcAft>
                        <a:buFont typeface="+mj-lt"/>
                        <a:buNone/>
                      </a:pPr>
                      <a:r>
                        <a:rPr lang="en-US" sz="2000" dirty="0">
                          <a:effectLst/>
                        </a:rPr>
                        <a:t>Special Care Nursery or NICU</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endParaRPr lang="en-US"/>
                    </a:p>
                  </a:txBody>
                  <a:tcPr/>
                </a:tc>
                <a:extLst>
                  <a:ext uri="{0D108BD9-81ED-4DB2-BD59-A6C34878D82A}">
                    <a16:rowId xmlns:a16="http://schemas.microsoft.com/office/drawing/2014/main" val="610599144"/>
                  </a:ext>
                </a:extLst>
              </a:tr>
              <a:tr h="450850">
                <a:tc>
                  <a:txBody>
                    <a:bodyPr/>
                    <a:lstStyle/>
                    <a:p>
                      <a:pPr marL="0" marR="0" lvl="0" indent="0" algn="l">
                        <a:lnSpc>
                          <a:spcPct val="115000"/>
                        </a:lnSpc>
                        <a:spcBef>
                          <a:spcPts val="0"/>
                        </a:spcBef>
                        <a:spcAft>
                          <a:spcPts val="1000"/>
                        </a:spcAft>
                        <a:buFont typeface="+mj-lt"/>
                        <a:buNone/>
                      </a:pPr>
                      <a:r>
                        <a:rPr lang="en-US" sz="1600" dirty="0">
                          <a:effectLst/>
                        </a:rPr>
                        <a:t>Number of infants on Special Care Nursery or NICU audited for safe sleep</a:t>
                      </a:r>
                      <a:endParaRPr lang="en-US"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US" sz="1100" dirty="0">
                          <a:effectLst/>
                        </a:rPr>
                        <a:t> </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775714632"/>
                  </a:ext>
                </a:extLst>
              </a:tr>
              <a:tr h="450850">
                <a:tc>
                  <a:txBody>
                    <a:bodyPr/>
                    <a:lstStyle/>
                    <a:p>
                      <a:pPr marL="0" marR="0" lvl="0" indent="0" algn="l">
                        <a:lnSpc>
                          <a:spcPct val="115000"/>
                        </a:lnSpc>
                        <a:spcBef>
                          <a:spcPts val="0"/>
                        </a:spcBef>
                        <a:spcAft>
                          <a:spcPts val="0"/>
                        </a:spcAft>
                        <a:buFont typeface="+mj-lt"/>
                        <a:buNone/>
                      </a:pPr>
                      <a:r>
                        <a:rPr lang="en-US" sz="1600" dirty="0">
                          <a:effectLst/>
                        </a:rPr>
                        <a:t>Number of audited infants on Special Care Nursery or NICU noted to be in a safe sleep environment</a:t>
                      </a:r>
                      <a:endParaRPr lang="en-US"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US" sz="1100" dirty="0">
                          <a:effectLst/>
                        </a:rPr>
                        <a:t> </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437793256"/>
                  </a:ext>
                </a:extLst>
              </a:tr>
            </a:tbl>
          </a:graphicData>
        </a:graphic>
      </p:graphicFrame>
      <p:sp>
        <p:nvSpPr>
          <p:cNvPr id="4" name="Slide Number Placeholder 3"/>
          <p:cNvSpPr>
            <a:spLocks noGrp="1"/>
          </p:cNvSpPr>
          <p:nvPr>
            <p:ph type="sldNum" sz="quarter" idx="10"/>
          </p:nvPr>
        </p:nvSpPr>
        <p:spPr/>
        <p:txBody>
          <a:bodyPr/>
          <a:lstStyle/>
          <a:p>
            <a:fld id="{97033E4B-E3EB-3D46-B2D8-3159663620FA}" type="slidenum">
              <a:rPr lang="en-US" smtClean="0"/>
              <a:pPr/>
              <a:t>68</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7" name="Rectangle 6"/>
          <p:cNvSpPr/>
          <p:nvPr/>
        </p:nvSpPr>
        <p:spPr>
          <a:xfrm>
            <a:off x="503646" y="1782193"/>
            <a:ext cx="5592354" cy="4427879"/>
          </a:xfrm>
          <a:prstGeom prst="rect">
            <a:avLst/>
          </a:prstGeom>
        </p:spPr>
        <p:txBody>
          <a:bodyPr wrap="square">
            <a:spAutoFit/>
          </a:bodyPr>
          <a:lstStyle/>
          <a:p>
            <a:pPr marL="342900" lvl="0" indent="-342900">
              <a:lnSpc>
                <a:spcPct val="115000"/>
              </a:lnSpc>
              <a:spcAft>
                <a:spcPts val="1000"/>
              </a:spcAft>
              <a:buFont typeface="Symbol" panose="05050102010706020507" pitchFamily="18" charset="2"/>
              <a:buChar char=""/>
            </a:pPr>
            <a:r>
              <a:rPr lang="en-US" dirty="0"/>
              <a:t>Audits should be conducted monthly for 20 infants on your postpartum unit that are eligible for safe sleep. This includes rooming-in with the parent(s) or caregiver(s)</a:t>
            </a:r>
          </a:p>
          <a:p>
            <a:pPr marL="342900" lvl="0" indent="-342900">
              <a:lnSpc>
                <a:spcPct val="115000"/>
              </a:lnSpc>
              <a:spcAft>
                <a:spcPts val="1000"/>
              </a:spcAft>
              <a:buFont typeface="Symbol" panose="05050102010706020507" pitchFamily="18" charset="2"/>
              <a:buChar char=""/>
            </a:pPr>
            <a:r>
              <a:rPr lang="en-US" dirty="0"/>
              <a:t>If you have a NICU or Special Care Nursery, please complete an additional 20 audits for infants in your NICU or Special Care Nursery</a:t>
            </a:r>
          </a:p>
          <a:p>
            <a:pPr marL="342900" lvl="0" indent="-342900">
              <a:lnSpc>
                <a:spcPct val="115000"/>
              </a:lnSpc>
              <a:spcAft>
                <a:spcPts val="1000"/>
              </a:spcAft>
              <a:buFont typeface="Symbol" panose="05050102010706020507" pitchFamily="18" charset="2"/>
              <a:buChar char=""/>
            </a:pPr>
            <a:r>
              <a:rPr lang="en-US" dirty="0"/>
              <a:t>Infants excluded from the audit are those that are medically unsuitable for safe sleep practices</a:t>
            </a:r>
          </a:p>
          <a:p>
            <a:pPr marL="342900" lvl="0" indent="-342900">
              <a:lnSpc>
                <a:spcPct val="115000"/>
              </a:lnSpc>
              <a:spcAft>
                <a:spcPts val="1000"/>
              </a:spcAft>
              <a:buFont typeface="Symbol" panose="05050102010706020507" pitchFamily="18" charset="2"/>
              <a:buChar char=""/>
            </a:pPr>
            <a:r>
              <a:rPr lang="en-US" dirty="0"/>
              <a:t>If there are fewer than 20 eligible infants on a unit to audit, audit all eligible infants available</a:t>
            </a:r>
          </a:p>
          <a:p>
            <a:pPr marL="342900" lvl="0" indent="-342900">
              <a:lnSpc>
                <a:spcPct val="115000"/>
              </a:lnSpc>
              <a:spcAft>
                <a:spcPts val="1000"/>
              </a:spcAft>
              <a:buFont typeface="Symbol" panose="05050102010706020507" pitchFamily="18" charset="2"/>
              <a:buChar char=""/>
            </a:pPr>
            <a:r>
              <a:rPr lang="en-US" dirty="0"/>
              <a:t>Please conduct audits on both day shift and night shift </a:t>
            </a: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07485931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3C994B4-9721-4148-9EEC-6793CECDE8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3" y="-1"/>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8" name="Rectangle 17">
            <a:extLst>
              <a:ext uri="{FF2B5EF4-FFF2-40B4-BE49-F238E27FC236}">
                <a16:creationId xmlns:a16="http://schemas.microsoft.com/office/drawing/2014/main" id="{F9D95E49-763A-4886-B038-82F7347405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0" name="Rectangle 19">
            <a:extLst>
              <a:ext uri="{FF2B5EF4-FFF2-40B4-BE49-F238E27FC236}">
                <a16:creationId xmlns:a16="http://schemas.microsoft.com/office/drawing/2014/main" id="{9999CF8B-CF36-4D83-8D39-AFC5726036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78324" y="727069"/>
            <a:ext cx="10713676" cy="5433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22899" y="540167"/>
            <a:ext cx="5828376" cy="2135867"/>
          </a:xfrm>
        </p:spPr>
        <p:txBody>
          <a:bodyPr anchor="b">
            <a:normAutofit/>
          </a:bodyPr>
          <a:lstStyle/>
          <a:p>
            <a:r>
              <a:rPr lang="en-US" sz="4800">
                <a:solidFill>
                  <a:schemeClr val="tx1"/>
                </a:solidFill>
              </a:rPr>
              <a:t>Education Measures</a:t>
            </a:r>
          </a:p>
        </p:txBody>
      </p:sp>
      <p:sp>
        <p:nvSpPr>
          <p:cNvPr id="4" name="Slide Number Placeholder 3"/>
          <p:cNvSpPr>
            <a:spLocks noGrp="1"/>
          </p:cNvSpPr>
          <p:nvPr>
            <p:ph type="sldNum" sz="quarter" idx="10"/>
          </p:nvPr>
        </p:nvSpPr>
        <p:spPr>
          <a:xfrm>
            <a:off x="11363715" y="-8779"/>
            <a:ext cx="826763" cy="704121"/>
          </a:xfrm>
        </p:spPr>
        <p:txBody>
          <a:bodyPr>
            <a:normAutofit/>
          </a:bodyPr>
          <a:lstStyle/>
          <a:p>
            <a:pPr algn="ctr">
              <a:spcAft>
                <a:spcPts val="600"/>
              </a:spcAft>
            </a:pPr>
            <a:fld id="{97033E4B-E3EB-3D46-B2D8-3159663620FA}" type="slidenum">
              <a:rPr lang="en-US" smtClean="0"/>
              <a:pPr algn="ctr">
                <a:spcAft>
                  <a:spcPts val="600"/>
                </a:spcAft>
              </a:pPr>
              <a:t>69</a:t>
            </a:fld>
            <a:endParaRPr lang="en-US"/>
          </a:p>
        </p:txBody>
      </p:sp>
      <p:sp>
        <p:nvSpPr>
          <p:cNvPr id="10" name="Content Placeholder 9"/>
          <p:cNvSpPr>
            <a:spLocks noGrp="1"/>
          </p:cNvSpPr>
          <p:nvPr>
            <p:ph idx="1"/>
          </p:nvPr>
        </p:nvSpPr>
        <p:spPr>
          <a:xfrm>
            <a:off x="422899" y="2880452"/>
            <a:ext cx="5828376" cy="3095445"/>
          </a:xfrm>
        </p:spPr>
        <p:txBody>
          <a:bodyPr anchor="t">
            <a:normAutofit/>
          </a:bodyPr>
          <a:lstStyle/>
          <a:p>
            <a:r>
              <a:rPr lang="en-US" sz="1800"/>
              <a:t>Percentage of physicians and providers, nurses, ancillary clinicians, and other staff completing education about…</a:t>
            </a:r>
          </a:p>
          <a:p>
            <a:pPr lvl="1"/>
            <a:r>
              <a:rPr lang="en-US" sz="1800"/>
              <a:t>listening to parents and caregivers, providing respectful care and building trust, addressing implicit bias and engaging in anti-racism </a:t>
            </a:r>
          </a:p>
          <a:p>
            <a:pPr lvl="1"/>
            <a:r>
              <a:rPr lang="en-US" sz="1800"/>
              <a:t>the importance of safe sleep and how to effectively educate parents or caregivers</a:t>
            </a:r>
          </a:p>
          <a:p>
            <a:pPr marL="0" indent="0">
              <a:buNone/>
            </a:pPr>
            <a:endParaRPr lang="en-US" sz="1800"/>
          </a:p>
        </p:txBody>
      </p:sp>
      <p:sp>
        <p:nvSpPr>
          <p:cNvPr id="22" name="Rectangle 21">
            <a:extLst>
              <a:ext uri="{FF2B5EF4-FFF2-40B4-BE49-F238E27FC236}">
                <a16:creationId xmlns:a16="http://schemas.microsoft.com/office/drawing/2014/main" id="{91F6D5B9-3D1A-4091-825E-F687A58ADD3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6748001" y="6120955"/>
            <a:ext cx="4621365" cy="737479"/>
          </a:xfrm>
          <a:prstGeom prst="rect">
            <a:avLst/>
          </a:prstGeom>
          <a:solidFill>
            <a:schemeClr val="accent1">
              <a:alpha val="2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0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endParaRPr>
          </a:p>
        </p:txBody>
      </p:sp>
      <p:sp>
        <p:nvSpPr>
          <p:cNvPr id="5" name="Footer Placeholder 4"/>
          <p:cNvSpPr>
            <a:spLocks noGrp="1"/>
          </p:cNvSpPr>
          <p:nvPr>
            <p:ph type="ftr" sz="quarter" idx="11"/>
          </p:nvPr>
        </p:nvSpPr>
        <p:spPr>
          <a:xfrm>
            <a:off x="6827521" y="6117966"/>
            <a:ext cx="4114800" cy="761237"/>
          </a:xfrm>
        </p:spPr>
        <p:txBody>
          <a:bodyPr>
            <a:normAutofit/>
          </a:bodyPr>
          <a:lstStyle/>
          <a:p>
            <a:pPr algn="r">
              <a:spcAft>
                <a:spcPts val="600"/>
              </a:spcAft>
            </a:pPr>
            <a:r>
              <a:rPr lang="en-US"/>
              <a:t>Illinois Perinatal Quality Collaborative</a:t>
            </a:r>
          </a:p>
        </p:txBody>
      </p:sp>
      <p:pic>
        <p:nvPicPr>
          <p:cNvPr id="12" name="Picture 11" descr="Desk with stethoscope and computer keyboard">
            <a:extLst>
              <a:ext uri="{FF2B5EF4-FFF2-40B4-BE49-F238E27FC236}">
                <a16:creationId xmlns:a16="http://schemas.microsoft.com/office/drawing/2014/main" id="{ADA65492-88D0-2A8E-83EE-B00D4D4CD6D0}"/>
              </a:ext>
            </a:extLst>
          </p:cNvPr>
          <p:cNvPicPr>
            <a:picLocks noChangeAspect="1"/>
          </p:cNvPicPr>
          <p:nvPr/>
        </p:nvPicPr>
        <p:blipFill rotWithShape="1">
          <a:blip r:embed="rId2"/>
          <a:srcRect l="49386" r="556" b="6"/>
          <a:stretch/>
        </p:blipFill>
        <p:spPr>
          <a:xfrm>
            <a:off x="6748002" y="-1"/>
            <a:ext cx="4612337" cy="6149783"/>
          </a:xfrm>
          <a:prstGeom prst="rect">
            <a:avLst/>
          </a:prstGeom>
        </p:spPr>
      </p:pic>
      <p:cxnSp>
        <p:nvCxnSpPr>
          <p:cNvPr id="24" name="Straight Connector 23">
            <a:extLst>
              <a:ext uri="{FF2B5EF4-FFF2-40B4-BE49-F238E27FC236}">
                <a16:creationId xmlns:a16="http://schemas.microsoft.com/office/drawing/2014/main" id="{F085D7B9-E066-4923-8CB7-294BF306296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11365990" y="5610"/>
            <a:ext cx="0" cy="685800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5443840-A796-4C43-8DC1-1B738EFEC52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51930"/>
            <a:ext cx="12192000" cy="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92184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778"/>
        <p:cNvGrpSpPr/>
        <p:nvPr/>
      </p:nvGrpSpPr>
      <p:grpSpPr>
        <a:xfrm>
          <a:off x="0" y="0"/>
          <a:ext cx="0" cy="0"/>
          <a:chOff x="0" y="0"/>
          <a:chExt cx="0" cy="0"/>
        </a:xfrm>
      </p:grpSpPr>
      <p:sp>
        <p:nvSpPr>
          <p:cNvPr id="3779" name="Google Shape;3779;p410"/>
          <p:cNvSpPr/>
          <p:nvPr/>
        </p:nvSpPr>
        <p:spPr>
          <a:xfrm>
            <a:off x="0" y="0"/>
            <a:ext cx="12188952"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780" name="Google Shape;3780;p410"/>
          <p:cNvSpPr txBox="1">
            <a:spLocks noGrp="1"/>
          </p:cNvSpPr>
          <p:nvPr>
            <p:ph type="title"/>
          </p:nvPr>
        </p:nvSpPr>
        <p:spPr>
          <a:xfrm>
            <a:off x="625703" y="387671"/>
            <a:ext cx="5144979" cy="1956841"/>
          </a:xfrm>
          <a:prstGeom prst="rect">
            <a:avLst/>
          </a:prstGeom>
          <a:noFill/>
          <a:ln>
            <a:noFill/>
          </a:ln>
        </p:spPr>
        <p:txBody>
          <a:bodyPr spcFirstLastPara="1" wrap="square" lIns="91425" tIns="45700" rIns="91425" bIns="45700" anchor="b" anchorCtr="0">
            <a:normAutofit/>
          </a:bodyPr>
          <a:lstStyle/>
          <a:p>
            <a:r>
              <a:rPr lang="en-US" b="1" dirty="0">
                <a:solidFill>
                  <a:srgbClr val="1C498B"/>
                </a:solidFill>
                <a:latin typeface="Calibri"/>
                <a:ea typeface="Lato Medium"/>
                <a:cs typeface="Calibri"/>
              </a:rPr>
              <a:t>Illinois Perinatal Quality Collaborative (ILPQC)</a:t>
            </a:r>
            <a:r>
              <a:rPr lang="en-US" b="1" dirty="0">
                <a:latin typeface="Calibri"/>
                <a:ea typeface="Lato Medium"/>
                <a:cs typeface="Calibri"/>
              </a:rPr>
              <a:t> </a:t>
            </a:r>
            <a:endParaRPr lang="en-US" dirty="0">
              <a:ea typeface="Lato Medium"/>
            </a:endParaRPr>
          </a:p>
        </p:txBody>
      </p:sp>
      <p:sp>
        <p:nvSpPr>
          <p:cNvPr id="3781" name="Google Shape;3781;p410"/>
          <p:cNvSpPr/>
          <p:nvPr/>
        </p:nvSpPr>
        <p:spPr>
          <a:xfrm>
            <a:off x="640080" y="2586994"/>
            <a:ext cx="3474720" cy="18288"/>
          </a:xfrm>
          <a:custGeom>
            <a:avLst/>
            <a:gdLst/>
            <a:ahLst/>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782" name="Google Shape;3782;p410"/>
          <p:cNvSpPr txBox="1">
            <a:spLocks noGrp="1"/>
          </p:cNvSpPr>
          <p:nvPr>
            <p:ph type="body" idx="1"/>
          </p:nvPr>
        </p:nvSpPr>
        <p:spPr>
          <a:xfrm>
            <a:off x="625969" y="2802344"/>
            <a:ext cx="4257700" cy="3913333"/>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2200"/>
              <a:buNone/>
            </a:pPr>
            <a:r>
              <a:rPr lang="en-US" sz="2200">
                <a:latin typeface="Calibri"/>
                <a:ea typeface="Calibri"/>
                <a:cs typeface="Calibri"/>
                <a:sym typeface="Calibri"/>
              </a:rPr>
              <a:t>Statewide network of hospital teams, perinatal clinicians, patients, community partners, and public health leaders.</a:t>
            </a:r>
            <a:endParaRPr sz="2200">
              <a:latin typeface="Calibri"/>
              <a:ea typeface="Calibri"/>
              <a:cs typeface="Calibri"/>
              <a:sym typeface="Calibri"/>
            </a:endParaRPr>
          </a:p>
          <a:p>
            <a:pPr marL="0" lvl="0" indent="0" algn="l" rtl="0">
              <a:lnSpc>
                <a:spcPct val="100000"/>
              </a:lnSpc>
              <a:spcBef>
                <a:spcPts val="0"/>
              </a:spcBef>
              <a:spcAft>
                <a:spcPts val="0"/>
              </a:spcAft>
              <a:buSzPts val="2200"/>
              <a:buNone/>
            </a:pPr>
            <a:endParaRPr sz="2200">
              <a:latin typeface="Calibri"/>
              <a:ea typeface="Calibri"/>
              <a:cs typeface="Calibri"/>
              <a:sym typeface="Calibri"/>
            </a:endParaRPr>
          </a:p>
          <a:p>
            <a:pPr marL="0" lvl="0" indent="0" algn="l" rtl="0">
              <a:lnSpc>
                <a:spcPct val="100000"/>
              </a:lnSpc>
              <a:spcBef>
                <a:spcPts val="0"/>
              </a:spcBef>
              <a:spcAft>
                <a:spcPts val="0"/>
              </a:spcAft>
              <a:buSzPts val="2200"/>
              <a:buNone/>
            </a:pPr>
            <a:r>
              <a:rPr lang="en-US" sz="2200" b="1">
                <a:latin typeface="Calibri"/>
                <a:ea typeface="Calibri"/>
                <a:cs typeface="Calibri"/>
                <a:sym typeface="Calibri"/>
              </a:rPr>
              <a:t>Committed to equitably improving outcomes and reducing disparities for birthing people and newborns in Illinois.</a:t>
            </a:r>
          </a:p>
          <a:p>
            <a:pPr marL="228600" lvl="0" indent="-101600" algn="l" rtl="0">
              <a:lnSpc>
                <a:spcPct val="90000"/>
              </a:lnSpc>
              <a:spcBef>
                <a:spcPts val="1000"/>
              </a:spcBef>
              <a:spcAft>
                <a:spcPts val="0"/>
              </a:spcAft>
              <a:buClr>
                <a:srgbClr val="F58466"/>
              </a:buClr>
              <a:buSzPts val="2000"/>
              <a:buNone/>
            </a:pPr>
            <a:endParaRPr sz="2000">
              <a:latin typeface="Calibri"/>
              <a:ea typeface="Calibri"/>
              <a:cs typeface="Calibri"/>
              <a:sym typeface="Calibri"/>
            </a:endParaRPr>
          </a:p>
          <a:p>
            <a:pPr marL="228600" lvl="0" indent="-101600" algn="l" rtl="0">
              <a:lnSpc>
                <a:spcPct val="90000"/>
              </a:lnSpc>
              <a:spcBef>
                <a:spcPts val="1000"/>
              </a:spcBef>
              <a:spcAft>
                <a:spcPts val="0"/>
              </a:spcAft>
              <a:buClr>
                <a:srgbClr val="F58466"/>
              </a:buClr>
              <a:buSzPts val="2000"/>
              <a:buNone/>
            </a:pPr>
            <a:endParaRPr sz="2000">
              <a:latin typeface="Calibri"/>
              <a:ea typeface="Calibri"/>
              <a:cs typeface="Calibri"/>
              <a:sym typeface="Calibri"/>
            </a:endParaRPr>
          </a:p>
        </p:txBody>
      </p:sp>
      <p:pic>
        <p:nvPicPr>
          <p:cNvPr id="3783" name="Google Shape;3783;p410" descr="A group of people posing for a photo&#10;&#10;Description automatically generated"/>
          <p:cNvPicPr preferRelativeResize="0"/>
          <p:nvPr/>
        </p:nvPicPr>
        <p:blipFill rotWithShape="1">
          <a:blip r:embed="rId3">
            <a:alphaModFix/>
          </a:blip>
          <a:srcRect b="-2101"/>
          <a:stretch/>
        </p:blipFill>
        <p:spPr>
          <a:xfrm>
            <a:off x="5311702" y="10"/>
            <a:ext cx="8961556" cy="6872070"/>
          </a:xfrm>
          <a:custGeom>
            <a:avLst/>
            <a:gdLst/>
            <a:ahLst/>
            <a:cxnLst/>
            <a:rect l="l" t="t" r="r" b="b"/>
            <a:pathLst>
              <a:path w="6878775" h="6858000" extrusionOk="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a:solidFill>
            <a:srgbClr val="ECECEC"/>
          </a:solidFill>
          <a:ln>
            <a:noFill/>
          </a:ln>
        </p:spPr>
      </p:pic>
    </p:spTree>
    <p:extLst>
      <p:ext uri="{BB962C8B-B14F-4D97-AF65-F5344CB8AC3E}">
        <p14:creationId xmlns:p14="http://schemas.microsoft.com/office/powerpoint/2010/main" val="385903413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tient Level Data Form</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693485187"/>
              </p:ext>
            </p:extLst>
          </p:nvPr>
        </p:nvGraphicFramePr>
        <p:xfrm>
          <a:off x="463838" y="1690687"/>
          <a:ext cx="5308889" cy="4472621"/>
        </p:xfrm>
        <a:graphic>
          <a:graphicData uri="http://schemas.openxmlformats.org/drawingml/2006/table">
            <a:tbl>
              <a:tblPr firstRow="1" firstCol="1" bandRow="1">
                <a:tableStyleId>{21E4AEA4-8DFA-4A89-87EB-49C32662AFE0}</a:tableStyleId>
              </a:tblPr>
              <a:tblGrid>
                <a:gridCol w="2020269">
                  <a:extLst>
                    <a:ext uri="{9D8B030D-6E8A-4147-A177-3AD203B41FA5}">
                      <a16:colId xmlns:a16="http://schemas.microsoft.com/office/drawing/2014/main" val="704742646"/>
                    </a:ext>
                  </a:extLst>
                </a:gridCol>
                <a:gridCol w="3288620">
                  <a:extLst>
                    <a:ext uri="{9D8B030D-6E8A-4147-A177-3AD203B41FA5}">
                      <a16:colId xmlns:a16="http://schemas.microsoft.com/office/drawing/2014/main" val="1180310804"/>
                    </a:ext>
                  </a:extLst>
                </a:gridCol>
              </a:tblGrid>
              <a:tr h="211819">
                <a:tc gridSpan="2">
                  <a:txBody>
                    <a:bodyPr/>
                    <a:lstStyle/>
                    <a:p>
                      <a:pPr marL="0" marR="0">
                        <a:lnSpc>
                          <a:spcPct val="115000"/>
                        </a:lnSpc>
                        <a:spcBef>
                          <a:spcPts val="0"/>
                        </a:spcBef>
                        <a:spcAft>
                          <a:spcPts val="0"/>
                        </a:spcAft>
                      </a:pPr>
                      <a:r>
                        <a:rPr lang="en-US" sz="1400" dirty="0">
                          <a:effectLst/>
                        </a:rPr>
                        <a:t>Infant Demographics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hMerge="1">
                  <a:txBody>
                    <a:bodyPr/>
                    <a:lstStyle/>
                    <a:p>
                      <a:endParaRPr lang="en-US"/>
                    </a:p>
                  </a:txBody>
                  <a:tcPr/>
                </a:tc>
                <a:extLst>
                  <a:ext uri="{0D108BD9-81ED-4DB2-BD59-A6C34878D82A}">
                    <a16:rowId xmlns:a16="http://schemas.microsoft.com/office/drawing/2014/main" val="3297432471"/>
                  </a:ext>
                </a:extLst>
              </a:tr>
              <a:tr h="830799">
                <a:tc>
                  <a:txBody>
                    <a:bodyPr/>
                    <a:lstStyle/>
                    <a:p>
                      <a:pPr marL="0" marR="0">
                        <a:lnSpc>
                          <a:spcPct val="115000"/>
                        </a:lnSpc>
                        <a:spcBef>
                          <a:spcPts val="0"/>
                        </a:spcBef>
                        <a:spcAft>
                          <a:spcPts val="0"/>
                        </a:spcAft>
                      </a:pPr>
                      <a:r>
                        <a:rPr lang="en-US" sz="1200" u="none" strike="noStrike" dirty="0">
                          <a:effectLst/>
                        </a:rPr>
                        <a:t> </a:t>
                      </a:r>
                      <a:endParaRPr lang="en-US" sz="1200" dirty="0">
                        <a:effectLst/>
                      </a:endParaRPr>
                    </a:p>
                    <a:p>
                      <a:pPr marL="0" marR="0">
                        <a:lnSpc>
                          <a:spcPct val="115000"/>
                        </a:lnSpc>
                        <a:spcBef>
                          <a:spcPts val="0"/>
                        </a:spcBef>
                        <a:spcAft>
                          <a:spcPts val="0"/>
                        </a:spcAft>
                      </a:pPr>
                      <a:r>
                        <a:rPr lang="en-US" sz="1200" dirty="0">
                          <a:effectLst/>
                        </a:rPr>
                        <a:t>Unit infant was discharged from</a:t>
                      </a:r>
                    </a:p>
                    <a:p>
                      <a:pPr marL="0" marR="0">
                        <a:lnSpc>
                          <a:spcPct val="115000"/>
                        </a:lnSpc>
                        <a:spcBef>
                          <a:spcPts val="0"/>
                        </a:spcBef>
                        <a:spcAft>
                          <a:spcPts val="0"/>
                        </a:spcAft>
                      </a:pPr>
                      <a:r>
                        <a:rPr lang="en-US" sz="1200" dirty="0">
                          <a:effectLst/>
                        </a:rPr>
                        <a:t> </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200" dirty="0">
                          <a:effectLst/>
                        </a:rPr>
                        <a:t>Neonatal Intensive Care Unit (Level 3/4)</a:t>
                      </a:r>
                    </a:p>
                    <a:p>
                      <a:pPr marL="342900" marR="0" lvl="0" indent="-342900">
                        <a:lnSpc>
                          <a:spcPct val="115000"/>
                        </a:lnSpc>
                        <a:spcBef>
                          <a:spcPts val="0"/>
                        </a:spcBef>
                        <a:spcAft>
                          <a:spcPts val="0"/>
                        </a:spcAft>
                        <a:buFont typeface="Symbol" panose="05050102010706020507" pitchFamily="18" charset="2"/>
                        <a:buChar char=""/>
                      </a:pPr>
                      <a:r>
                        <a:rPr lang="en-US" sz="1200" dirty="0">
                          <a:effectLst/>
                        </a:rPr>
                        <a:t>Intermediate Care/Special Care Nursery (Level 2/2E)</a:t>
                      </a:r>
                    </a:p>
                    <a:p>
                      <a:pPr marL="342900" marR="0" lvl="0" indent="-342900">
                        <a:lnSpc>
                          <a:spcPct val="115000"/>
                        </a:lnSpc>
                        <a:spcBef>
                          <a:spcPts val="0"/>
                        </a:spcBef>
                        <a:spcAft>
                          <a:spcPts val="0"/>
                        </a:spcAft>
                        <a:buFont typeface="Symbol" panose="05050102010706020507" pitchFamily="18" charset="2"/>
                        <a:buChar char=""/>
                      </a:pPr>
                      <a:r>
                        <a:rPr lang="en-US" sz="1200" dirty="0">
                          <a:effectLst/>
                        </a:rPr>
                        <a:t>Infant Nursery (Level 1)</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84820371"/>
                  </a:ext>
                </a:extLst>
              </a:tr>
              <a:tr h="423638">
                <a:tc>
                  <a:txBody>
                    <a:bodyPr/>
                    <a:lstStyle/>
                    <a:p>
                      <a:pPr marL="0" marR="0">
                        <a:lnSpc>
                          <a:spcPct val="115000"/>
                        </a:lnSpc>
                        <a:spcBef>
                          <a:spcPts val="0"/>
                        </a:spcBef>
                        <a:spcAft>
                          <a:spcPts val="1000"/>
                        </a:spcAft>
                      </a:pPr>
                      <a:r>
                        <a:rPr lang="en-US" sz="1200">
                          <a:effectLst/>
                        </a:rPr>
                        <a:t>Date of Infant Discharge (MM/DD/YYYY)</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1000"/>
                        </a:spcAft>
                      </a:pPr>
                      <a:r>
                        <a:rPr lang="en-US" sz="1200">
                          <a:effectLst/>
                        </a:rPr>
                        <a:t>Date of Infant Discharge ____/____/____</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74659898"/>
                  </a:ext>
                </a:extLst>
              </a:tr>
              <a:tr h="211819">
                <a:tc>
                  <a:txBody>
                    <a:bodyPr/>
                    <a:lstStyle/>
                    <a:p>
                      <a:pPr marL="0" marR="0">
                        <a:lnSpc>
                          <a:spcPct val="115000"/>
                        </a:lnSpc>
                        <a:spcBef>
                          <a:spcPts val="0"/>
                        </a:spcBef>
                        <a:spcAft>
                          <a:spcPts val="0"/>
                        </a:spcAft>
                      </a:pPr>
                      <a:r>
                        <a:rPr lang="en-US" sz="1200">
                          <a:effectLst/>
                        </a:rPr>
                        <a:t>Date of Birth (MM/DD/YYYY)</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1000"/>
                        </a:spcAft>
                      </a:pPr>
                      <a:r>
                        <a:rPr lang="en-US" sz="1200">
                          <a:effectLst/>
                        </a:rPr>
                        <a:t>Date of Birth ____/____/____</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167239078"/>
                  </a:ext>
                </a:extLst>
              </a:tr>
              <a:tr h="211819">
                <a:tc>
                  <a:txBody>
                    <a:bodyPr/>
                    <a:lstStyle/>
                    <a:p>
                      <a:pPr marL="0" marR="0">
                        <a:lnSpc>
                          <a:spcPct val="115000"/>
                        </a:lnSpc>
                        <a:spcBef>
                          <a:spcPts val="0"/>
                        </a:spcBef>
                        <a:spcAft>
                          <a:spcPts val="0"/>
                        </a:spcAft>
                      </a:pPr>
                      <a:r>
                        <a:rPr lang="en-US" sz="1200" dirty="0">
                          <a:effectLst/>
                        </a:rPr>
                        <a:t>Gestational age at birth</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1000"/>
                        </a:spcAft>
                      </a:pPr>
                      <a:r>
                        <a:rPr lang="en-US" sz="1200">
                          <a:effectLst/>
                        </a:rPr>
                        <a:t>Gestational age, weeks: ____</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969910619"/>
                  </a:ext>
                </a:extLst>
              </a:tr>
              <a:tr h="847276">
                <a:tc>
                  <a:txBody>
                    <a:bodyPr/>
                    <a:lstStyle/>
                    <a:p>
                      <a:pPr marL="0" marR="0">
                        <a:lnSpc>
                          <a:spcPct val="115000"/>
                        </a:lnSpc>
                        <a:spcBef>
                          <a:spcPts val="0"/>
                        </a:spcBef>
                        <a:spcAft>
                          <a:spcPts val="1000"/>
                        </a:spcAft>
                      </a:pPr>
                      <a:r>
                        <a:rPr lang="en-US" sz="1200">
                          <a:effectLst/>
                        </a:rPr>
                        <a:t>Infant Ethnicity (select one)</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200">
                          <a:effectLst/>
                        </a:rPr>
                        <a:t>Hispanic</a:t>
                      </a:r>
                    </a:p>
                    <a:p>
                      <a:pPr marL="342900" marR="0" lvl="0" indent="-342900">
                        <a:lnSpc>
                          <a:spcPct val="115000"/>
                        </a:lnSpc>
                        <a:spcBef>
                          <a:spcPts val="0"/>
                        </a:spcBef>
                        <a:spcAft>
                          <a:spcPts val="0"/>
                        </a:spcAft>
                        <a:buFont typeface="Symbol" panose="05050102010706020507" pitchFamily="18" charset="2"/>
                        <a:buChar char=""/>
                      </a:pPr>
                      <a:r>
                        <a:rPr lang="en-US" sz="1200">
                          <a:effectLst/>
                        </a:rPr>
                        <a:t>Non-Hispanic</a:t>
                      </a:r>
                    </a:p>
                    <a:p>
                      <a:pPr marL="342900" marR="0" lvl="0" indent="-342900">
                        <a:lnSpc>
                          <a:spcPct val="115000"/>
                        </a:lnSpc>
                        <a:spcBef>
                          <a:spcPts val="0"/>
                        </a:spcBef>
                        <a:spcAft>
                          <a:spcPts val="0"/>
                        </a:spcAft>
                        <a:buFont typeface="Symbol" panose="05050102010706020507" pitchFamily="18" charset="2"/>
                        <a:buChar char=""/>
                      </a:pPr>
                      <a:r>
                        <a:rPr lang="en-US" sz="1200">
                          <a:effectLst/>
                        </a:rPr>
                        <a:t>Unknown Ethnicity</a:t>
                      </a:r>
                    </a:p>
                    <a:p>
                      <a:pPr marL="342900" marR="0" lvl="0" indent="-342900">
                        <a:lnSpc>
                          <a:spcPct val="115000"/>
                        </a:lnSpc>
                        <a:spcBef>
                          <a:spcPts val="0"/>
                        </a:spcBef>
                        <a:spcAft>
                          <a:spcPts val="1000"/>
                        </a:spcAft>
                        <a:buFont typeface="Symbol" panose="05050102010706020507" pitchFamily="18" charset="2"/>
                        <a:buChar char=""/>
                      </a:pPr>
                      <a:r>
                        <a:rPr lang="en-US" sz="1200">
                          <a:effectLst/>
                        </a:rPr>
                        <a:t>Declined</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580608748"/>
                  </a:ext>
                </a:extLst>
              </a:tr>
              <a:tr h="1716320">
                <a:tc>
                  <a:txBody>
                    <a:bodyPr/>
                    <a:lstStyle/>
                    <a:p>
                      <a:pPr marL="0" marR="0">
                        <a:lnSpc>
                          <a:spcPct val="115000"/>
                        </a:lnSpc>
                        <a:spcBef>
                          <a:spcPts val="0"/>
                        </a:spcBef>
                        <a:spcAft>
                          <a:spcPts val="1000"/>
                        </a:spcAft>
                      </a:pPr>
                      <a:r>
                        <a:rPr lang="en-US" sz="1200" dirty="0">
                          <a:effectLst/>
                        </a:rPr>
                        <a:t>Infant Race (Select all that apply)</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342900" marR="0" lvl="0" indent="-342900">
                        <a:lnSpc>
                          <a:spcPct val="115000"/>
                        </a:lnSpc>
                        <a:spcBef>
                          <a:spcPts val="0"/>
                        </a:spcBef>
                        <a:spcAft>
                          <a:spcPts val="0"/>
                        </a:spcAft>
                        <a:buFont typeface="Wingdings" panose="05000000000000000000" pitchFamily="2" charset="2"/>
                        <a:buChar char=""/>
                      </a:pPr>
                      <a:r>
                        <a:rPr lang="en-US" sz="1200" dirty="0">
                          <a:effectLst/>
                        </a:rPr>
                        <a:t>Asian</a:t>
                      </a:r>
                    </a:p>
                    <a:p>
                      <a:pPr marL="342900" marR="0" lvl="0" indent="-342900">
                        <a:lnSpc>
                          <a:spcPct val="115000"/>
                        </a:lnSpc>
                        <a:spcBef>
                          <a:spcPts val="0"/>
                        </a:spcBef>
                        <a:spcAft>
                          <a:spcPts val="0"/>
                        </a:spcAft>
                        <a:buFont typeface="Wingdings" panose="05000000000000000000" pitchFamily="2" charset="2"/>
                        <a:buChar char=""/>
                      </a:pPr>
                      <a:r>
                        <a:rPr lang="en-US" sz="1200" dirty="0">
                          <a:effectLst/>
                        </a:rPr>
                        <a:t>Black</a:t>
                      </a:r>
                    </a:p>
                    <a:p>
                      <a:pPr marL="342900" marR="0" lvl="0" indent="-342900">
                        <a:lnSpc>
                          <a:spcPct val="115000"/>
                        </a:lnSpc>
                        <a:spcBef>
                          <a:spcPts val="0"/>
                        </a:spcBef>
                        <a:spcAft>
                          <a:spcPts val="0"/>
                        </a:spcAft>
                        <a:buFont typeface="Wingdings" panose="05000000000000000000" pitchFamily="2" charset="2"/>
                        <a:buChar char=""/>
                      </a:pPr>
                      <a:r>
                        <a:rPr lang="en-US" sz="1200" dirty="0">
                          <a:effectLst/>
                        </a:rPr>
                        <a:t>Native American or American Indian</a:t>
                      </a:r>
                    </a:p>
                    <a:p>
                      <a:pPr marL="342900" marR="0" lvl="0" indent="-342900">
                        <a:lnSpc>
                          <a:spcPct val="115000"/>
                        </a:lnSpc>
                        <a:spcBef>
                          <a:spcPts val="0"/>
                        </a:spcBef>
                        <a:spcAft>
                          <a:spcPts val="0"/>
                        </a:spcAft>
                        <a:buFont typeface="Wingdings" panose="05000000000000000000" pitchFamily="2" charset="2"/>
                        <a:buChar char=""/>
                      </a:pPr>
                      <a:r>
                        <a:rPr lang="en-US" sz="1200" dirty="0">
                          <a:effectLst/>
                        </a:rPr>
                        <a:t>Native Hawaiian or Pacific Islander</a:t>
                      </a:r>
                    </a:p>
                    <a:p>
                      <a:pPr marL="342900" marR="0" lvl="0" indent="-342900">
                        <a:lnSpc>
                          <a:spcPct val="115000"/>
                        </a:lnSpc>
                        <a:spcBef>
                          <a:spcPts val="0"/>
                        </a:spcBef>
                        <a:spcAft>
                          <a:spcPts val="0"/>
                        </a:spcAft>
                        <a:buFont typeface="Wingdings" panose="05000000000000000000" pitchFamily="2" charset="2"/>
                        <a:buChar char=""/>
                      </a:pPr>
                      <a:r>
                        <a:rPr lang="en-US" sz="1200" dirty="0">
                          <a:effectLst/>
                        </a:rPr>
                        <a:t>White</a:t>
                      </a:r>
                    </a:p>
                    <a:p>
                      <a:pPr marL="342900" marR="0" lvl="0" indent="-342900">
                        <a:lnSpc>
                          <a:spcPct val="115000"/>
                        </a:lnSpc>
                        <a:spcBef>
                          <a:spcPts val="0"/>
                        </a:spcBef>
                        <a:spcAft>
                          <a:spcPts val="0"/>
                        </a:spcAft>
                        <a:buFont typeface="Wingdings" panose="05000000000000000000" pitchFamily="2" charset="2"/>
                        <a:buChar char=""/>
                      </a:pPr>
                      <a:r>
                        <a:rPr lang="en-US" sz="1200" dirty="0">
                          <a:effectLst/>
                        </a:rPr>
                        <a:t>Other Race: ____</a:t>
                      </a:r>
                    </a:p>
                    <a:p>
                      <a:pPr marL="342900" marR="0" lvl="0" indent="-342900">
                        <a:lnSpc>
                          <a:spcPct val="115000"/>
                        </a:lnSpc>
                        <a:spcBef>
                          <a:spcPts val="0"/>
                        </a:spcBef>
                        <a:spcAft>
                          <a:spcPts val="0"/>
                        </a:spcAft>
                        <a:buFont typeface="Wingdings" panose="05000000000000000000" pitchFamily="2" charset="2"/>
                        <a:buChar char=""/>
                      </a:pPr>
                      <a:r>
                        <a:rPr lang="en-US" sz="1200" dirty="0">
                          <a:effectLst/>
                        </a:rPr>
                        <a:t>Unknown Race</a:t>
                      </a:r>
                    </a:p>
                    <a:p>
                      <a:pPr marL="342900" marR="0" lvl="0" indent="-342900">
                        <a:lnSpc>
                          <a:spcPct val="115000"/>
                        </a:lnSpc>
                        <a:spcBef>
                          <a:spcPts val="0"/>
                        </a:spcBef>
                        <a:spcAft>
                          <a:spcPts val="1000"/>
                        </a:spcAft>
                        <a:buFont typeface="Wingdings" panose="05000000000000000000" pitchFamily="2" charset="2"/>
                        <a:buChar char=""/>
                      </a:pPr>
                      <a:r>
                        <a:rPr lang="en-US" sz="1200" dirty="0">
                          <a:effectLst/>
                        </a:rPr>
                        <a:t>Declined</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165230600"/>
                  </a:ext>
                </a:extLst>
              </a:tr>
            </a:tbl>
          </a:graphicData>
        </a:graphic>
      </p:graphicFrame>
      <p:sp>
        <p:nvSpPr>
          <p:cNvPr id="4" name="Slide Number Placeholder 3"/>
          <p:cNvSpPr>
            <a:spLocks noGrp="1"/>
          </p:cNvSpPr>
          <p:nvPr>
            <p:ph type="sldNum" sz="quarter" idx="10"/>
          </p:nvPr>
        </p:nvSpPr>
        <p:spPr/>
        <p:txBody>
          <a:bodyPr/>
          <a:lstStyle/>
          <a:p>
            <a:fld id="{97033E4B-E3EB-3D46-B2D8-3159663620FA}" type="slidenum">
              <a:rPr lang="en-US" smtClean="0"/>
              <a:pPr/>
              <a:t>70</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graphicFrame>
        <p:nvGraphicFramePr>
          <p:cNvPr id="7" name="Table 6"/>
          <p:cNvGraphicFramePr>
            <a:graphicFrameLocks noGrp="1"/>
          </p:cNvGraphicFramePr>
          <p:nvPr>
            <p:extLst>
              <p:ext uri="{D42A27DB-BD31-4B8C-83A1-F6EECF244321}">
                <p14:modId xmlns:p14="http://schemas.microsoft.com/office/powerpoint/2010/main" val="1773361205"/>
              </p:ext>
            </p:extLst>
          </p:nvPr>
        </p:nvGraphicFramePr>
        <p:xfrm>
          <a:off x="6096000" y="1691119"/>
          <a:ext cx="5336598" cy="4039333"/>
        </p:xfrm>
        <a:graphic>
          <a:graphicData uri="http://schemas.openxmlformats.org/drawingml/2006/table">
            <a:tbl>
              <a:tblPr firstRow="1" firstCol="1" bandRow="1">
                <a:tableStyleId>{21E4AEA4-8DFA-4A89-87EB-49C32662AFE0}</a:tableStyleId>
              </a:tblPr>
              <a:tblGrid>
                <a:gridCol w="2053313">
                  <a:extLst>
                    <a:ext uri="{9D8B030D-6E8A-4147-A177-3AD203B41FA5}">
                      <a16:colId xmlns:a16="http://schemas.microsoft.com/office/drawing/2014/main" val="3667215020"/>
                    </a:ext>
                  </a:extLst>
                </a:gridCol>
                <a:gridCol w="3283285">
                  <a:extLst>
                    <a:ext uri="{9D8B030D-6E8A-4147-A177-3AD203B41FA5}">
                      <a16:colId xmlns:a16="http://schemas.microsoft.com/office/drawing/2014/main" val="1004739901"/>
                    </a:ext>
                  </a:extLst>
                </a:gridCol>
              </a:tblGrid>
              <a:tr h="350549">
                <a:tc gridSpan="2">
                  <a:txBody>
                    <a:bodyPr/>
                    <a:lstStyle/>
                    <a:p>
                      <a:pPr marL="0" marR="0">
                        <a:lnSpc>
                          <a:spcPct val="115000"/>
                        </a:lnSpc>
                        <a:spcBef>
                          <a:spcPts val="0"/>
                        </a:spcBef>
                        <a:spcAft>
                          <a:spcPts val="1000"/>
                        </a:spcAft>
                      </a:pPr>
                      <a:r>
                        <a:rPr lang="en-US" sz="1400" dirty="0">
                          <a:effectLst/>
                        </a:rPr>
                        <a:t>Birthing Person Demographics</a:t>
                      </a:r>
                    </a:p>
                  </a:txBody>
                  <a:tcPr marL="68580" marR="68580" marT="0" marB="0"/>
                </a:tc>
                <a:tc hMerge="1">
                  <a:txBody>
                    <a:bodyPr/>
                    <a:lstStyle/>
                    <a:p>
                      <a:endParaRPr lang="en-US"/>
                    </a:p>
                  </a:txBody>
                  <a:tcPr/>
                </a:tc>
                <a:extLst>
                  <a:ext uri="{0D108BD9-81ED-4DB2-BD59-A6C34878D82A}">
                    <a16:rowId xmlns:a16="http://schemas.microsoft.com/office/drawing/2014/main" val="759819273"/>
                  </a:ext>
                </a:extLst>
              </a:tr>
              <a:tr h="1084937">
                <a:tc>
                  <a:txBody>
                    <a:bodyPr/>
                    <a:lstStyle/>
                    <a:p>
                      <a:pPr marL="0" marR="0">
                        <a:lnSpc>
                          <a:spcPct val="115000"/>
                        </a:lnSpc>
                        <a:spcBef>
                          <a:spcPts val="0"/>
                        </a:spcBef>
                        <a:spcAft>
                          <a:spcPts val="0"/>
                        </a:spcAft>
                      </a:pPr>
                      <a:r>
                        <a:rPr lang="en-US" sz="1200" dirty="0">
                          <a:effectLst/>
                        </a:rPr>
                        <a:t>Health Insurance Type (select one)</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200" dirty="0">
                          <a:effectLst/>
                        </a:rPr>
                        <a:t>Private Insurance</a:t>
                      </a:r>
                    </a:p>
                    <a:p>
                      <a:pPr marL="342900" marR="0" lvl="0" indent="-342900">
                        <a:lnSpc>
                          <a:spcPct val="115000"/>
                        </a:lnSpc>
                        <a:spcBef>
                          <a:spcPts val="0"/>
                        </a:spcBef>
                        <a:spcAft>
                          <a:spcPts val="0"/>
                        </a:spcAft>
                        <a:buFont typeface="Symbol" panose="05050102010706020507" pitchFamily="18" charset="2"/>
                        <a:buChar char=""/>
                      </a:pPr>
                      <a:r>
                        <a:rPr lang="en-US" sz="1200" dirty="0">
                          <a:effectLst/>
                        </a:rPr>
                        <a:t>Public Insurance (Medicaid)</a:t>
                      </a:r>
                    </a:p>
                    <a:p>
                      <a:pPr marL="342900" marR="0" lvl="0" indent="-342900">
                        <a:lnSpc>
                          <a:spcPct val="115000"/>
                        </a:lnSpc>
                        <a:spcBef>
                          <a:spcPts val="0"/>
                        </a:spcBef>
                        <a:spcAft>
                          <a:spcPts val="0"/>
                        </a:spcAft>
                        <a:buFont typeface="Symbol" panose="05050102010706020507" pitchFamily="18" charset="2"/>
                        <a:buChar char=""/>
                      </a:pPr>
                      <a:r>
                        <a:rPr lang="en-US" sz="1200" dirty="0">
                          <a:effectLst/>
                        </a:rPr>
                        <a:t>Self-Pay</a:t>
                      </a:r>
                    </a:p>
                    <a:p>
                      <a:pPr marL="342900" marR="0" lvl="0" indent="-342900">
                        <a:lnSpc>
                          <a:spcPct val="115000"/>
                        </a:lnSpc>
                        <a:spcBef>
                          <a:spcPts val="0"/>
                        </a:spcBef>
                        <a:spcAft>
                          <a:spcPts val="0"/>
                        </a:spcAft>
                        <a:buFont typeface="Symbol" panose="05050102010706020507" pitchFamily="18" charset="2"/>
                        <a:buChar char=""/>
                      </a:pPr>
                      <a:r>
                        <a:rPr lang="en-US" sz="1200" dirty="0">
                          <a:effectLst/>
                        </a:rPr>
                        <a:t>Uninsured</a:t>
                      </a:r>
                    </a:p>
                    <a:p>
                      <a:pPr marL="342900" marR="0" lvl="0" indent="-342900">
                        <a:lnSpc>
                          <a:spcPct val="115000"/>
                        </a:lnSpc>
                        <a:spcBef>
                          <a:spcPts val="0"/>
                        </a:spcBef>
                        <a:spcAft>
                          <a:spcPts val="0"/>
                        </a:spcAft>
                        <a:buFont typeface="Symbol" panose="05050102010706020507" pitchFamily="18" charset="2"/>
                        <a:buChar char=""/>
                      </a:pPr>
                      <a:r>
                        <a:rPr lang="en-US" sz="1200" dirty="0">
                          <a:effectLst/>
                        </a:rPr>
                        <a:t>Unknown</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696805757"/>
                  </a:ext>
                </a:extLst>
              </a:tr>
              <a:tr h="867949">
                <a:tc>
                  <a:txBody>
                    <a:bodyPr/>
                    <a:lstStyle/>
                    <a:p>
                      <a:pPr marL="0" marR="0">
                        <a:lnSpc>
                          <a:spcPct val="115000"/>
                        </a:lnSpc>
                        <a:spcBef>
                          <a:spcPts val="0"/>
                        </a:spcBef>
                        <a:spcAft>
                          <a:spcPts val="1000"/>
                        </a:spcAft>
                      </a:pPr>
                      <a:r>
                        <a:rPr lang="en-US" sz="1200">
                          <a:effectLst/>
                        </a:rPr>
                        <a:t>Birthing Person Ethnicity (select one)</a:t>
                      </a:r>
                    </a:p>
                    <a:p>
                      <a:pPr marL="0" marR="0">
                        <a:lnSpc>
                          <a:spcPct val="115000"/>
                        </a:lnSpc>
                        <a:spcBef>
                          <a:spcPts val="0"/>
                        </a:spcBef>
                        <a:spcAft>
                          <a:spcPts val="1000"/>
                        </a:spcAft>
                      </a:pPr>
                      <a:r>
                        <a:rPr lang="en-US" sz="1200">
                          <a:effectLst/>
                        </a:rPr>
                        <a:t> </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200" dirty="0">
                          <a:effectLst/>
                        </a:rPr>
                        <a:t>Hispanic</a:t>
                      </a:r>
                    </a:p>
                    <a:p>
                      <a:pPr marL="342900" marR="0" lvl="0" indent="-342900">
                        <a:lnSpc>
                          <a:spcPct val="115000"/>
                        </a:lnSpc>
                        <a:spcBef>
                          <a:spcPts val="0"/>
                        </a:spcBef>
                        <a:spcAft>
                          <a:spcPts val="0"/>
                        </a:spcAft>
                        <a:buFont typeface="Symbol" panose="05050102010706020507" pitchFamily="18" charset="2"/>
                        <a:buChar char=""/>
                      </a:pPr>
                      <a:r>
                        <a:rPr lang="en-US" sz="1200" dirty="0">
                          <a:effectLst/>
                        </a:rPr>
                        <a:t>Non-Hispanic</a:t>
                      </a:r>
                    </a:p>
                    <a:p>
                      <a:pPr marL="342900" marR="0" lvl="0" indent="-342900">
                        <a:lnSpc>
                          <a:spcPct val="115000"/>
                        </a:lnSpc>
                        <a:spcBef>
                          <a:spcPts val="0"/>
                        </a:spcBef>
                        <a:spcAft>
                          <a:spcPts val="0"/>
                        </a:spcAft>
                        <a:buFont typeface="Symbol" panose="05050102010706020507" pitchFamily="18" charset="2"/>
                        <a:buChar char=""/>
                      </a:pPr>
                      <a:r>
                        <a:rPr lang="en-US" sz="1200" dirty="0">
                          <a:effectLst/>
                        </a:rPr>
                        <a:t>Unknown Ethnicity</a:t>
                      </a:r>
                    </a:p>
                    <a:p>
                      <a:pPr marL="342900" marR="0" lvl="0" indent="-342900">
                        <a:lnSpc>
                          <a:spcPct val="115000"/>
                        </a:lnSpc>
                        <a:spcBef>
                          <a:spcPts val="0"/>
                        </a:spcBef>
                        <a:spcAft>
                          <a:spcPts val="1000"/>
                        </a:spcAft>
                        <a:buFont typeface="Symbol" panose="05050102010706020507" pitchFamily="18" charset="2"/>
                        <a:buChar char=""/>
                      </a:pPr>
                      <a:r>
                        <a:rPr lang="en-US" sz="1200" dirty="0">
                          <a:effectLst/>
                        </a:rPr>
                        <a:t>Declined</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749065719"/>
                  </a:ext>
                </a:extLst>
              </a:tr>
              <a:tr h="1735898">
                <a:tc>
                  <a:txBody>
                    <a:bodyPr/>
                    <a:lstStyle/>
                    <a:p>
                      <a:pPr marL="0" marR="0">
                        <a:lnSpc>
                          <a:spcPct val="115000"/>
                        </a:lnSpc>
                        <a:spcBef>
                          <a:spcPts val="0"/>
                        </a:spcBef>
                        <a:spcAft>
                          <a:spcPts val="0"/>
                        </a:spcAft>
                      </a:pPr>
                      <a:r>
                        <a:rPr lang="en-US" sz="1200">
                          <a:effectLst/>
                        </a:rPr>
                        <a:t>Birthing Person Race (select all that apply)</a:t>
                      </a:r>
                    </a:p>
                    <a:p>
                      <a:pPr marL="0" marR="0">
                        <a:lnSpc>
                          <a:spcPct val="115000"/>
                        </a:lnSpc>
                        <a:spcBef>
                          <a:spcPts val="0"/>
                        </a:spcBef>
                        <a:spcAft>
                          <a:spcPts val="0"/>
                        </a:spcAft>
                      </a:pPr>
                      <a:r>
                        <a:rPr lang="en-US" sz="1200">
                          <a:effectLst/>
                        </a:rPr>
                        <a:t> </a:t>
                      </a:r>
                    </a:p>
                    <a:p>
                      <a:pPr marL="0" marR="0">
                        <a:lnSpc>
                          <a:spcPct val="115000"/>
                        </a:lnSpc>
                        <a:spcBef>
                          <a:spcPts val="0"/>
                        </a:spcBef>
                        <a:spcAft>
                          <a:spcPts val="0"/>
                        </a:spcAft>
                      </a:pPr>
                      <a:r>
                        <a:rPr lang="en-US" sz="1200">
                          <a:effectLst/>
                        </a:rPr>
                        <a:t> </a:t>
                      </a:r>
                    </a:p>
                    <a:p>
                      <a:pPr marL="0" marR="0">
                        <a:lnSpc>
                          <a:spcPct val="115000"/>
                        </a:lnSpc>
                        <a:spcBef>
                          <a:spcPts val="0"/>
                        </a:spcBef>
                        <a:spcAft>
                          <a:spcPts val="0"/>
                        </a:spcAft>
                      </a:pPr>
                      <a:r>
                        <a:rPr lang="en-US" sz="1200">
                          <a:effectLst/>
                        </a:rPr>
                        <a:t> </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342900" marR="0" lvl="0" indent="-342900">
                        <a:lnSpc>
                          <a:spcPct val="115000"/>
                        </a:lnSpc>
                        <a:spcBef>
                          <a:spcPts val="0"/>
                        </a:spcBef>
                        <a:spcAft>
                          <a:spcPts val="0"/>
                        </a:spcAft>
                        <a:buFont typeface="Wingdings" panose="05000000000000000000" pitchFamily="2" charset="2"/>
                        <a:buChar char=""/>
                      </a:pPr>
                      <a:r>
                        <a:rPr lang="en-US" sz="1200" dirty="0">
                          <a:effectLst/>
                        </a:rPr>
                        <a:t>Asian</a:t>
                      </a:r>
                    </a:p>
                    <a:p>
                      <a:pPr marL="342900" marR="0" lvl="0" indent="-342900">
                        <a:lnSpc>
                          <a:spcPct val="115000"/>
                        </a:lnSpc>
                        <a:spcBef>
                          <a:spcPts val="0"/>
                        </a:spcBef>
                        <a:spcAft>
                          <a:spcPts val="0"/>
                        </a:spcAft>
                        <a:buFont typeface="Wingdings" panose="05000000000000000000" pitchFamily="2" charset="2"/>
                        <a:buChar char=""/>
                      </a:pPr>
                      <a:r>
                        <a:rPr lang="en-US" sz="1200" dirty="0">
                          <a:effectLst/>
                        </a:rPr>
                        <a:t>Black</a:t>
                      </a:r>
                    </a:p>
                    <a:p>
                      <a:pPr marL="342900" marR="0" lvl="0" indent="-342900">
                        <a:lnSpc>
                          <a:spcPct val="115000"/>
                        </a:lnSpc>
                        <a:spcBef>
                          <a:spcPts val="0"/>
                        </a:spcBef>
                        <a:spcAft>
                          <a:spcPts val="0"/>
                        </a:spcAft>
                        <a:buFont typeface="Wingdings" panose="05000000000000000000" pitchFamily="2" charset="2"/>
                        <a:buChar char=""/>
                      </a:pPr>
                      <a:r>
                        <a:rPr lang="en-US" sz="1200" dirty="0">
                          <a:effectLst/>
                        </a:rPr>
                        <a:t>Native American or American Indian</a:t>
                      </a:r>
                    </a:p>
                    <a:p>
                      <a:pPr marL="342900" marR="0" lvl="0" indent="-342900">
                        <a:lnSpc>
                          <a:spcPct val="115000"/>
                        </a:lnSpc>
                        <a:spcBef>
                          <a:spcPts val="0"/>
                        </a:spcBef>
                        <a:spcAft>
                          <a:spcPts val="0"/>
                        </a:spcAft>
                        <a:buFont typeface="Wingdings" panose="05000000000000000000" pitchFamily="2" charset="2"/>
                        <a:buChar char=""/>
                      </a:pPr>
                      <a:r>
                        <a:rPr lang="en-US" sz="1200" dirty="0">
                          <a:effectLst/>
                        </a:rPr>
                        <a:t>Native Hawaiian or Pacific Islander</a:t>
                      </a:r>
                    </a:p>
                    <a:p>
                      <a:pPr marL="342900" marR="0" lvl="0" indent="-342900">
                        <a:lnSpc>
                          <a:spcPct val="115000"/>
                        </a:lnSpc>
                        <a:spcBef>
                          <a:spcPts val="0"/>
                        </a:spcBef>
                        <a:spcAft>
                          <a:spcPts val="0"/>
                        </a:spcAft>
                        <a:buFont typeface="Wingdings" panose="05000000000000000000" pitchFamily="2" charset="2"/>
                        <a:buChar char=""/>
                      </a:pPr>
                      <a:r>
                        <a:rPr lang="en-US" sz="1200" dirty="0">
                          <a:effectLst/>
                        </a:rPr>
                        <a:t>White</a:t>
                      </a:r>
                    </a:p>
                    <a:p>
                      <a:pPr marL="342900" marR="0" lvl="0" indent="-342900">
                        <a:lnSpc>
                          <a:spcPct val="115000"/>
                        </a:lnSpc>
                        <a:spcBef>
                          <a:spcPts val="0"/>
                        </a:spcBef>
                        <a:spcAft>
                          <a:spcPts val="0"/>
                        </a:spcAft>
                        <a:buFont typeface="Wingdings" panose="05000000000000000000" pitchFamily="2" charset="2"/>
                        <a:buChar char=""/>
                      </a:pPr>
                      <a:r>
                        <a:rPr lang="en-US" sz="1200" dirty="0">
                          <a:effectLst/>
                        </a:rPr>
                        <a:t>Other Race: ____</a:t>
                      </a:r>
                    </a:p>
                    <a:p>
                      <a:pPr marL="342900" marR="0" lvl="0" indent="-342900">
                        <a:lnSpc>
                          <a:spcPct val="115000"/>
                        </a:lnSpc>
                        <a:spcBef>
                          <a:spcPts val="0"/>
                        </a:spcBef>
                        <a:spcAft>
                          <a:spcPts val="0"/>
                        </a:spcAft>
                        <a:buFont typeface="Wingdings" panose="05000000000000000000" pitchFamily="2" charset="2"/>
                        <a:buChar char=""/>
                      </a:pPr>
                      <a:r>
                        <a:rPr lang="en-US" sz="1200" dirty="0">
                          <a:effectLst/>
                        </a:rPr>
                        <a:t>Unknown Race</a:t>
                      </a:r>
                    </a:p>
                    <a:p>
                      <a:pPr marL="342900" marR="0" lvl="0" indent="-342900">
                        <a:lnSpc>
                          <a:spcPct val="115000"/>
                        </a:lnSpc>
                        <a:spcBef>
                          <a:spcPts val="0"/>
                        </a:spcBef>
                        <a:spcAft>
                          <a:spcPts val="1000"/>
                        </a:spcAft>
                        <a:buFont typeface="Wingdings" panose="05000000000000000000" pitchFamily="2" charset="2"/>
                        <a:buChar char=""/>
                      </a:pPr>
                      <a:r>
                        <a:rPr lang="en-US" sz="1200" dirty="0">
                          <a:effectLst/>
                        </a:rPr>
                        <a:t>Declined</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655273382"/>
                  </a:ext>
                </a:extLst>
              </a:tr>
            </a:tbl>
          </a:graphicData>
        </a:graphic>
      </p:graphicFrame>
    </p:spTree>
    <p:extLst>
      <p:ext uri="{BB962C8B-B14F-4D97-AF65-F5344CB8AC3E}">
        <p14:creationId xmlns:p14="http://schemas.microsoft.com/office/powerpoint/2010/main" val="117708552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tient Level Data Form</a:t>
            </a: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2071725715"/>
              </p:ext>
            </p:extLst>
          </p:nvPr>
        </p:nvGraphicFramePr>
        <p:xfrm>
          <a:off x="382342" y="1878645"/>
          <a:ext cx="5104058" cy="3575877"/>
        </p:xfrm>
        <a:graphic>
          <a:graphicData uri="http://schemas.openxmlformats.org/drawingml/2006/table">
            <a:tbl>
              <a:tblPr firstRow="1" firstCol="1" bandRow="1">
                <a:tableStyleId>{21E4AEA4-8DFA-4A89-87EB-49C32662AFE0}</a:tableStyleId>
              </a:tblPr>
              <a:tblGrid>
                <a:gridCol w="3144629">
                  <a:extLst>
                    <a:ext uri="{9D8B030D-6E8A-4147-A177-3AD203B41FA5}">
                      <a16:colId xmlns:a16="http://schemas.microsoft.com/office/drawing/2014/main" val="1123736616"/>
                    </a:ext>
                  </a:extLst>
                </a:gridCol>
                <a:gridCol w="1959429">
                  <a:extLst>
                    <a:ext uri="{9D8B030D-6E8A-4147-A177-3AD203B41FA5}">
                      <a16:colId xmlns:a16="http://schemas.microsoft.com/office/drawing/2014/main" val="920528928"/>
                    </a:ext>
                  </a:extLst>
                </a:gridCol>
              </a:tblGrid>
              <a:tr h="557839">
                <a:tc>
                  <a:txBody>
                    <a:bodyPr/>
                    <a:lstStyle/>
                    <a:p>
                      <a:pPr marL="0" marR="0">
                        <a:lnSpc>
                          <a:spcPct val="107000"/>
                        </a:lnSpc>
                        <a:spcBef>
                          <a:spcPts val="0"/>
                        </a:spcBef>
                        <a:spcAft>
                          <a:spcPts val="800"/>
                        </a:spcAft>
                      </a:pPr>
                      <a:r>
                        <a:rPr lang="en-US" sz="1400" dirty="0">
                          <a:effectLst/>
                        </a:rPr>
                        <a:t>Parent(s)-reported infant race &amp; ethnicity documented in the infant medical record</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b="0" dirty="0">
                          <a:solidFill>
                            <a:schemeClr val="tx1"/>
                          </a:solidFill>
                          <a:effectLst/>
                        </a:rPr>
                        <a:t>Yes</a:t>
                      </a:r>
                    </a:p>
                    <a:p>
                      <a:pPr marL="342900" marR="0" lvl="0" indent="-342900">
                        <a:lnSpc>
                          <a:spcPct val="115000"/>
                        </a:lnSpc>
                        <a:spcBef>
                          <a:spcPts val="0"/>
                        </a:spcBef>
                        <a:spcAft>
                          <a:spcPts val="0"/>
                        </a:spcAft>
                        <a:buFont typeface="Symbol" panose="05050102010706020507" pitchFamily="18" charset="2"/>
                        <a:buChar char=""/>
                      </a:pPr>
                      <a:r>
                        <a:rPr lang="en-US" sz="1400" b="0" dirty="0">
                          <a:solidFill>
                            <a:schemeClr val="tx1"/>
                          </a:solidFill>
                          <a:effectLst/>
                        </a:rPr>
                        <a:t>No</a:t>
                      </a:r>
                    </a:p>
                    <a:p>
                      <a:pPr marL="342900" marR="0" lvl="0" indent="-342900">
                        <a:lnSpc>
                          <a:spcPct val="115000"/>
                        </a:lnSpc>
                        <a:spcBef>
                          <a:spcPts val="0"/>
                        </a:spcBef>
                        <a:spcAft>
                          <a:spcPts val="0"/>
                        </a:spcAft>
                        <a:buFont typeface="Symbol" panose="05050102010706020507" pitchFamily="18" charset="2"/>
                        <a:buChar char=""/>
                      </a:pPr>
                      <a:r>
                        <a:rPr lang="en-US" sz="1400" b="0" dirty="0">
                          <a:solidFill>
                            <a:schemeClr val="tx1"/>
                          </a:solidFill>
                          <a:effectLst/>
                        </a:rPr>
                        <a:t>Unknown</a:t>
                      </a:r>
                      <a:endParaRPr lang="en-US" sz="14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solidFill>
                      <a:srgbClr val="FDEAEE"/>
                    </a:solidFill>
                  </a:tcPr>
                </a:tc>
                <a:extLst>
                  <a:ext uri="{0D108BD9-81ED-4DB2-BD59-A6C34878D82A}">
                    <a16:rowId xmlns:a16="http://schemas.microsoft.com/office/drawing/2014/main" val="3231595980"/>
                  </a:ext>
                </a:extLst>
              </a:tr>
              <a:tr h="1126803">
                <a:tc>
                  <a:txBody>
                    <a:bodyPr/>
                    <a:lstStyle/>
                    <a:p>
                      <a:pPr marL="0" marR="0">
                        <a:lnSpc>
                          <a:spcPct val="107000"/>
                        </a:lnSpc>
                        <a:spcBef>
                          <a:spcPts val="0"/>
                        </a:spcBef>
                        <a:spcAft>
                          <a:spcPts val="1000"/>
                        </a:spcAft>
                      </a:pPr>
                      <a:r>
                        <a:rPr lang="en-US" sz="1400" dirty="0">
                          <a:effectLst/>
                        </a:rPr>
                        <a:t>What was the parent or caregivers’ preferred language to receive medical updat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dirty="0">
                          <a:effectLst/>
                        </a:rPr>
                        <a:t>English</a:t>
                      </a:r>
                    </a:p>
                    <a:p>
                      <a:pPr marL="342900" marR="0" lvl="0" indent="-342900">
                        <a:lnSpc>
                          <a:spcPct val="115000"/>
                        </a:lnSpc>
                        <a:spcBef>
                          <a:spcPts val="0"/>
                        </a:spcBef>
                        <a:spcAft>
                          <a:spcPts val="0"/>
                        </a:spcAft>
                        <a:buFont typeface="Symbol" panose="05050102010706020507" pitchFamily="18" charset="2"/>
                        <a:buChar char=""/>
                      </a:pPr>
                      <a:r>
                        <a:rPr lang="en-US" sz="1400" dirty="0">
                          <a:effectLst/>
                        </a:rPr>
                        <a:t>Spanish</a:t>
                      </a:r>
                    </a:p>
                    <a:p>
                      <a:pPr marL="342900" marR="0" lvl="0" indent="-342900">
                        <a:lnSpc>
                          <a:spcPct val="115000"/>
                        </a:lnSpc>
                        <a:spcBef>
                          <a:spcPts val="0"/>
                        </a:spcBef>
                        <a:spcAft>
                          <a:spcPts val="0"/>
                        </a:spcAft>
                        <a:buFont typeface="Symbol" panose="05050102010706020507" pitchFamily="18" charset="2"/>
                        <a:buChar char=""/>
                      </a:pPr>
                      <a:r>
                        <a:rPr lang="en-US" sz="1400" dirty="0">
                          <a:effectLst/>
                        </a:rPr>
                        <a:t>Polish</a:t>
                      </a:r>
                    </a:p>
                    <a:p>
                      <a:pPr marL="342900" marR="0" lvl="0" indent="-342900">
                        <a:lnSpc>
                          <a:spcPct val="115000"/>
                        </a:lnSpc>
                        <a:spcBef>
                          <a:spcPts val="0"/>
                        </a:spcBef>
                        <a:spcAft>
                          <a:spcPts val="0"/>
                        </a:spcAft>
                        <a:buFont typeface="Symbol" panose="05050102010706020507" pitchFamily="18" charset="2"/>
                        <a:buChar char=""/>
                      </a:pPr>
                      <a:r>
                        <a:rPr lang="en-US" sz="1400" dirty="0">
                          <a:effectLst/>
                        </a:rPr>
                        <a:t>Arabic</a:t>
                      </a:r>
                    </a:p>
                    <a:p>
                      <a:pPr marL="342900" marR="0" lvl="0" indent="-342900">
                        <a:lnSpc>
                          <a:spcPct val="115000"/>
                        </a:lnSpc>
                        <a:spcBef>
                          <a:spcPts val="0"/>
                        </a:spcBef>
                        <a:spcAft>
                          <a:spcPts val="0"/>
                        </a:spcAft>
                        <a:buFont typeface="Symbol" panose="05050102010706020507" pitchFamily="18" charset="2"/>
                        <a:buChar char=""/>
                      </a:pPr>
                      <a:r>
                        <a:rPr lang="en-US" sz="1400" dirty="0">
                          <a:effectLst/>
                        </a:rPr>
                        <a:t>Urdu</a:t>
                      </a:r>
                    </a:p>
                    <a:p>
                      <a:pPr marL="342900" marR="0" lvl="0" indent="-342900">
                        <a:lnSpc>
                          <a:spcPct val="115000"/>
                        </a:lnSpc>
                        <a:spcBef>
                          <a:spcPts val="0"/>
                        </a:spcBef>
                        <a:spcAft>
                          <a:spcPts val="1000"/>
                        </a:spcAft>
                        <a:buFont typeface="Symbol" panose="05050102010706020507" pitchFamily="18" charset="2"/>
                        <a:buChar char=""/>
                      </a:pPr>
                      <a:r>
                        <a:rPr lang="en-US" sz="1400" dirty="0">
                          <a:effectLst/>
                        </a:rPr>
                        <a:t>Other: _______</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142995013"/>
                  </a:ext>
                </a:extLst>
              </a:tr>
              <a:tr h="368184">
                <a:tc>
                  <a:txBody>
                    <a:bodyPr/>
                    <a:lstStyle/>
                    <a:p>
                      <a:pPr marL="0" marR="0">
                        <a:lnSpc>
                          <a:spcPct val="107000"/>
                        </a:lnSpc>
                        <a:spcBef>
                          <a:spcPts val="0"/>
                        </a:spcBef>
                        <a:spcAft>
                          <a:spcPts val="1000"/>
                        </a:spcAft>
                      </a:pPr>
                      <a:r>
                        <a:rPr lang="en-US" sz="1400">
                          <a:effectLst/>
                        </a:rPr>
                        <a:t>Documentation of a qualified interpreter used to provide safe sleep education to the parent or caregiver</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a:effectLst/>
                        </a:rPr>
                        <a:t>Yes</a:t>
                      </a:r>
                    </a:p>
                    <a:p>
                      <a:pPr marL="342900" marR="0" lvl="0" indent="-342900">
                        <a:lnSpc>
                          <a:spcPct val="115000"/>
                        </a:lnSpc>
                        <a:spcBef>
                          <a:spcPts val="0"/>
                        </a:spcBef>
                        <a:spcAft>
                          <a:spcPts val="1000"/>
                        </a:spcAft>
                        <a:buFont typeface="Symbol" panose="05050102010706020507" pitchFamily="18" charset="2"/>
                        <a:buChar char=""/>
                      </a:pPr>
                      <a:r>
                        <a:rPr lang="en-US" sz="1400">
                          <a:effectLst/>
                        </a:rPr>
                        <a:t>No</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3225390109"/>
                  </a:ext>
                </a:extLst>
              </a:tr>
              <a:tr h="597219">
                <a:tc>
                  <a:txBody>
                    <a:bodyPr/>
                    <a:lstStyle/>
                    <a:p>
                      <a:pPr marL="0" marR="0">
                        <a:lnSpc>
                          <a:spcPct val="107000"/>
                        </a:lnSpc>
                        <a:spcBef>
                          <a:spcPts val="0"/>
                        </a:spcBef>
                        <a:spcAft>
                          <a:spcPts val="800"/>
                        </a:spcAft>
                      </a:pPr>
                      <a:r>
                        <a:rPr lang="en-US" sz="1400">
                          <a:effectLst/>
                        </a:rPr>
                        <a:t>Documentation of parents or caregivers reporting an understanding of a safe sleep environment</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dirty="0">
                          <a:effectLst/>
                        </a:rPr>
                        <a:t>Yes</a:t>
                      </a:r>
                    </a:p>
                    <a:p>
                      <a:pPr marL="342900" marR="0" lvl="0" indent="-342900">
                        <a:lnSpc>
                          <a:spcPct val="115000"/>
                        </a:lnSpc>
                        <a:spcBef>
                          <a:spcPts val="0"/>
                        </a:spcBef>
                        <a:spcAft>
                          <a:spcPts val="0"/>
                        </a:spcAft>
                        <a:buFont typeface="Symbol" panose="05050102010706020507" pitchFamily="18" charset="2"/>
                        <a:buChar char=""/>
                      </a:pPr>
                      <a:r>
                        <a:rPr lang="en-US" sz="1400" dirty="0">
                          <a:effectLst/>
                        </a:rPr>
                        <a:t>No</a:t>
                      </a:r>
                    </a:p>
                    <a:p>
                      <a:pPr marL="342900" marR="0" lvl="0" indent="-342900">
                        <a:lnSpc>
                          <a:spcPct val="115000"/>
                        </a:lnSpc>
                        <a:spcBef>
                          <a:spcPts val="0"/>
                        </a:spcBef>
                        <a:spcAft>
                          <a:spcPts val="0"/>
                        </a:spcAft>
                        <a:buFont typeface="Symbol" panose="05050102010706020507" pitchFamily="18" charset="2"/>
                        <a:buChar char=""/>
                      </a:pPr>
                      <a:r>
                        <a:rPr lang="en-US" sz="1400" dirty="0">
                          <a:effectLst/>
                        </a:rPr>
                        <a:t>Unknown</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2003939389"/>
                  </a:ext>
                </a:extLst>
              </a:tr>
            </a:tbl>
          </a:graphicData>
        </a:graphic>
      </p:graphicFrame>
      <p:sp>
        <p:nvSpPr>
          <p:cNvPr id="4" name="Slide Number Placeholder 3"/>
          <p:cNvSpPr>
            <a:spLocks noGrp="1"/>
          </p:cNvSpPr>
          <p:nvPr>
            <p:ph type="sldNum" sz="quarter" idx="10"/>
          </p:nvPr>
        </p:nvSpPr>
        <p:spPr/>
        <p:txBody>
          <a:bodyPr/>
          <a:lstStyle/>
          <a:p>
            <a:fld id="{97033E4B-E3EB-3D46-B2D8-3159663620FA}" type="slidenum">
              <a:rPr lang="en-US" smtClean="0"/>
              <a:pPr/>
              <a:t>71</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graphicFrame>
        <p:nvGraphicFramePr>
          <p:cNvPr id="8" name="Table 7"/>
          <p:cNvGraphicFramePr>
            <a:graphicFrameLocks noGrp="1"/>
          </p:cNvGraphicFramePr>
          <p:nvPr>
            <p:extLst>
              <p:ext uri="{D42A27DB-BD31-4B8C-83A1-F6EECF244321}">
                <p14:modId xmlns:p14="http://schemas.microsoft.com/office/powerpoint/2010/main" val="1694916413"/>
              </p:ext>
            </p:extLst>
          </p:nvPr>
        </p:nvGraphicFramePr>
        <p:xfrm>
          <a:off x="5780316" y="1690688"/>
          <a:ext cx="5900056" cy="3958337"/>
        </p:xfrm>
        <a:graphic>
          <a:graphicData uri="http://schemas.openxmlformats.org/drawingml/2006/table">
            <a:tbl>
              <a:tblPr firstRow="1" firstCol="1" bandRow="1">
                <a:tableStyleId>{21E4AEA4-8DFA-4A89-87EB-49C32662AFE0}</a:tableStyleId>
              </a:tblPr>
              <a:tblGrid>
                <a:gridCol w="3799113">
                  <a:extLst>
                    <a:ext uri="{9D8B030D-6E8A-4147-A177-3AD203B41FA5}">
                      <a16:colId xmlns:a16="http://schemas.microsoft.com/office/drawing/2014/main" val="1360226053"/>
                    </a:ext>
                  </a:extLst>
                </a:gridCol>
                <a:gridCol w="2100943">
                  <a:extLst>
                    <a:ext uri="{9D8B030D-6E8A-4147-A177-3AD203B41FA5}">
                      <a16:colId xmlns:a16="http://schemas.microsoft.com/office/drawing/2014/main" val="3275742663"/>
                    </a:ext>
                  </a:extLst>
                </a:gridCol>
              </a:tblGrid>
              <a:tr h="368184">
                <a:tc>
                  <a:txBody>
                    <a:bodyPr/>
                    <a:lstStyle/>
                    <a:p>
                      <a:pPr marL="0" marR="0">
                        <a:lnSpc>
                          <a:spcPct val="107000"/>
                        </a:lnSpc>
                        <a:spcBef>
                          <a:spcPts val="0"/>
                        </a:spcBef>
                        <a:spcAft>
                          <a:spcPts val="1000"/>
                        </a:spcAft>
                      </a:pPr>
                      <a:r>
                        <a:rPr lang="en-US" sz="1400" dirty="0">
                          <a:effectLst/>
                        </a:rPr>
                        <a:t>Documentation of a conversation with parents or caregivers about adjustment to life with a newborn and safe sleep outside of the hospital</a:t>
                      </a:r>
                      <a:endParaRPr lang="en-US" sz="14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b="0" dirty="0">
                          <a:solidFill>
                            <a:schemeClr val="tx1"/>
                          </a:solidFill>
                          <a:effectLst/>
                        </a:rPr>
                        <a:t>Yes</a:t>
                      </a:r>
                    </a:p>
                    <a:p>
                      <a:pPr marL="342900" marR="0" lvl="0" indent="-342900">
                        <a:lnSpc>
                          <a:spcPct val="115000"/>
                        </a:lnSpc>
                        <a:spcBef>
                          <a:spcPts val="0"/>
                        </a:spcBef>
                        <a:spcAft>
                          <a:spcPts val="1000"/>
                        </a:spcAft>
                        <a:buFont typeface="Symbol" panose="05050102010706020507" pitchFamily="18" charset="2"/>
                        <a:buChar char=""/>
                      </a:pPr>
                      <a:r>
                        <a:rPr lang="en-US" sz="1400" b="0" dirty="0">
                          <a:solidFill>
                            <a:schemeClr val="tx1"/>
                          </a:solidFill>
                          <a:effectLst/>
                        </a:rPr>
                        <a:t>No</a:t>
                      </a:r>
                      <a:endParaRPr lang="en-US" sz="14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solidFill>
                      <a:srgbClr val="FDEAEE"/>
                    </a:solidFill>
                  </a:tcPr>
                </a:tc>
                <a:extLst>
                  <a:ext uri="{0D108BD9-81ED-4DB2-BD59-A6C34878D82A}">
                    <a16:rowId xmlns:a16="http://schemas.microsoft.com/office/drawing/2014/main" val="649105352"/>
                  </a:ext>
                </a:extLst>
              </a:tr>
              <a:tr h="368184">
                <a:tc>
                  <a:txBody>
                    <a:bodyPr/>
                    <a:lstStyle/>
                    <a:p>
                      <a:pPr marL="0" marR="0">
                        <a:lnSpc>
                          <a:spcPct val="107000"/>
                        </a:lnSpc>
                        <a:spcBef>
                          <a:spcPts val="0"/>
                        </a:spcBef>
                        <a:spcAft>
                          <a:spcPts val="1000"/>
                        </a:spcAft>
                      </a:pPr>
                      <a:r>
                        <a:rPr lang="en-US" sz="1400">
                          <a:effectLst/>
                        </a:rPr>
                        <a:t>If specific anticipated challenges were identified, was there documentation of resources and guidance shared with parents or caregivers </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a:effectLst/>
                        </a:rPr>
                        <a:t>Yes</a:t>
                      </a:r>
                    </a:p>
                    <a:p>
                      <a:pPr marL="342900" marR="0" lvl="0" indent="-342900">
                        <a:lnSpc>
                          <a:spcPct val="115000"/>
                        </a:lnSpc>
                        <a:spcBef>
                          <a:spcPts val="0"/>
                        </a:spcBef>
                        <a:spcAft>
                          <a:spcPts val="0"/>
                        </a:spcAft>
                        <a:buFont typeface="Symbol" panose="05050102010706020507" pitchFamily="18" charset="2"/>
                        <a:buChar char=""/>
                      </a:pPr>
                      <a:r>
                        <a:rPr lang="en-US" sz="1400">
                          <a:effectLst/>
                        </a:rPr>
                        <a:t>No</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3346935684"/>
                  </a:ext>
                </a:extLst>
              </a:tr>
              <a:tr h="597219">
                <a:tc>
                  <a:txBody>
                    <a:bodyPr/>
                    <a:lstStyle/>
                    <a:p>
                      <a:pPr marL="0" marR="0">
                        <a:lnSpc>
                          <a:spcPct val="107000"/>
                        </a:lnSpc>
                        <a:spcBef>
                          <a:spcPts val="0"/>
                        </a:spcBef>
                        <a:spcAft>
                          <a:spcPts val="800"/>
                        </a:spcAft>
                      </a:pPr>
                      <a:r>
                        <a:rPr lang="en-US" sz="1400" dirty="0">
                          <a:effectLst/>
                        </a:rPr>
                        <a:t>Documentation in the infant chart of social determinants of health (</a:t>
                      </a:r>
                      <a:r>
                        <a:rPr lang="en-US" sz="1400" dirty="0" err="1">
                          <a:effectLst/>
                        </a:rPr>
                        <a:t>SDoH</a:t>
                      </a:r>
                      <a:r>
                        <a:rPr lang="en-US" sz="1400" dirty="0">
                          <a:effectLst/>
                        </a:rPr>
                        <a:t>) screening completed</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a:effectLst/>
                        </a:rPr>
                        <a:t>Documented / SDOH needs identified </a:t>
                      </a:r>
                    </a:p>
                    <a:p>
                      <a:pPr marL="342900" marR="0" lvl="0" indent="-342900">
                        <a:lnSpc>
                          <a:spcPct val="115000"/>
                        </a:lnSpc>
                        <a:spcBef>
                          <a:spcPts val="0"/>
                        </a:spcBef>
                        <a:spcAft>
                          <a:spcPts val="0"/>
                        </a:spcAft>
                        <a:buFont typeface="Symbol" panose="05050102010706020507" pitchFamily="18" charset="2"/>
                        <a:buChar char=""/>
                      </a:pPr>
                      <a:r>
                        <a:rPr lang="en-US" sz="1400">
                          <a:effectLst/>
                        </a:rPr>
                        <a:t>Documented / No SDOH needs identified</a:t>
                      </a:r>
                    </a:p>
                    <a:p>
                      <a:pPr marL="342900" marR="0" lvl="0" indent="-342900">
                        <a:lnSpc>
                          <a:spcPct val="115000"/>
                        </a:lnSpc>
                        <a:spcBef>
                          <a:spcPts val="0"/>
                        </a:spcBef>
                        <a:spcAft>
                          <a:spcPts val="0"/>
                        </a:spcAft>
                        <a:buFont typeface="Symbol" panose="05050102010706020507" pitchFamily="18" charset="2"/>
                        <a:buChar char=""/>
                      </a:pPr>
                      <a:r>
                        <a:rPr lang="en-US" sz="1400">
                          <a:effectLst/>
                        </a:rPr>
                        <a:t>Not Documented</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1802044326"/>
                  </a:ext>
                </a:extLst>
              </a:tr>
              <a:tr h="597219">
                <a:tc>
                  <a:txBody>
                    <a:bodyPr/>
                    <a:lstStyle/>
                    <a:p>
                      <a:pPr marL="0" marR="0">
                        <a:lnSpc>
                          <a:spcPct val="115000"/>
                        </a:lnSpc>
                        <a:spcBef>
                          <a:spcPts val="0"/>
                        </a:spcBef>
                        <a:spcAft>
                          <a:spcPts val="0"/>
                        </a:spcAft>
                      </a:pPr>
                      <a:r>
                        <a:rPr lang="en-US" sz="1400">
                          <a:effectLst/>
                        </a:rPr>
                        <a:t>Parent or caregiver with SDOH needs identified have documentation of linkage to needed resources/services in the infant chart</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a:effectLst/>
                        </a:rPr>
                        <a:t>Yes</a:t>
                      </a:r>
                    </a:p>
                    <a:p>
                      <a:pPr marL="342900" marR="0" lvl="0" indent="-342900">
                        <a:lnSpc>
                          <a:spcPct val="115000"/>
                        </a:lnSpc>
                        <a:spcBef>
                          <a:spcPts val="0"/>
                        </a:spcBef>
                        <a:spcAft>
                          <a:spcPts val="0"/>
                        </a:spcAft>
                        <a:buFont typeface="Symbol" panose="05050102010706020507" pitchFamily="18" charset="2"/>
                        <a:buChar char=""/>
                      </a:pPr>
                      <a:r>
                        <a:rPr lang="en-US" sz="1400">
                          <a:effectLst/>
                        </a:rPr>
                        <a:t>No</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4231315181"/>
                  </a:ext>
                </a:extLst>
              </a:tr>
              <a:tr h="597219">
                <a:tc>
                  <a:txBody>
                    <a:bodyPr/>
                    <a:lstStyle/>
                    <a:p>
                      <a:pPr marL="0" marR="0">
                        <a:lnSpc>
                          <a:spcPct val="107000"/>
                        </a:lnSpc>
                        <a:spcBef>
                          <a:spcPts val="0"/>
                        </a:spcBef>
                        <a:spcAft>
                          <a:spcPts val="800"/>
                        </a:spcAft>
                      </a:pPr>
                      <a:r>
                        <a:rPr lang="en-US" sz="1400">
                          <a:effectLst/>
                        </a:rPr>
                        <a:t>ESSI Newborn Care Plan and transfer of care to the community provider documented in discharge summary</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dirty="0">
                          <a:effectLst/>
                        </a:rPr>
                        <a:t>Yes</a:t>
                      </a:r>
                    </a:p>
                    <a:p>
                      <a:pPr marL="342900" marR="0" lvl="0" indent="-342900">
                        <a:lnSpc>
                          <a:spcPct val="115000"/>
                        </a:lnSpc>
                        <a:spcBef>
                          <a:spcPts val="0"/>
                        </a:spcBef>
                        <a:spcAft>
                          <a:spcPts val="0"/>
                        </a:spcAft>
                        <a:buFont typeface="Symbol" panose="05050102010706020507" pitchFamily="18" charset="2"/>
                        <a:buChar char=""/>
                      </a:pPr>
                      <a:r>
                        <a:rPr lang="en-US" sz="1400" dirty="0">
                          <a:effectLst/>
                        </a:rPr>
                        <a:t>No</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1813488345"/>
                  </a:ext>
                </a:extLst>
              </a:tr>
            </a:tbl>
          </a:graphicData>
        </a:graphic>
      </p:graphicFrame>
    </p:spTree>
    <p:extLst>
      <p:ext uri="{BB962C8B-B14F-4D97-AF65-F5344CB8AC3E}">
        <p14:creationId xmlns:p14="http://schemas.microsoft.com/office/powerpoint/2010/main" val="273023864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7517A47C-B2E5-4B79-8061-D74B1311A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3" name="Freeform: Shape 12">
            <a:extLst>
              <a:ext uri="{FF2B5EF4-FFF2-40B4-BE49-F238E27FC236}">
                <a16:creationId xmlns:a16="http://schemas.microsoft.com/office/drawing/2014/main" id="{C505E780-2083-4CB5-A42A-5E0E2908EC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818889" cy="6858000"/>
          </a:xfrm>
          <a:custGeom>
            <a:avLst/>
            <a:gdLst>
              <a:gd name="connsiteX0" fmla="*/ 0 w 4818889"/>
              <a:gd name="connsiteY0" fmla="*/ 0 h 6858000"/>
              <a:gd name="connsiteX1" fmla="*/ 3605911 w 4818889"/>
              <a:gd name="connsiteY1" fmla="*/ 0 h 6858000"/>
              <a:gd name="connsiteX2" fmla="*/ 3668894 w 4818889"/>
              <a:gd name="connsiteY2" fmla="*/ 69271 h 6858000"/>
              <a:gd name="connsiteX3" fmla="*/ 4818889 w 4818889"/>
              <a:gd name="connsiteY3" fmla="*/ 3429000 h 6858000"/>
              <a:gd name="connsiteX4" fmla="*/ 3668894 w 4818889"/>
              <a:gd name="connsiteY4" fmla="*/ 6788730 h 6858000"/>
              <a:gd name="connsiteX5" fmla="*/ 3605911 w 4818889"/>
              <a:gd name="connsiteY5" fmla="*/ 6858000 h 6858000"/>
              <a:gd name="connsiteX6" fmla="*/ 0 w 481888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8889" h="6858000">
                <a:moveTo>
                  <a:pt x="0" y="0"/>
                </a:moveTo>
                <a:lnTo>
                  <a:pt x="3605911" y="0"/>
                </a:lnTo>
                <a:lnTo>
                  <a:pt x="3668894" y="69271"/>
                </a:lnTo>
                <a:cubicBezTo>
                  <a:pt x="4379420" y="929100"/>
                  <a:pt x="4818889" y="2116944"/>
                  <a:pt x="4818889" y="3429000"/>
                </a:cubicBezTo>
                <a:cubicBezTo>
                  <a:pt x="4818889" y="4741056"/>
                  <a:pt x="4379420" y="5928900"/>
                  <a:pt x="3668894" y="6788730"/>
                </a:cubicBezTo>
                <a:lnTo>
                  <a:pt x="3605911"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5" name="Freeform: Shape 14">
            <a:extLst>
              <a:ext uri="{FF2B5EF4-FFF2-40B4-BE49-F238E27FC236}">
                <a16:creationId xmlns:a16="http://schemas.microsoft.com/office/drawing/2014/main" id="{D2C0AE1C-0118-41AE-8A10-7CDCBF10E9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811477" cy="6858000"/>
          </a:xfrm>
          <a:custGeom>
            <a:avLst/>
            <a:gdLst>
              <a:gd name="connsiteX0" fmla="*/ 0 w 4811477"/>
              <a:gd name="connsiteY0" fmla="*/ 0 h 6858000"/>
              <a:gd name="connsiteX1" fmla="*/ 3598499 w 4811477"/>
              <a:gd name="connsiteY1" fmla="*/ 0 h 6858000"/>
              <a:gd name="connsiteX2" fmla="*/ 3661482 w 4811477"/>
              <a:gd name="connsiteY2" fmla="*/ 69271 h 6858000"/>
              <a:gd name="connsiteX3" fmla="*/ 4811477 w 4811477"/>
              <a:gd name="connsiteY3" fmla="*/ 3429000 h 6858000"/>
              <a:gd name="connsiteX4" fmla="*/ 3661482 w 4811477"/>
              <a:gd name="connsiteY4" fmla="*/ 6788730 h 6858000"/>
              <a:gd name="connsiteX5" fmla="*/ 3598499 w 4811477"/>
              <a:gd name="connsiteY5" fmla="*/ 6858000 h 6858000"/>
              <a:gd name="connsiteX6" fmla="*/ 0 w 481147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1477" h="6858000">
                <a:moveTo>
                  <a:pt x="0" y="0"/>
                </a:moveTo>
                <a:lnTo>
                  <a:pt x="3598499" y="0"/>
                </a:lnTo>
                <a:lnTo>
                  <a:pt x="3661482" y="69271"/>
                </a:lnTo>
                <a:cubicBezTo>
                  <a:pt x="4372008" y="929100"/>
                  <a:pt x="4811477" y="2116944"/>
                  <a:pt x="4811477" y="3429000"/>
                </a:cubicBezTo>
                <a:cubicBezTo>
                  <a:pt x="4811477" y="4741056"/>
                  <a:pt x="4372008" y="5928900"/>
                  <a:pt x="3661482" y="6788730"/>
                </a:cubicBezTo>
                <a:lnTo>
                  <a:pt x="3598499"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621792" y="1161288"/>
            <a:ext cx="3602736" cy="4526280"/>
          </a:xfrm>
        </p:spPr>
        <p:txBody>
          <a:bodyPr>
            <a:normAutofit/>
          </a:bodyPr>
          <a:lstStyle/>
          <a:p>
            <a:pPr>
              <a:lnSpc>
                <a:spcPct val="90000"/>
              </a:lnSpc>
            </a:pPr>
            <a:r>
              <a:rPr lang="en-US" sz="4000"/>
              <a:t>Step 6: </a:t>
            </a:r>
            <a:r>
              <a:rPr lang="en-US" sz="4000" b="0"/>
              <a:t>Review your current safe sleep and respectful care provider, nursing, and staff education</a:t>
            </a:r>
            <a:br>
              <a:rPr lang="en-US" sz="4000"/>
            </a:br>
            <a:endParaRPr lang="en-US" sz="4000"/>
          </a:p>
        </p:txBody>
      </p:sp>
      <p:sp>
        <p:nvSpPr>
          <p:cNvPr id="17" name="Rectangle 16">
            <a:extLst>
              <a:ext uri="{FF2B5EF4-FFF2-40B4-BE49-F238E27FC236}">
                <a16:creationId xmlns:a16="http://schemas.microsoft.com/office/drawing/2014/main" id="{463EEC44-1BA3-44ED-81FC-A644B04B2A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081528"/>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5" name="Footer Placeholder 4"/>
          <p:cNvSpPr>
            <a:spLocks noGrp="1"/>
          </p:cNvSpPr>
          <p:nvPr>
            <p:ph type="ftr" sz="quarter" idx="11"/>
          </p:nvPr>
        </p:nvSpPr>
        <p:spPr>
          <a:xfrm>
            <a:off x="4038600" y="6356350"/>
            <a:ext cx="4114800" cy="365125"/>
          </a:xfrm>
        </p:spPr>
        <p:txBody>
          <a:bodyPr>
            <a:normAutofit/>
          </a:bodyPr>
          <a:lstStyle/>
          <a:p>
            <a:pPr>
              <a:spcAft>
                <a:spcPts val="600"/>
              </a:spcAft>
            </a:pPr>
            <a:r>
              <a:rPr lang="en-US">
                <a:solidFill>
                  <a:schemeClr val="tx1">
                    <a:lumMod val="50000"/>
                    <a:lumOff val="50000"/>
                  </a:schemeClr>
                </a:solidFill>
              </a:rPr>
              <a:t>Illinois Perinatal Quality Collaborative</a:t>
            </a:r>
          </a:p>
        </p:txBody>
      </p:sp>
      <p:sp>
        <p:nvSpPr>
          <p:cNvPr id="4" name="Slide Number Placeholder 3"/>
          <p:cNvSpPr>
            <a:spLocks noGrp="1"/>
          </p:cNvSpPr>
          <p:nvPr>
            <p:ph type="sldNum" sz="quarter" idx="10"/>
          </p:nvPr>
        </p:nvSpPr>
        <p:spPr>
          <a:xfrm>
            <a:off x="8801100" y="6356350"/>
            <a:ext cx="2743200" cy="365125"/>
          </a:xfrm>
        </p:spPr>
        <p:txBody>
          <a:bodyPr>
            <a:normAutofit/>
          </a:bodyPr>
          <a:lstStyle/>
          <a:p>
            <a:pPr>
              <a:spcAft>
                <a:spcPts val="600"/>
              </a:spcAft>
            </a:pPr>
            <a:fld id="{97033E4B-E3EB-3D46-B2D8-3159663620FA}" type="slidenum">
              <a:rPr lang="en-US">
                <a:solidFill>
                  <a:schemeClr val="tx1">
                    <a:lumMod val="50000"/>
                    <a:lumOff val="50000"/>
                  </a:schemeClr>
                </a:solidFill>
              </a:rPr>
              <a:pPr>
                <a:spcAft>
                  <a:spcPts val="600"/>
                </a:spcAft>
              </a:pPr>
              <a:t>72</a:t>
            </a:fld>
            <a:endParaRPr lang="en-US">
              <a:solidFill>
                <a:schemeClr val="tx1">
                  <a:lumMod val="50000"/>
                  <a:lumOff val="50000"/>
                </a:schemeClr>
              </a:solidFill>
            </a:endParaRPr>
          </a:p>
        </p:txBody>
      </p:sp>
      <p:graphicFrame>
        <p:nvGraphicFramePr>
          <p:cNvPr id="7" name="Content Placeholder 2">
            <a:extLst>
              <a:ext uri="{FF2B5EF4-FFF2-40B4-BE49-F238E27FC236}">
                <a16:creationId xmlns:a16="http://schemas.microsoft.com/office/drawing/2014/main" id="{24D49A4E-BD95-5DF0-35BC-A9758FC2DA7E}"/>
              </a:ext>
            </a:extLst>
          </p:cNvPr>
          <p:cNvGraphicFramePr>
            <a:graphicFrameLocks noGrp="1"/>
          </p:cNvGraphicFramePr>
          <p:nvPr>
            <p:ph idx="1"/>
            <p:extLst>
              <p:ext uri="{D42A27DB-BD31-4B8C-83A1-F6EECF244321}">
                <p14:modId xmlns:p14="http://schemas.microsoft.com/office/powerpoint/2010/main" val="4033154985"/>
              </p:ext>
            </p:extLst>
          </p:nvPr>
        </p:nvGraphicFramePr>
        <p:xfrm>
          <a:off x="5303520" y="676656"/>
          <a:ext cx="6364224" cy="55138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4652061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 7: </a:t>
            </a:r>
            <a:r>
              <a:rPr lang="en-US" b="0" dirty="0"/>
              <a:t>ESSI Toolkit</a:t>
            </a:r>
          </a:p>
        </p:txBody>
      </p:sp>
      <p:sp>
        <p:nvSpPr>
          <p:cNvPr id="3" name="Content Placeholder 2"/>
          <p:cNvSpPr>
            <a:spLocks noGrp="1"/>
          </p:cNvSpPr>
          <p:nvPr>
            <p:ph idx="1"/>
          </p:nvPr>
        </p:nvSpPr>
        <p:spPr>
          <a:xfrm>
            <a:off x="609600" y="2348757"/>
            <a:ext cx="10972800" cy="4351338"/>
          </a:xfrm>
        </p:spPr>
        <p:txBody>
          <a:bodyPr/>
          <a:lstStyle/>
          <a:p>
            <a:r>
              <a:rPr lang="en-US" dirty="0">
                <a:ea typeface="Lato"/>
                <a:cs typeface="Lato"/>
              </a:rPr>
              <a:t>The ESSI Toolkit includes the resources you need to successfully launch the ESSI initiative and achieve performance improvement </a:t>
            </a:r>
            <a:r>
              <a:rPr lang="en-US" dirty="0">
                <a:ea typeface="Lato"/>
                <a:cs typeface="Calibri"/>
              </a:rPr>
              <a:t>at</a:t>
            </a:r>
            <a:r>
              <a:rPr lang="en-US" dirty="0">
                <a:ea typeface="+mn-lt"/>
                <a:cs typeface="+mn-lt"/>
              </a:rPr>
              <a:t> your hospital</a:t>
            </a:r>
            <a:r>
              <a:rPr lang="en-US" dirty="0">
                <a:ea typeface="Lato"/>
                <a:cs typeface="Lato"/>
              </a:rPr>
              <a:t>.</a:t>
            </a:r>
            <a:endParaRPr lang="en-US" dirty="0"/>
          </a:p>
          <a:p>
            <a:r>
              <a:rPr lang="en-US" dirty="0"/>
              <a:t>Organized by Driver</a:t>
            </a:r>
          </a:p>
          <a:p>
            <a:r>
              <a:rPr lang="en-US" dirty="0"/>
              <a:t>Living document, we are always updating resources so make sure to check back for new or updated resources</a:t>
            </a:r>
          </a:p>
          <a:p>
            <a:r>
              <a:rPr lang="en-US" dirty="0"/>
              <a:t>Let’s take a look!! </a:t>
            </a:r>
            <a:r>
              <a:rPr lang="en-US" dirty="0">
                <a:hlinkClick r:id="rId2"/>
              </a:rPr>
              <a:t>www.Ilpqc.org/essi</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97033E4B-E3EB-3D46-B2D8-3159663620FA}" type="slidenum">
              <a:rPr lang="en-US" smtClean="0"/>
              <a:pPr/>
              <a:t>73</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6" name="Freeform 23">
            <a:extLst>
              <a:ext uri="{FF2B5EF4-FFF2-40B4-BE49-F238E27FC236}">
                <a16:creationId xmlns:a16="http://schemas.microsoft.com/office/drawing/2014/main" id="{9CAE83B1-576A-4BD3-4D30-DC90CF84A4CA}"/>
              </a:ext>
            </a:extLst>
          </p:cNvPr>
          <p:cNvSpPr/>
          <p:nvPr/>
        </p:nvSpPr>
        <p:spPr>
          <a:xfrm>
            <a:off x="4724400" y="90737"/>
            <a:ext cx="1992043" cy="1667420"/>
          </a:xfrm>
          <a:custGeom>
            <a:avLst/>
            <a:gdLst/>
            <a:ahLst/>
            <a:cxnLst/>
            <a:rect l="l" t="t" r="r" b="b"/>
            <a:pathLst>
              <a:path w="2319518" h="2026679">
                <a:moveTo>
                  <a:pt x="0" y="0"/>
                </a:moveTo>
                <a:lnTo>
                  <a:pt x="2319518" y="0"/>
                </a:lnTo>
                <a:lnTo>
                  <a:pt x="2319518" y="2026679"/>
                </a:lnTo>
                <a:lnTo>
                  <a:pt x="0" y="202667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Tree>
    <p:extLst>
      <p:ext uri="{BB962C8B-B14F-4D97-AF65-F5344CB8AC3E}">
        <p14:creationId xmlns:p14="http://schemas.microsoft.com/office/powerpoint/2010/main" val="164163659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4632197" y="2587284"/>
            <a:ext cx="2409770" cy="2804096"/>
            <a:chOff x="0" y="0"/>
            <a:chExt cx="698500" cy="812800"/>
          </a:xfrm>
        </p:grpSpPr>
        <p:sp>
          <p:nvSpPr>
            <p:cNvPr id="3" name="Freeform 3"/>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1C498B"/>
            </a:solidFill>
          </p:spPr>
        </p:sp>
        <p:sp>
          <p:nvSpPr>
            <p:cNvPr id="4" name="TextBox 4"/>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5" name="Group 5"/>
          <p:cNvGrpSpPr/>
          <p:nvPr/>
        </p:nvGrpSpPr>
        <p:grpSpPr>
          <a:xfrm>
            <a:off x="4022623" y="1413045"/>
            <a:ext cx="1331545" cy="1549435"/>
            <a:chOff x="0" y="0"/>
            <a:chExt cx="698500" cy="812800"/>
          </a:xfrm>
        </p:grpSpPr>
        <p:sp>
          <p:nvSpPr>
            <p:cNvPr id="6" name="Freeform 6"/>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58366"/>
            </a:solidFill>
          </p:spPr>
        </p:sp>
        <p:sp>
          <p:nvSpPr>
            <p:cNvPr id="7" name="TextBox 7"/>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8" name="Group 8"/>
          <p:cNvGrpSpPr/>
          <p:nvPr/>
        </p:nvGrpSpPr>
        <p:grpSpPr>
          <a:xfrm>
            <a:off x="6424792" y="1413045"/>
            <a:ext cx="1331545" cy="1549435"/>
            <a:chOff x="0" y="0"/>
            <a:chExt cx="698500" cy="812800"/>
          </a:xfrm>
        </p:grpSpPr>
        <p:sp>
          <p:nvSpPr>
            <p:cNvPr id="9" name="Freeform 9"/>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C45ED1"/>
            </a:solidFill>
          </p:spPr>
        </p:sp>
        <p:sp>
          <p:nvSpPr>
            <p:cNvPr id="10" name="TextBox 10"/>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11" name="Group 11"/>
          <p:cNvGrpSpPr/>
          <p:nvPr/>
        </p:nvGrpSpPr>
        <p:grpSpPr>
          <a:xfrm>
            <a:off x="3223169" y="3128439"/>
            <a:ext cx="1313884" cy="1528883"/>
            <a:chOff x="0" y="0"/>
            <a:chExt cx="698500" cy="812800"/>
          </a:xfrm>
        </p:grpSpPr>
        <p:sp>
          <p:nvSpPr>
            <p:cNvPr id="12" name="Freeform 12"/>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6B95FD"/>
            </a:solidFill>
          </p:spPr>
        </p:sp>
        <p:sp>
          <p:nvSpPr>
            <p:cNvPr id="13" name="TextBox 13"/>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14" name="Group 14"/>
          <p:cNvGrpSpPr/>
          <p:nvPr/>
        </p:nvGrpSpPr>
        <p:grpSpPr>
          <a:xfrm>
            <a:off x="7173115" y="3128439"/>
            <a:ext cx="1313884" cy="1528883"/>
            <a:chOff x="0" y="0"/>
            <a:chExt cx="698500" cy="812800"/>
          </a:xfrm>
        </p:grpSpPr>
        <p:sp>
          <p:nvSpPr>
            <p:cNvPr id="15" name="Freeform 15"/>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48CFAE"/>
            </a:solidFill>
          </p:spPr>
        </p:sp>
        <p:sp>
          <p:nvSpPr>
            <p:cNvPr id="16" name="TextBox 16"/>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17" name="Group 17"/>
          <p:cNvGrpSpPr/>
          <p:nvPr/>
        </p:nvGrpSpPr>
        <p:grpSpPr>
          <a:xfrm>
            <a:off x="3880111" y="4987657"/>
            <a:ext cx="1285801" cy="1496205"/>
            <a:chOff x="0" y="0"/>
            <a:chExt cx="698500" cy="812800"/>
          </a:xfrm>
        </p:grpSpPr>
        <p:sp>
          <p:nvSpPr>
            <p:cNvPr id="18" name="Freeform 18"/>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5668F"/>
            </a:solidFill>
          </p:spPr>
        </p:sp>
        <p:sp>
          <p:nvSpPr>
            <p:cNvPr id="19" name="TextBox 19"/>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20" name="Group 20"/>
          <p:cNvGrpSpPr/>
          <p:nvPr/>
        </p:nvGrpSpPr>
        <p:grpSpPr>
          <a:xfrm>
            <a:off x="6537970" y="4987657"/>
            <a:ext cx="1285801" cy="1496205"/>
            <a:chOff x="0" y="0"/>
            <a:chExt cx="698500" cy="812800"/>
          </a:xfrm>
        </p:grpSpPr>
        <p:sp>
          <p:nvSpPr>
            <p:cNvPr id="21" name="Freeform 21"/>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C7ECF"/>
            </a:solidFill>
          </p:spPr>
        </p:sp>
        <p:sp>
          <p:nvSpPr>
            <p:cNvPr id="22" name="TextBox 22"/>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sp>
        <p:nvSpPr>
          <p:cNvPr id="23" name="Freeform 23"/>
          <p:cNvSpPr/>
          <p:nvPr/>
        </p:nvSpPr>
        <p:spPr>
          <a:xfrm>
            <a:off x="-727206" y="6780867"/>
            <a:ext cx="1153329" cy="461331"/>
          </a:xfrm>
          <a:custGeom>
            <a:avLst/>
            <a:gdLst/>
            <a:ahLst/>
            <a:cxnLst/>
            <a:rect l="l" t="t" r="r" b="b"/>
            <a:pathLst>
              <a:path w="1729993" h="691997">
                <a:moveTo>
                  <a:pt x="0" y="0"/>
                </a:moveTo>
                <a:lnTo>
                  <a:pt x="1729993" y="0"/>
                </a:lnTo>
                <a:lnTo>
                  <a:pt x="1729993" y="691998"/>
                </a:lnTo>
                <a:lnTo>
                  <a:pt x="0" y="691998"/>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24" name="Freeform 24"/>
          <p:cNvSpPr/>
          <p:nvPr/>
        </p:nvSpPr>
        <p:spPr>
          <a:xfrm>
            <a:off x="375869" y="484024"/>
            <a:ext cx="3069801" cy="585540"/>
          </a:xfrm>
          <a:custGeom>
            <a:avLst/>
            <a:gdLst/>
            <a:ahLst/>
            <a:cxnLst/>
            <a:rect l="l" t="t" r="r" b="b"/>
            <a:pathLst>
              <a:path w="5074427" h="862653">
                <a:moveTo>
                  <a:pt x="0" y="0"/>
                </a:moveTo>
                <a:lnTo>
                  <a:pt x="5074427" y="0"/>
                </a:lnTo>
                <a:lnTo>
                  <a:pt x="5074427" y="862652"/>
                </a:lnTo>
                <a:lnTo>
                  <a:pt x="0" y="862652"/>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25" name="Freeform 25"/>
          <p:cNvSpPr/>
          <p:nvPr/>
        </p:nvSpPr>
        <p:spPr>
          <a:xfrm>
            <a:off x="2378598" y="303553"/>
            <a:ext cx="844571" cy="977795"/>
          </a:xfrm>
          <a:custGeom>
            <a:avLst/>
            <a:gdLst/>
            <a:ahLst/>
            <a:cxnLst/>
            <a:rect l="l" t="t" r="r" b="b"/>
            <a:pathLst>
              <a:path w="1266856" h="1466693">
                <a:moveTo>
                  <a:pt x="0" y="0"/>
                </a:moveTo>
                <a:lnTo>
                  <a:pt x="1266856" y="0"/>
                </a:lnTo>
                <a:lnTo>
                  <a:pt x="1266856" y="1466693"/>
                </a:lnTo>
                <a:lnTo>
                  <a:pt x="0" y="1466693"/>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27" name="Freeform 27"/>
          <p:cNvSpPr/>
          <p:nvPr/>
        </p:nvSpPr>
        <p:spPr>
          <a:xfrm>
            <a:off x="4133617" y="1863794"/>
            <a:ext cx="987780" cy="656130"/>
          </a:xfrm>
          <a:custGeom>
            <a:avLst/>
            <a:gdLst/>
            <a:ahLst/>
            <a:cxnLst/>
            <a:rect l="l" t="t" r="r" b="b"/>
            <a:pathLst>
              <a:path w="1481670" h="984195">
                <a:moveTo>
                  <a:pt x="0" y="0"/>
                </a:moveTo>
                <a:lnTo>
                  <a:pt x="1481670" y="0"/>
                </a:lnTo>
                <a:lnTo>
                  <a:pt x="1481670" y="984194"/>
                </a:lnTo>
                <a:lnTo>
                  <a:pt x="0" y="984194"/>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28" name="Freeform 28"/>
          <p:cNvSpPr/>
          <p:nvPr/>
        </p:nvSpPr>
        <p:spPr>
          <a:xfrm>
            <a:off x="3438022" y="3567183"/>
            <a:ext cx="1005513" cy="613363"/>
          </a:xfrm>
          <a:custGeom>
            <a:avLst/>
            <a:gdLst/>
            <a:ahLst/>
            <a:cxnLst/>
            <a:rect l="l" t="t" r="r" b="b"/>
            <a:pathLst>
              <a:path w="1508270" h="920045">
                <a:moveTo>
                  <a:pt x="0" y="0"/>
                </a:moveTo>
                <a:lnTo>
                  <a:pt x="1508270" y="0"/>
                </a:lnTo>
                <a:lnTo>
                  <a:pt x="1508270" y="920045"/>
                </a:lnTo>
                <a:lnTo>
                  <a:pt x="0" y="920045"/>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sp>
        <p:nvSpPr>
          <p:cNvPr id="29" name="Freeform 29"/>
          <p:cNvSpPr/>
          <p:nvPr/>
        </p:nvSpPr>
        <p:spPr>
          <a:xfrm>
            <a:off x="4048019" y="5311105"/>
            <a:ext cx="791031" cy="791031"/>
          </a:xfrm>
          <a:custGeom>
            <a:avLst/>
            <a:gdLst/>
            <a:ahLst/>
            <a:cxnLst/>
            <a:rect l="l" t="t" r="r" b="b"/>
            <a:pathLst>
              <a:path w="1186546" h="1186546">
                <a:moveTo>
                  <a:pt x="0" y="0"/>
                </a:moveTo>
                <a:lnTo>
                  <a:pt x="1186546" y="0"/>
                </a:lnTo>
                <a:lnTo>
                  <a:pt x="1186546" y="1186546"/>
                </a:lnTo>
                <a:lnTo>
                  <a:pt x="0" y="1186546"/>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30" name="Freeform 30"/>
          <p:cNvSpPr/>
          <p:nvPr/>
        </p:nvSpPr>
        <p:spPr>
          <a:xfrm>
            <a:off x="6717491" y="1739170"/>
            <a:ext cx="784248" cy="685861"/>
          </a:xfrm>
          <a:custGeom>
            <a:avLst/>
            <a:gdLst/>
            <a:ahLst/>
            <a:cxnLst/>
            <a:rect l="l" t="t" r="r" b="b"/>
            <a:pathLst>
              <a:path w="1176372" h="1028791">
                <a:moveTo>
                  <a:pt x="0" y="0"/>
                </a:moveTo>
                <a:lnTo>
                  <a:pt x="1176372" y="0"/>
                </a:lnTo>
                <a:lnTo>
                  <a:pt x="1176372" y="1028791"/>
                </a:lnTo>
                <a:lnTo>
                  <a:pt x="0" y="1028791"/>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sp>
      <p:sp>
        <p:nvSpPr>
          <p:cNvPr id="31" name="Freeform 31"/>
          <p:cNvSpPr/>
          <p:nvPr/>
        </p:nvSpPr>
        <p:spPr>
          <a:xfrm>
            <a:off x="7429650" y="3511255"/>
            <a:ext cx="801345" cy="725217"/>
          </a:xfrm>
          <a:custGeom>
            <a:avLst/>
            <a:gdLst/>
            <a:ahLst/>
            <a:cxnLst/>
            <a:rect l="l" t="t" r="r" b="b"/>
            <a:pathLst>
              <a:path w="1202018" h="1087826">
                <a:moveTo>
                  <a:pt x="0" y="0"/>
                </a:moveTo>
                <a:lnTo>
                  <a:pt x="1202018" y="0"/>
                </a:lnTo>
                <a:lnTo>
                  <a:pt x="1202018" y="1087827"/>
                </a:lnTo>
                <a:lnTo>
                  <a:pt x="0" y="1087827"/>
                </a:lnTo>
                <a:lnTo>
                  <a:pt x="0" y="0"/>
                </a:lnTo>
                <a:close/>
              </a:path>
            </a:pathLst>
          </a:custGeom>
          <a:blipFill>
            <a:blip r:embed="rId17">
              <a:extLst>
                <a:ext uri="{96DAC541-7B7A-43D3-8B79-37D633B846F1}">
                  <asvg:svgBlip xmlns:asvg="http://schemas.microsoft.com/office/drawing/2016/SVG/main" r:embed="rId18"/>
                </a:ext>
              </a:extLst>
            </a:blip>
            <a:stretch>
              <a:fillRect/>
            </a:stretch>
          </a:blipFill>
        </p:spPr>
      </p:sp>
      <p:sp>
        <p:nvSpPr>
          <p:cNvPr id="32" name="Freeform 32"/>
          <p:cNvSpPr/>
          <p:nvPr/>
        </p:nvSpPr>
        <p:spPr>
          <a:xfrm>
            <a:off x="6918620" y="5247872"/>
            <a:ext cx="602027" cy="946211"/>
          </a:xfrm>
          <a:custGeom>
            <a:avLst/>
            <a:gdLst/>
            <a:ahLst/>
            <a:cxnLst/>
            <a:rect l="l" t="t" r="r" b="b"/>
            <a:pathLst>
              <a:path w="903040" h="1419316">
                <a:moveTo>
                  <a:pt x="0" y="0"/>
                </a:moveTo>
                <a:lnTo>
                  <a:pt x="903039" y="0"/>
                </a:lnTo>
                <a:lnTo>
                  <a:pt x="903039" y="1419316"/>
                </a:lnTo>
                <a:lnTo>
                  <a:pt x="0" y="1419316"/>
                </a:lnTo>
                <a:lnTo>
                  <a:pt x="0" y="0"/>
                </a:lnTo>
                <a:close/>
              </a:path>
            </a:pathLst>
          </a:custGeom>
          <a:blipFill>
            <a:blip r:embed="rId19">
              <a:extLst>
                <a:ext uri="{96DAC541-7B7A-43D3-8B79-37D633B846F1}">
                  <asvg:svgBlip xmlns:asvg="http://schemas.microsoft.com/office/drawing/2016/SVG/main" r:embed="rId20"/>
                </a:ext>
              </a:extLst>
            </a:blip>
            <a:stretch>
              <a:fillRect/>
            </a:stretch>
          </a:blipFill>
        </p:spPr>
      </p:sp>
      <p:sp>
        <p:nvSpPr>
          <p:cNvPr id="33" name="TextBox 33"/>
          <p:cNvSpPr txBox="1"/>
          <p:nvPr/>
        </p:nvSpPr>
        <p:spPr>
          <a:xfrm>
            <a:off x="-308363" y="1512272"/>
            <a:ext cx="4330985" cy="265714"/>
          </a:xfrm>
          <a:prstGeom prst="rect">
            <a:avLst/>
          </a:prstGeom>
        </p:spPr>
        <p:txBody>
          <a:bodyPr lIns="0" tIns="0" rIns="0" bIns="0" rtlCol="0" anchor="t">
            <a:spAutoFit/>
          </a:bodyPr>
          <a:lstStyle/>
          <a:p>
            <a:pPr algn="r">
              <a:lnSpc>
                <a:spcPts val="2239"/>
              </a:lnSpc>
            </a:pPr>
            <a:r>
              <a:rPr lang="en-US" sz="1600">
                <a:solidFill>
                  <a:srgbClr val="000000"/>
                </a:solidFill>
                <a:latin typeface="Barlow Semi-Bold"/>
              </a:rPr>
              <a:t>I-PROMOTE Implicit Bias Training Directory</a:t>
            </a:r>
          </a:p>
        </p:txBody>
      </p:sp>
      <p:sp>
        <p:nvSpPr>
          <p:cNvPr id="34" name="TextBox 34"/>
          <p:cNvSpPr txBox="1"/>
          <p:nvPr/>
        </p:nvSpPr>
        <p:spPr>
          <a:xfrm>
            <a:off x="810362" y="3169469"/>
            <a:ext cx="2093537" cy="265714"/>
          </a:xfrm>
          <a:prstGeom prst="rect">
            <a:avLst/>
          </a:prstGeom>
        </p:spPr>
        <p:txBody>
          <a:bodyPr lIns="0" tIns="0" rIns="0" bIns="0" rtlCol="0" anchor="t">
            <a:spAutoFit/>
          </a:bodyPr>
          <a:lstStyle/>
          <a:p>
            <a:pPr algn="r">
              <a:lnSpc>
                <a:spcPts val="2239"/>
              </a:lnSpc>
            </a:pPr>
            <a:r>
              <a:rPr lang="en-US" sz="1600">
                <a:solidFill>
                  <a:srgbClr val="000000"/>
                </a:solidFill>
                <a:latin typeface="Barlow Semi-Bold"/>
              </a:rPr>
              <a:t>E-Learning Modules</a:t>
            </a:r>
          </a:p>
        </p:txBody>
      </p:sp>
      <p:sp>
        <p:nvSpPr>
          <p:cNvPr id="35" name="TextBox 35"/>
          <p:cNvSpPr txBox="1"/>
          <p:nvPr/>
        </p:nvSpPr>
        <p:spPr>
          <a:xfrm>
            <a:off x="70952" y="3569064"/>
            <a:ext cx="3364637" cy="1049198"/>
          </a:xfrm>
          <a:prstGeom prst="rect">
            <a:avLst/>
          </a:prstGeom>
        </p:spPr>
        <p:txBody>
          <a:bodyPr lIns="0" tIns="0" rIns="0" bIns="0" rtlCol="0" anchor="t">
            <a:spAutoFit/>
          </a:bodyPr>
          <a:lstStyle/>
          <a:p>
            <a:pPr marL="331067" lvl="1" indent="-165534" algn="just">
              <a:lnSpc>
                <a:spcPts val="2147"/>
              </a:lnSpc>
              <a:buFont typeface="Arial"/>
              <a:buChar char="•"/>
            </a:pPr>
            <a:r>
              <a:rPr lang="en-US" sz="1533">
                <a:solidFill>
                  <a:srgbClr val="63696F"/>
                </a:solidFill>
                <a:latin typeface="Barlow"/>
              </a:rPr>
              <a:t>National Health Start Association</a:t>
            </a:r>
          </a:p>
          <a:p>
            <a:pPr marL="331067" lvl="1" indent="-165534" algn="just">
              <a:lnSpc>
                <a:spcPts val="2147"/>
              </a:lnSpc>
              <a:buFont typeface="Arial"/>
              <a:buChar char="•"/>
            </a:pPr>
            <a:r>
              <a:rPr lang="en-US" sz="1533">
                <a:solidFill>
                  <a:srgbClr val="63696F"/>
                </a:solidFill>
                <a:latin typeface="Barlow"/>
              </a:rPr>
              <a:t>March of Dimes</a:t>
            </a:r>
          </a:p>
          <a:p>
            <a:pPr marL="331067" lvl="1" indent="-165534" algn="just">
              <a:lnSpc>
                <a:spcPts val="2147"/>
              </a:lnSpc>
              <a:buFont typeface="Arial"/>
              <a:buChar char="•"/>
            </a:pPr>
            <a:r>
              <a:rPr lang="en-US" sz="1533">
                <a:solidFill>
                  <a:srgbClr val="63696F"/>
                </a:solidFill>
                <a:latin typeface="Barlow"/>
              </a:rPr>
              <a:t>Think Cultural Health</a:t>
            </a:r>
          </a:p>
          <a:p>
            <a:pPr marL="331067" lvl="1" indent="-165534" algn="just">
              <a:lnSpc>
                <a:spcPts val="2147"/>
              </a:lnSpc>
              <a:spcBef>
                <a:spcPct val="0"/>
              </a:spcBef>
              <a:buFont typeface="Arial"/>
              <a:buChar char="•"/>
            </a:pPr>
            <a:r>
              <a:rPr lang="en-US" sz="1533">
                <a:solidFill>
                  <a:srgbClr val="63696F"/>
                </a:solidFill>
                <a:latin typeface="Barlow"/>
              </a:rPr>
              <a:t>Diversity Science</a:t>
            </a:r>
          </a:p>
        </p:txBody>
      </p:sp>
      <p:sp>
        <p:nvSpPr>
          <p:cNvPr id="36" name="TextBox 36"/>
          <p:cNvSpPr txBox="1"/>
          <p:nvPr/>
        </p:nvSpPr>
        <p:spPr>
          <a:xfrm>
            <a:off x="1614473" y="5273005"/>
            <a:ext cx="2093537" cy="265714"/>
          </a:xfrm>
          <a:prstGeom prst="rect">
            <a:avLst/>
          </a:prstGeom>
        </p:spPr>
        <p:txBody>
          <a:bodyPr lIns="0" tIns="0" rIns="0" bIns="0" rtlCol="0" anchor="t">
            <a:spAutoFit/>
          </a:bodyPr>
          <a:lstStyle/>
          <a:p>
            <a:pPr algn="ctr">
              <a:lnSpc>
                <a:spcPts val="2239"/>
              </a:lnSpc>
            </a:pPr>
            <a:r>
              <a:rPr lang="en-US" sz="1600">
                <a:solidFill>
                  <a:srgbClr val="000000"/>
                </a:solidFill>
                <a:latin typeface="Barlow Semi-Bold"/>
              </a:rPr>
              <a:t>Live Trainings</a:t>
            </a:r>
          </a:p>
        </p:txBody>
      </p:sp>
      <p:sp>
        <p:nvSpPr>
          <p:cNvPr id="37" name="TextBox 37"/>
          <p:cNvSpPr txBox="1"/>
          <p:nvPr/>
        </p:nvSpPr>
        <p:spPr>
          <a:xfrm>
            <a:off x="1562155" y="5600666"/>
            <a:ext cx="2403253" cy="510589"/>
          </a:xfrm>
          <a:prstGeom prst="rect">
            <a:avLst/>
          </a:prstGeom>
        </p:spPr>
        <p:txBody>
          <a:bodyPr lIns="0" tIns="0" rIns="0" bIns="0" rtlCol="0" anchor="t">
            <a:spAutoFit/>
          </a:bodyPr>
          <a:lstStyle/>
          <a:p>
            <a:pPr marL="331067" lvl="1" indent="-165534" algn="just">
              <a:lnSpc>
                <a:spcPts val="2147"/>
              </a:lnSpc>
              <a:buFont typeface="Arial"/>
              <a:buChar char="•"/>
            </a:pPr>
            <a:r>
              <a:rPr lang="en-US" sz="1533">
                <a:solidFill>
                  <a:srgbClr val="63696F"/>
                </a:solidFill>
                <a:latin typeface="Barlow"/>
              </a:rPr>
              <a:t>PQI </a:t>
            </a:r>
            <a:r>
              <a:rPr lang="en-US" sz="1533" err="1">
                <a:solidFill>
                  <a:srgbClr val="63696F"/>
                </a:solidFill>
                <a:latin typeface="Barlow"/>
              </a:rPr>
              <a:t>SpeakUp</a:t>
            </a:r>
            <a:r>
              <a:rPr lang="en-US" sz="1533">
                <a:solidFill>
                  <a:srgbClr val="63696F"/>
                </a:solidFill>
                <a:latin typeface="Barlow"/>
              </a:rPr>
              <a:t> Training</a:t>
            </a:r>
          </a:p>
          <a:p>
            <a:pPr marL="331067" lvl="1" indent="-165534" algn="just">
              <a:lnSpc>
                <a:spcPts val="2147"/>
              </a:lnSpc>
              <a:buFont typeface="Arial"/>
              <a:buChar char="•"/>
            </a:pPr>
            <a:r>
              <a:rPr lang="en-US" sz="1533">
                <a:solidFill>
                  <a:srgbClr val="63696F"/>
                </a:solidFill>
                <a:latin typeface="Barlow"/>
              </a:rPr>
              <a:t>March of Dimes</a:t>
            </a:r>
          </a:p>
        </p:txBody>
      </p:sp>
      <p:sp>
        <p:nvSpPr>
          <p:cNvPr id="38" name="TextBox 38"/>
          <p:cNvSpPr txBox="1"/>
          <p:nvPr/>
        </p:nvSpPr>
        <p:spPr>
          <a:xfrm>
            <a:off x="8003749" y="1462309"/>
            <a:ext cx="3698763" cy="265714"/>
          </a:xfrm>
          <a:prstGeom prst="rect">
            <a:avLst/>
          </a:prstGeom>
        </p:spPr>
        <p:txBody>
          <a:bodyPr lIns="0" tIns="0" rIns="0" bIns="0" rtlCol="0" anchor="t">
            <a:spAutoFit/>
          </a:bodyPr>
          <a:lstStyle/>
          <a:p>
            <a:pPr>
              <a:lnSpc>
                <a:spcPts val="2239"/>
              </a:lnSpc>
            </a:pPr>
            <a:r>
              <a:rPr lang="en-US" sz="1600">
                <a:solidFill>
                  <a:srgbClr val="000000"/>
                </a:solidFill>
                <a:latin typeface="Barlow Semi-Bold"/>
              </a:rPr>
              <a:t>Listening to Parents and Family Voices</a:t>
            </a:r>
          </a:p>
        </p:txBody>
      </p:sp>
      <p:sp>
        <p:nvSpPr>
          <p:cNvPr id="39" name="TextBox 39"/>
          <p:cNvSpPr txBox="1"/>
          <p:nvPr/>
        </p:nvSpPr>
        <p:spPr>
          <a:xfrm>
            <a:off x="7830322" y="1789970"/>
            <a:ext cx="4106918" cy="779893"/>
          </a:xfrm>
          <a:prstGeom prst="rect">
            <a:avLst/>
          </a:prstGeom>
        </p:spPr>
        <p:txBody>
          <a:bodyPr lIns="0" tIns="0" rIns="0" bIns="0" rtlCol="0" anchor="t">
            <a:spAutoFit/>
          </a:bodyPr>
          <a:lstStyle/>
          <a:p>
            <a:pPr marL="330835" lvl="1" indent="-165100">
              <a:lnSpc>
                <a:spcPts val="2147"/>
              </a:lnSpc>
              <a:buFont typeface="Arial"/>
              <a:buChar char="•"/>
            </a:pPr>
            <a:r>
              <a:rPr lang="en-US" sz="1500">
                <a:solidFill>
                  <a:srgbClr val="63696F"/>
                </a:solidFill>
                <a:latin typeface="Barlow"/>
              </a:rPr>
              <a:t>The Illinois Maternal Health Digital Storytelling Project </a:t>
            </a:r>
            <a:endParaRPr lang="en-US"/>
          </a:p>
          <a:p>
            <a:pPr marL="330835" lvl="1" indent="-165100">
              <a:lnSpc>
                <a:spcPts val="2147"/>
              </a:lnSpc>
              <a:buFont typeface="Arial"/>
              <a:buChar char="•"/>
            </a:pPr>
            <a:r>
              <a:rPr lang="en-US" sz="1500">
                <a:solidFill>
                  <a:srgbClr val="63696F"/>
                </a:solidFill>
                <a:latin typeface="Barlow"/>
              </a:rPr>
              <a:t>CDC HEAR HER Campaign </a:t>
            </a:r>
          </a:p>
        </p:txBody>
      </p:sp>
      <p:sp>
        <p:nvSpPr>
          <p:cNvPr id="40" name="TextBox 40"/>
          <p:cNvSpPr txBox="1"/>
          <p:nvPr/>
        </p:nvSpPr>
        <p:spPr>
          <a:xfrm>
            <a:off x="8640926" y="3288849"/>
            <a:ext cx="3061585" cy="265714"/>
          </a:xfrm>
          <a:prstGeom prst="rect">
            <a:avLst/>
          </a:prstGeom>
        </p:spPr>
        <p:txBody>
          <a:bodyPr lIns="0" tIns="0" rIns="0" bIns="0" rtlCol="0" anchor="t">
            <a:spAutoFit/>
          </a:bodyPr>
          <a:lstStyle/>
          <a:p>
            <a:pPr>
              <a:lnSpc>
                <a:spcPts val="2239"/>
              </a:lnSpc>
            </a:pPr>
            <a:r>
              <a:rPr lang="en-US" sz="1600">
                <a:solidFill>
                  <a:srgbClr val="000000"/>
                </a:solidFill>
                <a:latin typeface="Barlow Semi-Bold"/>
              </a:rPr>
              <a:t>Tools to Facilitate Discussions</a:t>
            </a:r>
          </a:p>
        </p:txBody>
      </p:sp>
      <p:sp>
        <p:nvSpPr>
          <p:cNvPr id="41" name="TextBox 41"/>
          <p:cNvSpPr txBox="1"/>
          <p:nvPr/>
        </p:nvSpPr>
        <p:spPr>
          <a:xfrm>
            <a:off x="8473382" y="3529382"/>
            <a:ext cx="3449481" cy="1048364"/>
          </a:xfrm>
          <a:prstGeom prst="rect">
            <a:avLst/>
          </a:prstGeom>
        </p:spPr>
        <p:txBody>
          <a:bodyPr wrap="square" lIns="0" tIns="0" rIns="0" bIns="0" rtlCol="0" anchor="t">
            <a:spAutoFit/>
          </a:bodyPr>
          <a:lstStyle/>
          <a:p>
            <a:pPr marL="330835" lvl="1" indent="-165100">
              <a:lnSpc>
                <a:spcPts val="2147"/>
              </a:lnSpc>
              <a:buFont typeface="Arial"/>
              <a:buChar char="•"/>
            </a:pPr>
            <a:r>
              <a:rPr lang="en-US" sz="1500">
                <a:solidFill>
                  <a:srgbClr val="63696F"/>
                </a:solidFill>
                <a:latin typeface="Barlow"/>
              </a:rPr>
              <a:t>Toxic – A Black Woman’s Story</a:t>
            </a:r>
            <a:endParaRPr lang="en-US" sz="1500">
              <a:solidFill>
                <a:srgbClr val="000000"/>
              </a:solidFill>
              <a:latin typeface="Calibri"/>
              <a:cs typeface="Calibri"/>
            </a:endParaRPr>
          </a:p>
          <a:p>
            <a:pPr marL="330835" lvl="1" indent="-165100">
              <a:lnSpc>
                <a:spcPts val="2147"/>
              </a:lnSpc>
              <a:buFont typeface="Arial"/>
              <a:buChar char="•"/>
            </a:pPr>
            <a:r>
              <a:rPr lang="en-US" sz="1500">
                <a:solidFill>
                  <a:srgbClr val="63696F"/>
                </a:solidFill>
                <a:latin typeface="Barlow"/>
              </a:rPr>
              <a:t>Laboring with Hope Film</a:t>
            </a:r>
            <a:endParaRPr lang="en-US" sz="1500">
              <a:cs typeface="Calibri"/>
            </a:endParaRPr>
          </a:p>
          <a:p>
            <a:pPr marL="330835" lvl="1" indent="-165100">
              <a:lnSpc>
                <a:spcPts val="2147"/>
              </a:lnSpc>
              <a:buFont typeface="Arial"/>
              <a:buChar char="•"/>
            </a:pPr>
            <a:r>
              <a:rPr lang="en-US" sz="1500">
                <a:solidFill>
                  <a:srgbClr val="63696F"/>
                </a:solidFill>
                <a:latin typeface="Barlow"/>
              </a:rPr>
              <a:t>Aftershock Film</a:t>
            </a:r>
          </a:p>
          <a:p>
            <a:pPr marL="330835" lvl="1" indent="-165100">
              <a:lnSpc>
                <a:spcPts val="2147"/>
              </a:lnSpc>
              <a:buFont typeface="Arial"/>
              <a:buChar char="•"/>
            </a:pPr>
            <a:r>
              <a:rPr lang="en-US" sz="1500">
                <a:solidFill>
                  <a:srgbClr val="63696F"/>
                </a:solidFill>
                <a:latin typeface="Barlow"/>
              </a:rPr>
              <a:t>PQI 21-day Anti-Racism Challenge</a:t>
            </a:r>
          </a:p>
        </p:txBody>
      </p:sp>
      <p:sp>
        <p:nvSpPr>
          <p:cNvPr id="42" name="TextBox 42"/>
          <p:cNvSpPr txBox="1"/>
          <p:nvPr/>
        </p:nvSpPr>
        <p:spPr>
          <a:xfrm>
            <a:off x="8003749" y="5115389"/>
            <a:ext cx="3933491" cy="265714"/>
          </a:xfrm>
          <a:prstGeom prst="rect">
            <a:avLst/>
          </a:prstGeom>
        </p:spPr>
        <p:txBody>
          <a:bodyPr lIns="0" tIns="0" rIns="0" bIns="0" rtlCol="0" anchor="t">
            <a:spAutoFit/>
          </a:bodyPr>
          <a:lstStyle/>
          <a:p>
            <a:pPr>
              <a:lnSpc>
                <a:spcPts val="2239"/>
              </a:lnSpc>
            </a:pPr>
            <a:r>
              <a:rPr lang="en-US" sz="1600">
                <a:solidFill>
                  <a:srgbClr val="000000"/>
                </a:solidFill>
                <a:latin typeface="Barlow Semi-Bold"/>
              </a:rPr>
              <a:t>Resources for Respectful Care Practices</a:t>
            </a:r>
          </a:p>
        </p:txBody>
      </p:sp>
      <p:sp>
        <p:nvSpPr>
          <p:cNvPr id="43" name="TextBox 43"/>
          <p:cNvSpPr txBox="1"/>
          <p:nvPr/>
        </p:nvSpPr>
        <p:spPr>
          <a:xfrm>
            <a:off x="7824163" y="5447842"/>
            <a:ext cx="4405185" cy="1048364"/>
          </a:xfrm>
          <a:prstGeom prst="rect">
            <a:avLst/>
          </a:prstGeom>
        </p:spPr>
        <p:txBody>
          <a:bodyPr wrap="square" lIns="0" tIns="0" rIns="0" bIns="0" rtlCol="0" anchor="t">
            <a:spAutoFit/>
          </a:bodyPr>
          <a:lstStyle/>
          <a:p>
            <a:pPr marL="330835" lvl="1" indent="-165100">
              <a:lnSpc>
                <a:spcPts val="2147"/>
              </a:lnSpc>
              <a:buFont typeface="Arial"/>
              <a:buChar char="•"/>
            </a:pPr>
            <a:r>
              <a:rPr lang="en-US" sz="1500">
                <a:solidFill>
                  <a:srgbClr val="63696F"/>
                </a:solidFill>
                <a:latin typeface="Barlow"/>
              </a:rPr>
              <a:t>ILPQC Actionable Respectful Care Strategies </a:t>
            </a:r>
            <a:endParaRPr lang="en-US"/>
          </a:p>
          <a:p>
            <a:pPr marL="330835" lvl="1" indent="-165100">
              <a:lnSpc>
                <a:spcPts val="2147"/>
              </a:lnSpc>
              <a:buFont typeface="Arial"/>
              <a:buChar char="•"/>
            </a:pPr>
            <a:r>
              <a:rPr lang="en-US" sz="1500">
                <a:solidFill>
                  <a:srgbClr val="63696F"/>
                </a:solidFill>
                <a:latin typeface="Barlow"/>
              </a:rPr>
              <a:t>AWHONN Respectful Maternity Care Implementation Toolkit-</a:t>
            </a:r>
          </a:p>
          <a:p>
            <a:pPr marL="330835" lvl="1" indent="-165100">
              <a:lnSpc>
                <a:spcPts val="2147"/>
              </a:lnSpc>
              <a:buFont typeface="Arial"/>
              <a:buChar char="•"/>
            </a:pPr>
            <a:r>
              <a:rPr lang="en-US" sz="1500">
                <a:solidFill>
                  <a:srgbClr val="63696F"/>
                </a:solidFill>
                <a:latin typeface="Barlow"/>
              </a:rPr>
              <a:t>The SHARE Approach  to shared decision-making</a:t>
            </a:r>
          </a:p>
        </p:txBody>
      </p:sp>
      <p:sp>
        <p:nvSpPr>
          <p:cNvPr id="44" name="TextBox 44"/>
          <p:cNvSpPr txBox="1"/>
          <p:nvPr/>
        </p:nvSpPr>
        <p:spPr>
          <a:xfrm>
            <a:off x="570590" y="646588"/>
            <a:ext cx="1727680"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1</a:t>
            </a:r>
          </a:p>
        </p:txBody>
      </p:sp>
      <p:sp>
        <p:nvSpPr>
          <p:cNvPr id="45" name="TextBox 45"/>
          <p:cNvSpPr txBox="1"/>
          <p:nvPr/>
        </p:nvSpPr>
        <p:spPr>
          <a:xfrm>
            <a:off x="3627558" y="481574"/>
            <a:ext cx="3545557" cy="671402"/>
          </a:xfrm>
          <a:prstGeom prst="rect">
            <a:avLst/>
          </a:prstGeom>
        </p:spPr>
        <p:txBody>
          <a:bodyPr lIns="0" tIns="0" rIns="0" bIns="0" rtlCol="0" anchor="t">
            <a:spAutoFit/>
          </a:bodyPr>
          <a:lstStyle/>
          <a:p>
            <a:pPr algn="ctr">
              <a:lnSpc>
                <a:spcPts val="2640"/>
              </a:lnSpc>
            </a:pPr>
            <a:r>
              <a:rPr lang="en-US" sz="2400">
                <a:solidFill>
                  <a:srgbClr val="545454"/>
                </a:solidFill>
                <a:latin typeface="DM Sans"/>
              </a:rPr>
              <a:t>Healthcare Professional Commitment</a:t>
            </a:r>
          </a:p>
        </p:txBody>
      </p:sp>
      <p:sp>
        <p:nvSpPr>
          <p:cNvPr id="46" name="TextBox 46"/>
          <p:cNvSpPr txBox="1"/>
          <p:nvPr/>
        </p:nvSpPr>
        <p:spPr>
          <a:xfrm>
            <a:off x="4721453" y="3190368"/>
            <a:ext cx="2362267" cy="313227"/>
          </a:xfrm>
          <a:prstGeom prst="rect">
            <a:avLst/>
          </a:prstGeom>
        </p:spPr>
        <p:txBody>
          <a:bodyPr lIns="0" tIns="0" rIns="0" bIns="0" rtlCol="0" anchor="t">
            <a:spAutoFit/>
          </a:bodyPr>
          <a:lstStyle/>
          <a:p>
            <a:pPr algn="ctr">
              <a:lnSpc>
                <a:spcPts val="2613"/>
              </a:lnSpc>
              <a:spcBef>
                <a:spcPct val="0"/>
              </a:spcBef>
            </a:pPr>
            <a:r>
              <a:rPr lang="en-US" sz="1866" u="sng">
                <a:solidFill>
                  <a:srgbClr val="FDFDFD"/>
                </a:solidFill>
                <a:latin typeface="Canva Sans Bold"/>
              </a:rPr>
              <a:t>Secondary Driver 1:</a:t>
            </a:r>
            <a:r>
              <a:rPr lang="en-US" sz="1866">
                <a:solidFill>
                  <a:srgbClr val="FDFDFD"/>
                </a:solidFill>
                <a:latin typeface="Canva Sans Bold"/>
              </a:rPr>
              <a:t> </a:t>
            </a:r>
          </a:p>
        </p:txBody>
      </p:sp>
      <p:sp>
        <p:nvSpPr>
          <p:cNvPr id="47" name="TextBox 47"/>
          <p:cNvSpPr txBox="1"/>
          <p:nvPr/>
        </p:nvSpPr>
        <p:spPr>
          <a:xfrm>
            <a:off x="186798" y="1824388"/>
            <a:ext cx="3622035" cy="779059"/>
          </a:xfrm>
          <a:prstGeom prst="rect">
            <a:avLst/>
          </a:prstGeom>
        </p:spPr>
        <p:txBody>
          <a:bodyPr lIns="0" tIns="0" rIns="0" bIns="0" rtlCol="0" anchor="t">
            <a:spAutoFit/>
          </a:bodyPr>
          <a:lstStyle/>
          <a:p>
            <a:pPr algn="ctr">
              <a:lnSpc>
                <a:spcPts val="2147"/>
              </a:lnSpc>
              <a:spcBef>
                <a:spcPct val="0"/>
              </a:spcBef>
            </a:pPr>
            <a:r>
              <a:rPr lang="en-US" sz="1500">
                <a:solidFill>
                  <a:srgbClr val="63696F"/>
                </a:solidFill>
                <a:latin typeface="Barlow"/>
              </a:rPr>
              <a:t>Inventory of implicit bias trainings available including the sponsoring organization, title, estimated completion time, and cost</a:t>
            </a:r>
          </a:p>
        </p:txBody>
      </p:sp>
      <p:sp>
        <p:nvSpPr>
          <p:cNvPr id="49" name="TextBox 49"/>
          <p:cNvSpPr txBox="1"/>
          <p:nvPr/>
        </p:nvSpPr>
        <p:spPr>
          <a:xfrm>
            <a:off x="4839050" y="3597777"/>
            <a:ext cx="2079570" cy="1162498"/>
          </a:xfrm>
          <a:prstGeom prst="rect">
            <a:avLst/>
          </a:prstGeom>
        </p:spPr>
        <p:txBody>
          <a:bodyPr lIns="0" tIns="0" rIns="0" bIns="0" rtlCol="0" anchor="t">
            <a:spAutoFit/>
          </a:bodyPr>
          <a:lstStyle/>
          <a:p>
            <a:pPr algn="ctr">
              <a:lnSpc>
                <a:spcPts val="2333"/>
              </a:lnSpc>
              <a:spcBef>
                <a:spcPct val="0"/>
              </a:spcBef>
            </a:pPr>
            <a:r>
              <a:rPr lang="en-US" sz="1666">
                <a:solidFill>
                  <a:srgbClr val="FDFDFD"/>
                </a:solidFill>
                <a:latin typeface="Canva Sans"/>
              </a:rPr>
              <a:t>Equitable and Respectful Care Education and Implementation </a:t>
            </a:r>
          </a:p>
        </p:txBody>
      </p:sp>
      <p:sp>
        <p:nvSpPr>
          <p:cNvPr id="51" name="Freeform 4">
            <a:extLst>
              <a:ext uri="{FF2B5EF4-FFF2-40B4-BE49-F238E27FC236}">
                <a16:creationId xmlns:a16="http://schemas.microsoft.com/office/drawing/2014/main" id="{DADB789B-D1D8-A439-C1FC-0121F131E706}"/>
              </a:ext>
            </a:extLst>
          </p:cNvPr>
          <p:cNvSpPr/>
          <p:nvPr/>
        </p:nvSpPr>
        <p:spPr>
          <a:xfrm>
            <a:off x="8564610" y="43476"/>
            <a:ext cx="1401505" cy="1264101"/>
          </a:xfrm>
          <a:custGeom>
            <a:avLst/>
            <a:gdLst/>
            <a:ahLst/>
            <a:cxnLst/>
            <a:rect l="l" t="t" r="r" b="b"/>
            <a:pathLst>
              <a:path w="1632533" h="1426426">
                <a:moveTo>
                  <a:pt x="0" y="0"/>
                </a:moveTo>
                <a:lnTo>
                  <a:pt x="1632533" y="0"/>
                </a:lnTo>
                <a:lnTo>
                  <a:pt x="1632533" y="1426426"/>
                </a:lnTo>
                <a:lnTo>
                  <a:pt x="0" y="1426426"/>
                </a:lnTo>
                <a:lnTo>
                  <a:pt x="0" y="0"/>
                </a:lnTo>
                <a:close/>
              </a:path>
            </a:pathLst>
          </a:custGeom>
          <a:blipFill>
            <a:blip r:embed="rId21">
              <a:extLst>
                <a:ext uri="{96DAC541-7B7A-43D3-8B79-37D633B846F1}">
                  <asvg:svgBlip xmlns:asvg="http://schemas.microsoft.com/office/drawing/2016/SVG/main" r:embed="rId22"/>
                </a:ext>
              </a:extLst>
            </a:blip>
            <a:stretch>
              <a:fillRect/>
            </a:stretch>
          </a:blipFill>
        </p:spPr>
      </p:sp>
      <p:sp>
        <p:nvSpPr>
          <p:cNvPr id="53" name="TextBox 19">
            <a:extLst>
              <a:ext uri="{FF2B5EF4-FFF2-40B4-BE49-F238E27FC236}">
                <a16:creationId xmlns:a16="http://schemas.microsoft.com/office/drawing/2014/main" id="{7AA1F7FA-AA52-FED3-1784-BE66C8A7FBFC}"/>
              </a:ext>
            </a:extLst>
          </p:cNvPr>
          <p:cNvSpPr txBox="1"/>
          <p:nvPr/>
        </p:nvSpPr>
        <p:spPr>
          <a:xfrm>
            <a:off x="9761891" y="888931"/>
            <a:ext cx="2532194" cy="359073"/>
          </a:xfrm>
          <a:prstGeom prst="rect">
            <a:avLst/>
          </a:prstGeom>
        </p:spPr>
        <p:txBody>
          <a:bodyPr wrap="square" lIns="0" tIns="0" rIns="0" bIns="0" rtlCol="0" anchor="t">
            <a:spAutoFit/>
          </a:bodyPr>
          <a:lstStyle/>
          <a:p>
            <a:pPr algn="ctr">
              <a:lnSpc>
                <a:spcPts val="2755"/>
              </a:lnSpc>
            </a:pPr>
            <a:r>
              <a:rPr lang="en-US" sz="2650" b="1" spc="85">
                <a:solidFill>
                  <a:srgbClr val="1C498B"/>
                </a:solidFill>
                <a:latin typeface="Barlow Bold"/>
              </a:rPr>
              <a:t>ESSI Toolkit</a:t>
            </a:r>
          </a:p>
        </p:txBody>
      </p:sp>
      <p:sp>
        <p:nvSpPr>
          <p:cNvPr id="55" name="Freeform 21">
            <a:extLst>
              <a:ext uri="{FF2B5EF4-FFF2-40B4-BE49-F238E27FC236}">
                <a16:creationId xmlns:a16="http://schemas.microsoft.com/office/drawing/2014/main" id="{20BABE46-A93F-751A-4C5F-3AC294D73230}"/>
              </a:ext>
            </a:extLst>
          </p:cNvPr>
          <p:cNvSpPr/>
          <p:nvPr/>
        </p:nvSpPr>
        <p:spPr>
          <a:xfrm>
            <a:off x="10381762" y="42230"/>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23"/>
            <a:stretch>
              <a:fillRect/>
            </a:stretch>
          </a:blipFill>
        </p:spPr>
      </p:sp>
    </p:spTree>
    <p:extLst>
      <p:ext uri="{BB962C8B-B14F-4D97-AF65-F5344CB8AC3E}">
        <p14:creationId xmlns:p14="http://schemas.microsoft.com/office/powerpoint/2010/main" val="2093351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7" grpId="0"/>
      <p:bldP spid="39" grpId="0"/>
      <p:bldP spid="41" grpId="0"/>
      <p:bldP spid="43" grpId="0"/>
      <p:bldP spid="47"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3"/>
          <p:cNvSpPr/>
          <p:nvPr/>
        </p:nvSpPr>
        <p:spPr>
          <a:xfrm>
            <a:off x="6096000" y="2036092"/>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2">
              <a:alphaModFix amt="30000"/>
              <a:extLst>
                <a:ext uri="{96DAC541-7B7A-43D3-8B79-37D633B846F1}">
                  <asvg:svgBlip xmlns:asvg="http://schemas.microsoft.com/office/drawing/2016/SVG/main" r:embed="rId3"/>
                </a:ext>
              </a:extLst>
            </a:blip>
            <a:stretch>
              <a:fillRect/>
            </a:stretch>
          </a:blipFill>
        </p:spPr>
      </p:sp>
      <p:sp>
        <p:nvSpPr>
          <p:cNvPr id="4" name="Freeform 4"/>
          <p:cNvSpPr/>
          <p:nvPr/>
        </p:nvSpPr>
        <p:spPr>
          <a:xfrm>
            <a:off x="3471609" y="994591"/>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2">
              <a:alphaModFix amt="30000"/>
              <a:extLst>
                <a:ext uri="{96DAC541-7B7A-43D3-8B79-37D633B846F1}">
                  <asvg:svgBlip xmlns:asvg="http://schemas.microsoft.com/office/drawing/2016/SVG/main" r:embed="rId3"/>
                </a:ext>
              </a:extLst>
            </a:blip>
            <a:stretch>
              <a:fillRect/>
            </a:stretch>
          </a:blipFill>
        </p:spPr>
      </p:sp>
      <p:sp>
        <p:nvSpPr>
          <p:cNvPr id="5" name="Freeform 5"/>
          <p:cNvSpPr/>
          <p:nvPr/>
        </p:nvSpPr>
        <p:spPr>
          <a:xfrm>
            <a:off x="9079451" y="994591"/>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2">
              <a:alphaModFix amt="30000"/>
              <a:extLst>
                <a:ext uri="{96DAC541-7B7A-43D3-8B79-37D633B846F1}">
                  <asvg:svgBlip xmlns:asvg="http://schemas.microsoft.com/office/drawing/2016/SVG/main" r:embed="rId3"/>
                </a:ext>
              </a:extLst>
            </a:blip>
            <a:stretch>
              <a:fillRect/>
            </a:stretch>
          </a:blipFill>
        </p:spPr>
      </p:sp>
      <p:grpSp>
        <p:nvGrpSpPr>
          <p:cNvPr id="6" name="Group 6"/>
          <p:cNvGrpSpPr/>
          <p:nvPr/>
        </p:nvGrpSpPr>
        <p:grpSpPr>
          <a:xfrm>
            <a:off x="540761" y="4569353"/>
            <a:ext cx="2320458" cy="558429"/>
            <a:chOff x="0" y="0"/>
            <a:chExt cx="1688728" cy="406400"/>
          </a:xfrm>
        </p:grpSpPr>
        <p:sp>
          <p:nvSpPr>
            <p:cNvPr id="7" name="Freeform 7"/>
            <p:cNvSpPr/>
            <p:nvPr/>
          </p:nvSpPr>
          <p:spPr>
            <a:xfrm>
              <a:off x="0" y="0"/>
              <a:ext cx="1688728" cy="406400"/>
            </a:xfrm>
            <a:custGeom>
              <a:avLst/>
              <a:gdLst/>
              <a:ahLst/>
              <a:cxnLst/>
              <a:rect l="l" t="t" r="r" b="b"/>
              <a:pathLst>
                <a:path w="1688728" h="406400">
                  <a:moveTo>
                    <a:pt x="1485528" y="0"/>
                  </a:moveTo>
                  <a:cubicBezTo>
                    <a:pt x="1597753" y="0"/>
                    <a:pt x="1688728" y="90976"/>
                    <a:pt x="1688728" y="203200"/>
                  </a:cubicBezTo>
                  <a:cubicBezTo>
                    <a:pt x="1688728" y="315424"/>
                    <a:pt x="1597753" y="406400"/>
                    <a:pt x="1485528" y="406400"/>
                  </a:cubicBezTo>
                  <a:lnTo>
                    <a:pt x="203200" y="406400"/>
                  </a:lnTo>
                  <a:cubicBezTo>
                    <a:pt x="90976" y="406400"/>
                    <a:pt x="0" y="315424"/>
                    <a:pt x="0" y="203200"/>
                  </a:cubicBezTo>
                  <a:cubicBezTo>
                    <a:pt x="0" y="90976"/>
                    <a:pt x="90976" y="0"/>
                    <a:pt x="203200" y="0"/>
                  </a:cubicBezTo>
                  <a:close/>
                </a:path>
              </a:pathLst>
            </a:custGeom>
            <a:solidFill>
              <a:srgbClr val="F58366"/>
            </a:solidFill>
          </p:spPr>
        </p:sp>
        <p:sp>
          <p:nvSpPr>
            <p:cNvPr id="8" name="TextBox 8"/>
            <p:cNvSpPr txBox="1"/>
            <p:nvPr/>
          </p:nvSpPr>
          <p:spPr>
            <a:xfrm>
              <a:off x="0" y="-57150"/>
              <a:ext cx="1688728" cy="463550"/>
            </a:xfrm>
            <a:prstGeom prst="rect">
              <a:avLst/>
            </a:prstGeom>
          </p:spPr>
          <p:txBody>
            <a:bodyPr lIns="33867" tIns="33867" rIns="33867" bIns="33867" rtlCol="0" anchor="ctr"/>
            <a:lstStyle/>
            <a:p>
              <a:pPr algn="ctr">
                <a:lnSpc>
                  <a:spcPts val="2239"/>
                </a:lnSpc>
              </a:pPr>
              <a:endParaRPr sz="800"/>
            </a:p>
          </p:txBody>
        </p:sp>
      </p:grpSp>
      <p:grpSp>
        <p:nvGrpSpPr>
          <p:cNvPr id="9" name="Group 9"/>
          <p:cNvGrpSpPr/>
          <p:nvPr/>
        </p:nvGrpSpPr>
        <p:grpSpPr>
          <a:xfrm>
            <a:off x="915611" y="2518500"/>
            <a:ext cx="1633915" cy="1633915"/>
            <a:chOff x="0" y="0"/>
            <a:chExt cx="812800" cy="812800"/>
          </a:xfrm>
        </p:grpSpPr>
        <p:sp>
          <p:nvSpPr>
            <p:cNvPr id="10" name="Freeform 1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58366"/>
            </a:solidFill>
          </p:spPr>
        </p:sp>
        <p:sp>
          <p:nvSpPr>
            <p:cNvPr id="11" name="TextBox 11"/>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grpSp>
        <p:nvGrpSpPr>
          <p:cNvPr id="12" name="Group 12"/>
          <p:cNvGrpSpPr/>
          <p:nvPr/>
        </p:nvGrpSpPr>
        <p:grpSpPr>
          <a:xfrm>
            <a:off x="3492857" y="3849008"/>
            <a:ext cx="2195435" cy="523384"/>
            <a:chOff x="0" y="0"/>
            <a:chExt cx="1704723" cy="406400"/>
          </a:xfrm>
        </p:grpSpPr>
        <p:sp>
          <p:nvSpPr>
            <p:cNvPr id="13" name="Freeform 13"/>
            <p:cNvSpPr/>
            <p:nvPr/>
          </p:nvSpPr>
          <p:spPr>
            <a:xfrm>
              <a:off x="0" y="0"/>
              <a:ext cx="1704723" cy="406400"/>
            </a:xfrm>
            <a:custGeom>
              <a:avLst/>
              <a:gdLst/>
              <a:ahLst/>
              <a:cxnLst/>
              <a:rect l="l" t="t" r="r" b="b"/>
              <a:pathLst>
                <a:path w="1704723" h="406400">
                  <a:moveTo>
                    <a:pt x="1501523" y="0"/>
                  </a:moveTo>
                  <a:cubicBezTo>
                    <a:pt x="1613747" y="0"/>
                    <a:pt x="1704723" y="90976"/>
                    <a:pt x="1704723" y="203200"/>
                  </a:cubicBezTo>
                  <a:cubicBezTo>
                    <a:pt x="1704723" y="315424"/>
                    <a:pt x="1613747" y="406400"/>
                    <a:pt x="1501523" y="406400"/>
                  </a:cubicBezTo>
                  <a:lnTo>
                    <a:pt x="203200" y="406400"/>
                  </a:lnTo>
                  <a:cubicBezTo>
                    <a:pt x="90976" y="406400"/>
                    <a:pt x="0" y="315424"/>
                    <a:pt x="0" y="203200"/>
                  </a:cubicBezTo>
                  <a:cubicBezTo>
                    <a:pt x="0" y="90976"/>
                    <a:pt x="90976" y="0"/>
                    <a:pt x="203200" y="0"/>
                  </a:cubicBezTo>
                  <a:close/>
                </a:path>
              </a:pathLst>
            </a:custGeom>
            <a:solidFill>
              <a:srgbClr val="F5668F"/>
            </a:solidFill>
          </p:spPr>
        </p:sp>
        <p:sp>
          <p:nvSpPr>
            <p:cNvPr id="14" name="TextBox 14"/>
            <p:cNvSpPr txBox="1"/>
            <p:nvPr/>
          </p:nvSpPr>
          <p:spPr>
            <a:xfrm>
              <a:off x="0" y="-57150"/>
              <a:ext cx="1704723" cy="463550"/>
            </a:xfrm>
            <a:prstGeom prst="rect">
              <a:avLst/>
            </a:prstGeom>
          </p:spPr>
          <p:txBody>
            <a:bodyPr lIns="33867" tIns="33867" rIns="33867" bIns="33867" rtlCol="0" anchor="ctr"/>
            <a:lstStyle/>
            <a:p>
              <a:pPr algn="ctr">
                <a:lnSpc>
                  <a:spcPts val="2239"/>
                </a:lnSpc>
              </a:pPr>
              <a:endParaRPr sz="800"/>
            </a:p>
          </p:txBody>
        </p:sp>
      </p:grpSp>
      <p:grpSp>
        <p:nvGrpSpPr>
          <p:cNvPr id="15" name="Group 15"/>
          <p:cNvGrpSpPr/>
          <p:nvPr/>
        </p:nvGrpSpPr>
        <p:grpSpPr>
          <a:xfrm>
            <a:off x="3824565" y="1773777"/>
            <a:ext cx="1633915" cy="1633915"/>
            <a:chOff x="0" y="0"/>
            <a:chExt cx="812800" cy="812800"/>
          </a:xfrm>
        </p:grpSpPr>
        <p:sp>
          <p:nvSpPr>
            <p:cNvPr id="16" name="Freeform 1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5668F"/>
            </a:solidFill>
          </p:spPr>
        </p:sp>
        <p:sp>
          <p:nvSpPr>
            <p:cNvPr id="17" name="TextBox 17"/>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grpSp>
        <p:nvGrpSpPr>
          <p:cNvPr id="18" name="Group 18"/>
          <p:cNvGrpSpPr/>
          <p:nvPr/>
        </p:nvGrpSpPr>
        <p:grpSpPr>
          <a:xfrm>
            <a:off x="9057698" y="3878037"/>
            <a:ext cx="2880299" cy="852503"/>
            <a:chOff x="0" y="0"/>
            <a:chExt cx="2236510" cy="661956"/>
          </a:xfrm>
        </p:grpSpPr>
        <p:sp>
          <p:nvSpPr>
            <p:cNvPr id="19" name="Freeform 19"/>
            <p:cNvSpPr/>
            <p:nvPr/>
          </p:nvSpPr>
          <p:spPr>
            <a:xfrm>
              <a:off x="0" y="0"/>
              <a:ext cx="2236510" cy="661956"/>
            </a:xfrm>
            <a:custGeom>
              <a:avLst/>
              <a:gdLst/>
              <a:ahLst/>
              <a:cxnLst/>
              <a:rect l="l" t="t" r="r" b="b"/>
              <a:pathLst>
                <a:path w="2236510" h="661956">
                  <a:moveTo>
                    <a:pt x="2033310" y="0"/>
                  </a:moveTo>
                  <a:cubicBezTo>
                    <a:pt x="2145534" y="0"/>
                    <a:pt x="2236510" y="148184"/>
                    <a:pt x="2236510" y="330978"/>
                  </a:cubicBezTo>
                  <a:cubicBezTo>
                    <a:pt x="2236510" y="513772"/>
                    <a:pt x="2145534" y="661956"/>
                    <a:pt x="2033310" y="661956"/>
                  </a:cubicBezTo>
                  <a:lnTo>
                    <a:pt x="203200" y="661956"/>
                  </a:lnTo>
                  <a:cubicBezTo>
                    <a:pt x="90976" y="661956"/>
                    <a:pt x="0" y="513772"/>
                    <a:pt x="0" y="330978"/>
                  </a:cubicBezTo>
                  <a:cubicBezTo>
                    <a:pt x="0" y="148184"/>
                    <a:pt x="90976" y="0"/>
                    <a:pt x="203200" y="0"/>
                  </a:cubicBezTo>
                  <a:close/>
                </a:path>
              </a:pathLst>
            </a:custGeom>
            <a:solidFill>
              <a:srgbClr val="1C498B"/>
            </a:solidFill>
          </p:spPr>
        </p:sp>
        <p:sp>
          <p:nvSpPr>
            <p:cNvPr id="20" name="TextBox 20"/>
            <p:cNvSpPr txBox="1"/>
            <p:nvPr/>
          </p:nvSpPr>
          <p:spPr>
            <a:xfrm>
              <a:off x="0" y="-57150"/>
              <a:ext cx="2236510" cy="719106"/>
            </a:xfrm>
            <a:prstGeom prst="rect">
              <a:avLst/>
            </a:prstGeom>
          </p:spPr>
          <p:txBody>
            <a:bodyPr lIns="33867" tIns="33867" rIns="33867" bIns="33867" rtlCol="0" anchor="ctr"/>
            <a:lstStyle/>
            <a:p>
              <a:pPr algn="ctr">
                <a:lnSpc>
                  <a:spcPts val="2239"/>
                </a:lnSpc>
              </a:pPr>
              <a:endParaRPr sz="800"/>
            </a:p>
          </p:txBody>
        </p:sp>
      </p:grpSp>
      <p:grpSp>
        <p:nvGrpSpPr>
          <p:cNvPr id="21" name="Group 21"/>
          <p:cNvGrpSpPr/>
          <p:nvPr/>
        </p:nvGrpSpPr>
        <p:grpSpPr>
          <a:xfrm>
            <a:off x="9642475" y="1773777"/>
            <a:ext cx="1633915" cy="1633915"/>
            <a:chOff x="0" y="0"/>
            <a:chExt cx="812800" cy="812800"/>
          </a:xfrm>
        </p:grpSpPr>
        <p:sp>
          <p:nvSpPr>
            <p:cNvPr id="22" name="Freeform 2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1C498B"/>
            </a:solidFill>
          </p:spPr>
        </p:sp>
        <p:sp>
          <p:nvSpPr>
            <p:cNvPr id="23" name="TextBox 23"/>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grpSp>
        <p:nvGrpSpPr>
          <p:cNvPr id="24" name="Group 24"/>
          <p:cNvGrpSpPr/>
          <p:nvPr/>
        </p:nvGrpSpPr>
        <p:grpSpPr>
          <a:xfrm>
            <a:off x="6457950" y="4465454"/>
            <a:ext cx="2381250" cy="627283"/>
            <a:chOff x="0" y="0"/>
            <a:chExt cx="1762718" cy="464346"/>
          </a:xfrm>
        </p:grpSpPr>
        <p:sp>
          <p:nvSpPr>
            <p:cNvPr id="25" name="Freeform 25"/>
            <p:cNvSpPr/>
            <p:nvPr/>
          </p:nvSpPr>
          <p:spPr>
            <a:xfrm>
              <a:off x="0" y="0"/>
              <a:ext cx="1762718" cy="464346"/>
            </a:xfrm>
            <a:custGeom>
              <a:avLst/>
              <a:gdLst/>
              <a:ahLst/>
              <a:cxnLst/>
              <a:rect l="l" t="t" r="r" b="b"/>
              <a:pathLst>
                <a:path w="1762718" h="464346">
                  <a:moveTo>
                    <a:pt x="1559518" y="0"/>
                  </a:moveTo>
                  <a:cubicBezTo>
                    <a:pt x="1671743" y="0"/>
                    <a:pt x="1762718" y="103947"/>
                    <a:pt x="1762718" y="232173"/>
                  </a:cubicBezTo>
                  <a:cubicBezTo>
                    <a:pt x="1762718" y="360399"/>
                    <a:pt x="1671743" y="464346"/>
                    <a:pt x="1559518" y="464346"/>
                  </a:cubicBezTo>
                  <a:lnTo>
                    <a:pt x="203200" y="464346"/>
                  </a:lnTo>
                  <a:cubicBezTo>
                    <a:pt x="90976" y="464346"/>
                    <a:pt x="0" y="360399"/>
                    <a:pt x="0" y="232173"/>
                  </a:cubicBezTo>
                  <a:cubicBezTo>
                    <a:pt x="0" y="103947"/>
                    <a:pt x="90976" y="0"/>
                    <a:pt x="203200" y="0"/>
                  </a:cubicBezTo>
                  <a:close/>
                </a:path>
              </a:pathLst>
            </a:custGeom>
            <a:solidFill>
              <a:srgbClr val="6B95FD"/>
            </a:solidFill>
          </p:spPr>
        </p:sp>
        <p:sp>
          <p:nvSpPr>
            <p:cNvPr id="26" name="TextBox 26"/>
            <p:cNvSpPr txBox="1"/>
            <p:nvPr/>
          </p:nvSpPr>
          <p:spPr>
            <a:xfrm>
              <a:off x="0" y="-57150"/>
              <a:ext cx="1762718" cy="521496"/>
            </a:xfrm>
            <a:prstGeom prst="rect">
              <a:avLst/>
            </a:prstGeom>
          </p:spPr>
          <p:txBody>
            <a:bodyPr lIns="33867" tIns="33867" rIns="33867" bIns="33867" rtlCol="0" anchor="ctr"/>
            <a:lstStyle/>
            <a:p>
              <a:pPr algn="ctr">
                <a:lnSpc>
                  <a:spcPts val="2239"/>
                </a:lnSpc>
              </a:pPr>
              <a:endParaRPr sz="800"/>
            </a:p>
          </p:txBody>
        </p:sp>
      </p:grpSp>
      <p:grpSp>
        <p:nvGrpSpPr>
          <p:cNvPr id="27" name="Group 27"/>
          <p:cNvGrpSpPr/>
          <p:nvPr/>
        </p:nvGrpSpPr>
        <p:grpSpPr>
          <a:xfrm>
            <a:off x="6733520" y="2518500"/>
            <a:ext cx="1633915" cy="1633915"/>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B95FD"/>
            </a:solidFill>
          </p:spPr>
        </p:sp>
        <p:sp>
          <p:nvSpPr>
            <p:cNvPr id="29" name="TextBox 29"/>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sp>
        <p:nvSpPr>
          <p:cNvPr id="31" name="Freeform 31"/>
          <p:cNvSpPr/>
          <p:nvPr/>
        </p:nvSpPr>
        <p:spPr>
          <a:xfrm>
            <a:off x="313239" y="484024"/>
            <a:ext cx="3153307" cy="585540"/>
          </a:xfrm>
          <a:custGeom>
            <a:avLst/>
            <a:gdLst/>
            <a:ahLst/>
            <a:cxnLst/>
            <a:rect l="l" t="t" r="r" b="b"/>
            <a:pathLst>
              <a:path w="5074427" h="862653">
                <a:moveTo>
                  <a:pt x="0" y="0"/>
                </a:moveTo>
                <a:lnTo>
                  <a:pt x="5074427" y="0"/>
                </a:lnTo>
                <a:lnTo>
                  <a:pt x="5074427" y="862652"/>
                </a:lnTo>
                <a:lnTo>
                  <a:pt x="0" y="862652"/>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32" name="Freeform 32"/>
          <p:cNvSpPr/>
          <p:nvPr/>
        </p:nvSpPr>
        <p:spPr>
          <a:xfrm>
            <a:off x="2378598" y="303553"/>
            <a:ext cx="844571" cy="977795"/>
          </a:xfrm>
          <a:custGeom>
            <a:avLst/>
            <a:gdLst/>
            <a:ahLst/>
            <a:cxnLst/>
            <a:rect l="l" t="t" r="r" b="b"/>
            <a:pathLst>
              <a:path w="1266856" h="1466693">
                <a:moveTo>
                  <a:pt x="0" y="0"/>
                </a:moveTo>
                <a:lnTo>
                  <a:pt x="1266856" y="0"/>
                </a:lnTo>
                <a:lnTo>
                  <a:pt x="1266856" y="1466693"/>
                </a:lnTo>
                <a:lnTo>
                  <a:pt x="0" y="1466693"/>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34" name="Freeform 34"/>
          <p:cNvSpPr/>
          <p:nvPr/>
        </p:nvSpPr>
        <p:spPr>
          <a:xfrm>
            <a:off x="6964264" y="2721892"/>
            <a:ext cx="1403171" cy="1371600"/>
          </a:xfrm>
          <a:custGeom>
            <a:avLst/>
            <a:gdLst/>
            <a:ahLst/>
            <a:cxnLst/>
            <a:rect l="l" t="t" r="r" b="b"/>
            <a:pathLst>
              <a:path w="2104757" h="2057400">
                <a:moveTo>
                  <a:pt x="0" y="0"/>
                </a:moveTo>
                <a:lnTo>
                  <a:pt x="2104757" y="0"/>
                </a:lnTo>
                <a:lnTo>
                  <a:pt x="2104757" y="2057400"/>
                </a:lnTo>
                <a:lnTo>
                  <a:pt x="0" y="20574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35" name="Freeform 35"/>
          <p:cNvSpPr/>
          <p:nvPr/>
        </p:nvSpPr>
        <p:spPr>
          <a:xfrm>
            <a:off x="9906439" y="2025585"/>
            <a:ext cx="1130300" cy="1130300"/>
          </a:xfrm>
          <a:custGeom>
            <a:avLst/>
            <a:gdLst/>
            <a:ahLst/>
            <a:cxnLst/>
            <a:rect l="l" t="t" r="r" b="b"/>
            <a:pathLst>
              <a:path w="1695450" h="1695450">
                <a:moveTo>
                  <a:pt x="0" y="0"/>
                </a:moveTo>
                <a:lnTo>
                  <a:pt x="1695450" y="0"/>
                </a:lnTo>
                <a:lnTo>
                  <a:pt x="1695450" y="1695450"/>
                </a:lnTo>
                <a:lnTo>
                  <a:pt x="0" y="1695450"/>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36" name="Freeform 36"/>
          <p:cNvSpPr/>
          <p:nvPr/>
        </p:nvSpPr>
        <p:spPr>
          <a:xfrm>
            <a:off x="4006374" y="2189779"/>
            <a:ext cx="1314610" cy="801912"/>
          </a:xfrm>
          <a:custGeom>
            <a:avLst/>
            <a:gdLst/>
            <a:ahLst/>
            <a:cxnLst/>
            <a:rect l="l" t="t" r="r" b="b"/>
            <a:pathLst>
              <a:path w="1971915" h="1202868">
                <a:moveTo>
                  <a:pt x="0" y="0"/>
                </a:moveTo>
                <a:lnTo>
                  <a:pt x="1971915" y="0"/>
                </a:lnTo>
                <a:lnTo>
                  <a:pt x="1971915" y="1202868"/>
                </a:lnTo>
                <a:lnTo>
                  <a:pt x="0" y="1202868"/>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sp>
      <p:sp>
        <p:nvSpPr>
          <p:cNvPr id="37" name="Freeform 37"/>
          <p:cNvSpPr/>
          <p:nvPr/>
        </p:nvSpPr>
        <p:spPr>
          <a:xfrm>
            <a:off x="1299819" y="2760375"/>
            <a:ext cx="865499" cy="1150165"/>
          </a:xfrm>
          <a:custGeom>
            <a:avLst/>
            <a:gdLst/>
            <a:ahLst/>
            <a:cxnLst/>
            <a:rect l="l" t="t" r="r" b="b"/>
            <a:pathLst>
              <a:path w="1298249" h="1725248">
                <a:moveTo>
                  <a:pt x="0" y="0"/>
                </a:moveTo>
                <a:lnTo>
                  <a:pt x="1298249" y="0"/>
                </a:lnTo>
                <a:lnTo>
                  <a:pt x="1298249" y="1725247"/>
                </a:lnTo>
                <a:lnTo>
                  <a:pt x="0" y="1725247"/>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sp>
      <p:sp>
        <p:nvSpPr>
          <p:cNvPr id="38" name="TextBox 38"/>
          <p:cNvSpPr txBox="1"/>
          <p:nvPr/>
        </p:nvSpPr>
        <p:spPr>
          <a:xfrm>
            <a:off x="685800" y="4692440"/>
            <a:ext cx="2093537" cy="252633"/>
          </a:xfrm>
          <a:prstGeom prst="rect">
            <a:avLst/>
          </a:prstGeom>
        </p:spPr>
        <p:txBody>
          <a:bodyPr lIns="0" tIns="0" rIns="0" bIns="0" rtlCol="0" anchor="t">
            <a:spAutoFit/>
          </a:bodyPr>
          <a:lstStyle/>
          <a:p>
            <a:pPr algn="ctr">
              <a:lnSpc>
                <a:spcPts val="2239"/>
              </a:lnSpc>
            </a:pPr>
            <a:r>
              <a:rPr lang="en-US" sz="1600">
                <a:solidFill>
                  <a:srgbClr val="FDFDFD"/>
                </a:solidFill>
                <a:latin typeface="Barlow Bold"/>
              </a:rPr>
              <a:t>AAP Technical Report</a:t>
            </a:r>
          </a:p>
        </p:txBody>
      </p:sp>
      <p:sp>
        <p:nvSpPr>
          <p:cNvPr id="39" name="TextBox 39"/>
          <p:cNvSpPr txBox="1"/>
          <p:nvPr/>
        </p:nvSpPr>
        <p:spPr>
          <a:xfrm>
            <a:off x="576665" y="5148565"/>
            <a:ext cx="2339567" cy="1435201"/>
          </a:xfrm>
          <a:prstGeom prst="rect">
            <a:avLst/>
          </a:prstGeom>
        </p:spPr>
        <p:txBody>
          <a:bodyPr lIns="0" tIns="0" rIns="0" bIns="0" rtlCol="0" anchor="t">
            <a:spAutoFit/>
          </a:bodyPr>
          <a:lstStyle/>
          <a:p>
            <a:pPr algn="ctr">
              <a:lnSpc>
                <a:spcPts val="1867"/>
              </a:lnSpc>
              <a:spcBef>
                <a:spcPct val="0"/>
              </a:spcBef>
            </a:pPr>
            <a:r>
              <a:rPr lang="en-US" sz="1400">
                <a:solidFill>
                  <a:srgbClr val="63696F"/>
                </a:solidFill>
                <a:latin typeface="Barlow Medium"/>
              </a:rPr>
              <a:t>Evidence Base for 2022 Updated Recommendations for a Safe Infant Sleeping Environment to Reduce the Risk of Sleep-Related Infant Deaths </a:t>
            </a:r>
          </a:p>
        </p:txBody>
      </p:sp>
      <p:sp>
        <p:nvSpPr>
          <p:cNvPr id="40" name="TextBox 40"/>
          <p:cNvSpPr txBox="1"/>
          <p:nvPr/>
        </p:nvSpPr>
        <p:spPr>
          <a:xfrm>
            <a:off x="3594755" y="3947717"/>
            <a:ext cx="2093537" cy="277640"/>
          </a:xfrm>
          <a:prstGeom prst="rect">
            <a:avLst/>
          </a:prstGeom>
        </p:spPr>
        <p:txBody>
          <a:bodyPr lIns="0" tIns="0" rIns="0" bIns="0" rtlCol="0" anchor="t">
            <a:spAutoFit/>
          </a:bodyPr>
          <a:lstStyle/>
          <a:p>
            <a:pPr algn="ctr">
              <a:lnSpc>
                <a:spcPts val="2333"/>
              </a:lnSpc>
            </a:pPr>
            <a:r>
              <a:rPr lang="en-US" sz="1666">
                <a:solidFill>
                  <a:srgbClr val="FDFDFD"/>
                </a:solidFill>
                <a:latin typeface="Barlow Semi-Bold"/>
              </a:rPr>
              <a:t>E-Learning Modules</a:t>
            </a:r>
          </a:p>
        </p:txBody>
      </p:sp>
      <p:sp>
        <p:nvSpPr>
          <p:cNvPr id="41" name="TextBox 41"/>
          <p:cNvSpPr txBox="1"/>
          <p:nvPr/>
        </p:nvSpPr>
        <p:spPr>
          <a:xfrm>
            <a:off x="3223169" y="4543953"/>
            <a:ext cx="2872831" cy="2115131"/>
          </a:xfrm>
          <a:prstGeom prst="rect">
            <a:avLst/>
          </a:prstGeom>
        </p:spPr>
        <p:txBody>
          <a:bodyPr lIns="0" tIns="0" rIns="0" bIns="0" rtlCol="0" anchor="t">
            <a:spAutoFit/>
          </a:bodyPr>
          <a:lstStyle/>
          <a:p>
            <a:pPr marL="316230" lvl="1" indent="-158115">
              <a:lnSpc>
                <a:spcPts val="2053"/>
              </a:lnSpc>
              <a:buFont typeface="Arial"/>
              <a:buChar char="•"/>
            </a:pPr>
            <a:r>
              <a:rPr lang="en-US" sz="1450">
                <a:solidFill>
                  <a:srgbClr val="63696F"/>
                </a:solidFill>
                <a:latin typeface="Barlow Medium"/>
              </a:rPr>
              <a:t>Cribs for Kids: Hospital-Wide Infant Safe Sleep Training</a:t>
            </a:r>
            <a:endParaRPr lang="en-US" sz="1450"/>
          </a:p>
          <a:p>
            <a:pPr marL="316230" lvl="1" indent="-158115">
              <a:lnSpc>
                <a:spcPts val="2053"/>
              </a:lnSpc>
              <a:buFont typeface="Arial"/>
              <a:buChar char="•"/>
            </a:pPr>
            <a:r>
              <a:rPr lang="en-US" sz="1450">
                <a:solidFill>
                  <a:srgbClr val="63696F"/>
                </a:solidFill>
                <a:latin typeface="Barlow Medium"/>
              </a:rPr>
              <a:t>Cribs for Kids Safe Sleep Ambassador Education Outreach Program </a:t>
            </a:r>
          </a:p>
          <a:p>
            <a:pPr marL="316230" lvl="1" indent="-158115">
              <a:lnSpc>
                <a:spcPts val="2053"/>
              </a:lnSpc>
              <a:spcBef>
                <a:spcPct val="0"/>
              </a:spcBef>
              <a:buFont typeface="Arial"/>
              <a:buChar char="•"/>
            </a:pPr>
            <a:r>
              <a:rPr lang="en-US" sz="1450">
                <a:solidFill>
                  <a:srgbClr val="63696F"/>
                </a:solidFill>
                <a:latin typeface="Barlow Medium"/>
              </a:rPr>
              <a:t>NIH Safe to Sleep Provider Training and Materials </a:t>
            </a:r>
          </a:p>
          <a:p>
            <a:pPr algn="ctr">
              <a:lnSpc>
                <a:spcPts val="1960"/>
              </a:lnSpc>
              <a:spcBef>
                <a:spcPct val="0"/>
              </a:spcBef>
            </a:pPr>
            <a:endParaRPr lang="en-US" sz="1467">
              <a:solidFill>
                <a:srgbClr val="63696F"/>
              </a:solidFill>
              <a:latin typeface="Barlow Medium"/>
            </a:endParaRPr>
          </a:p>
        </p:txBody>
      </p:sp>
      <p:sp>
        <p:nvSpPr>
          <p:cNvPr id="42" name="TextBox 42"/>
          <p:cNvSpPr txBox="1"/>
          <p:nvPr/>
        </p:nvSpPr>
        <p:spPr>
          <a:xfrm>
            <a:off x="9159320" y="3992167"/>
            <a:ext cx="2710688" cy="654025"/>
          </a:xfrm>
          <a:prstGeom prst="rect">
            <a:avLst/>
          </a:prstGeom>
        </p:spPr>
        <p:txBody>
          <a:bodyPr lIns="0" tIns="0" rIns="0" bIns="0" rtlCol="0" anchor="t">
            <a:spAutoFit/>
          </a:bodyPr>
          <a:lstStyle/>
          <a:p>
            <a:pPr algn="ctr">
              <a:lnSpc>
                <a:spcPts val="1731"/>
              </a:lnSpc>
            </a:pPr>
            <a:r>
              <a:rPr lang="en-US" sz="1467">
                <a:solidFill>
                  <a:srgbClr val="FDFDFD"/>
                </a:solidFill>
                <a:latin typeface="Barlow Semi-Bold"/>
              </a:rPr>
              <a:t>Encourage meaningful, culturally appropriate, respectful, nonjudgmental conversations. </a:t>
            </a:r>
          </a:p>
        </p:txBody>
      </p:sp>
      <p:sp>
        <p:nvSpPr>
          <p:cNvPr id="43" name="TextBox 43"/>
          <p:cNvSpPr txBox="1"/>
          <p:nvPr/>
        </p:nvSpPr>
        <p:spPr>
          <a:xfrm>
            <a:off x="9200838" y="4890084"/>
            <a:ext cx="2914611" cy="1047082"/>
          </a:xfrm>
          <a:prstGeom prst="rect">
            <a:avLst/>
          </a:prstGeom>
        </p:spPr>
        <p:txBody>
          <a:bodyPr wrap="square" lIns="0" tIns="0" rIns="0" bIns="0" rtlCol="0" anchor="t">
            <a:spAutoFit/>
          </a:bodyPr>
          <a:lstStyle/>
          <a:p>
            <a:pPr marL="316230" lvl="1" indent="-158115">
              <a:lnSpc>
                <a:spcPts val="2053"/>
              </a:lnSpc>
              <a:buFont typeface="Arial"/>
              <a:buChar char="•"/>
            </a:pPr>
            <a:r>
              <a:rPr lang="en-US" sz="1450">
                <a:solidFill>
                  <a:srgbClr val="63696F"/>
                </a:solidFill>
                <a:latin typeface="Barlow Medium"/>
              </a:rPr>
              <a:t>AAP Safe Sleep Communication Strategies </a:t>
            </a:r>
            <a:endParaRPr lang="en-US"/>
          </a:p>
          <a:p>
            <a:pPr marL="316230" lvl="1" indent="-158115">
              <a:lnSpc>
                <a:spcPts val="2053"/>
              </a:lnSpc>
              <a:buFont typeface="Arial"/>
              <a:buChar char="•"/>
            </a:pPr>
            <a:r>
              <a:rPr lang="en-US" sz="1450">
                <a:solidFill>
                  <a:srgbClr val="63696F"/>
                </a:solidFill>
                <a:latin typeface="Barlow Medium"/>
              </a:rPr>
              <a:t>NICHQ Building on Campaigns with Conversation</a:t>
            </a:r>
          </a:p>
        </p:txBody>
      </p:sp>
      <p:sp>
        <p:nvSpPr>
          <p:cNvPr id="44" name="TextBox 44"/>
          <p:cNvSpPr txBox="1"/>
          <p:nvPr/>
        </p:nvSpPr>
        <p:spPr>
          <a:xfrm>
            <a:off x="6580542" y="4581531"/>
            <a:ext cx="2193897" cy="520976"/>
          </a:xfrm>
          <a:prstGeom prst="rect">
            <a:avLst/>
          </a:prstGeom>
        </p:spPr>
        <p:txBody>
          <a:bodyPr lIns="0" tIns="0" rIns="0" bIns="0" rtlCol="0" anchor="t">
            <a:spAutoFit/>
          </a:bodyPr>
          <a:lstStyle/>
          <a:p>
            <a:pPr algn="ctr">
              <a:lnSpc>
                <a:spcPts val="2053"/>
              </a:lnSpc>
            </a:pPr>
            <a:r>
              <a:rPr lang="en-US" sz="1467">
                <a:solidFill>
                  <a:srgbClr val="FDFDFD"/>
                </a:solidFill>
                <a:latin typeface="Barlow Semi-Bold"/>
              </a:rPr>
              <a:t>Endorse and Model a Safe Sleep Environment</a:t>
            </a:r>
          </a:p>
        </p:txBody>
      </p:sp>
      <p:sp>
        <p:nvSpPr>
          <p:cNvPr id="45" name="TextBox 45"/>
          <p:cNvSpPr txBox="1"/>
          <p:nvPr/>
        </p:nvSpPr>
        <p:spPr>
          <a:xfrm>
            <a:off x="6006042" y="5150827"/>
            <a:ext cx="3195016" cy="1585690"/>
          </a:xfrm>
          <a:prstGeom prst="rect">
            <a:avLst/>
          </a:prstGeom>
        </p:spPr>
        <p:txBody>
          <a:bodyPr wrap="square" lIns="0" tIns="0" rIns="0" bIns="0" rtlCol="0" anchor="t">
            <a:spAutoFit/>
          </a:bodyPr>
          <a:lstStyle/>
          <a:p>
            <a:pPr marL="316230" lvl="1" indent="-158115">
              <a:lnSpc>
                <a:spcPts val="2053"/>
              </a:lnSpc>
              <a:buFont typeface="Arial"/>
              <a:buChar char="•"/>
            </a:pPr>
            <a:r>
              <a:rPr lang="en-US" sz="1450">
                <a:solidFill>
                  <a:srgbClr val="63696F"/>
                </a:solidFill>
                <a:latin typeface="Barlow Medium"/>
              </a:rPr>
              <a:t>NYSPQC Safe Sleep Crib Cards</a:t>
            </a:r>
            <a:endParaRPr lang="en-US" sz="1450"/>
          </a:p>
          <a:p>
            <a:pPr marL="316230" lvl="1" indent="-158115">
              <a:lnSpc>
                <a:spcPts val="2053"/>
              </a:lnSpc>
              <a:buFont typeface="Arial"/>
              <a:buChar char="•"/>
            </a:pPr>
            <a:r>
              <a:rPr lang="en-US" sz="1450">
                <a:solidFill>
                  <a:srgbClr val="63696F"/>
                </a:solidFill>
                <a:latin typeface="Barlow Medium"/>
              </a:rPr>
              <a:t>Audit tools   </a:t>
            </a:r>
          </a:p>
          <a:p>
            <a:pPr marL="316230" lvl="1" indent="-158115">
              <a:lnSpc>
                <a:spcPts val="2053"/>
              </a:lnSpc>
              <a:buFont typeface="Arial"/>
              <a:buChar char="•"/>
            </a:pPr>
            <a:r>
              <a:rPr lang="en-US" sz="1450">
                <a:solidFill>
                  <a:srgbClr val="63696F"/>
                </a:solidFill>
                <a:latin typeface="Barlow Medium"/>
              </a:rPr>
              <a:t>Cribs for Kids T</a:t>
            </a:r>
            <a:r>
              <a:rPr lang="en-US" sz="1500">
                <a:solidFill>
                  <a:srgbClr val="63696F"/>
                </a:solidFill>
                <a:ea typeface="+mn-lt"/>
                <a:cs typeface="+mn-lt"/>
              </a:rPr>
              <a:t>oolkit &amp; Resources </a:t>
            </a:r>
            <a:r>
              <a:rPr lang="en-US" sz="1450">
                <a:solidFill>
                  <a:srgbClr val="63696F"/>
                </a:solidFill>
                <a:latin typeface="Barlow Medium"/>
              </a:rPr>
              <a:t> </a:t>
            </a:r>
          </a:p>
          <a:p>
            <a:pPr marL="316230" lvl="1" indent="-158115">
              <a:lnSpc>
                <a:spcPts val="2053"/>
              </a:lnSpc>
              <a:buFont typeface="Arial"/>
              <a:buChar char="•"/>
            </a:pPr>
            <a:r>
              <a:rPr lang="en-US" sz="1450">
                <a:solidFill>
                  <a:srgbClr val="63696F"/>
                </a:solidFill>
                <a:latin typeface="Barlow Medium"/>
              </a:rPr>
              <a:t>Modeling Safe Practices: A Checklist for Infant Sleep &amp; Breastfeeding Images</a:t>
            </a:r>
          </a:p>
        </p:txBody>
      </p:sp>
      <p:sp>
        <p:nvSpPr>
          <p:cNvPr id="46" name="TextBox 46"/>
          <p:cNvSpPr txBox="1"/>
          <p:nvPr/>
        </p:nvSpPr>
        <p:spPr>
          <a:xfrm>
            <a:off x="539275" y="646588"/>
            <a:ext cx="1727680"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1</a:t>
            </a:r>
          </a:p>
        </p:txBody>
      </p:sp>
      <p:sp>
        <p:nvSpPr>
          <p:cNvPr id="47" name="TextBox 47"/>
          <p:cNvSpPr txBox="1"/>
          <p:nvPr/>
        </p:nvSpPr>
        <p:spPr>
          <a:xfrm>
            <a:off x="3627558" y="481574"/>
            <a:ext cx="3545557" cy="671402"/>
          </a:xfrm>
          <a:prstGeom prst="rect">
            <a:avLst/>
          </a:prstGeom>
        </p:spPr>
        <p:txBody>
          <a:bodyPr lIns="0" tIns="0" rIns="0" bIns="0" rtlCol="0" anchor="t">
            <a:spAutoFit/>
          </a:bodyPr>
          <a:lstStyle/>
          <a:p>
            <a:pPr algn="ctr">
              <a:lnSpc>
                <a:spcPts val="2640"/>
              </a:lnSpc>
            </a:pPr>
            <a:r>
              <a:rPr lang="en-US" sz="2400">
                <a:solidFill>
                  <a:srgbClr val="545454"/>
                </a:solidFill>
                <a:latin typeface="DM Sans"/>
              </a:rPr>
              <a:t>Healthcare Professional Commitment</a:t>
            </a:r>
          </a:p>
        </p:txBody>
      </p:sp>
      <p:sp>
        <p:nvSpPr>
          <p:cNvPr id="49" name="Freeform 4">
            <a:extLst>
              <a:ext uri="{FF2B5EF4-FFF2-40B4-BE49-F238E27FC236}">
                <a16:creationId xmlns:a16="http://schemas.microsoft.com/office/drawing/2014/main" id="{4FD6BDF7-E6F5-6DC8-9332-E3E0DB7057F0}"/>
              </a:ext>
            </a:extLst>
          </p:cNvPr>
          <p:cNvSpPr/>
          <p:nvPr/>
        </p:nvSpPr>
        <p:spPr>
          <a:xfrm>
            <a:off x="8257369" y="226246"/>
            <a:ext cx="1848385" cy="1305855"/>
          </a:xfrm>
          <a:custGeom>
            <a:avLst/>
            <a:gdLst/>
            <a:ahLst/>
            <a:cxnLst/>
            <a:rect l="l" t="t" r="r" b="b"/>
            <a:pathLst>
              <a:path w="1632533" h="1426426">
                <a:moveTo>
                  <a:pt x="0" y="0"/>
                </a:moveTo>
                <a:lnTo>
                  <a:pt x="1632533" y="0"/>
                </a:lnTo>
                <a:lnTo>
                  <a:pt x="1632533" y="1426426"/>
                </a:lnTo>
                <a:lnTo>
                  <a:pt x="0" y="1426426"/>
                </a:lnTo>
                <a:lnTo>
                  <a:pt x="0" y="0"/>
                </a:lnTo>
                <a:close/>
              </a:path>
            </a:pathLst>
          </a:custGeom>
          <a:blipFill>
            <a:blip r:embed="rId16">
              <a:extLst>
                <a:ext uri="{96DAC541-7B7A-43D3-8B79-37D633B846F1}">
                  <asvg:svgBlip xmlns:asvg="http://schemas.microsoft.com/office/drawing/2016/SVG/main" r:embed="rId17"/>
                </a:ext>
              </a:extLst>
            </a:blip>
            <a:stretch>
              <a:fillRect/>
            </a:stretch>
          </a:blipFill>
        </p:spPr>
      </p:sp>
      <p:sp>
        <p:nvSpPr>
          <p:cNvPr id="51" name="TextBox 19">
            <a:extLst>
              <a:ext uri="{FF2B5EF4-FFF2-40B4-BE49-F238E27FC236}">
                <a16:creationId xmlns:a16="http://schemas.microsoft.com/office/drawing/2014/main" id="{233EFC40-2641-E728-F412-79899FC6D0D7}"/>
              </a:ext>
            </a:extLst>
          </p:cNvPr>
          <p:cNvSpPr txBox="1"/>
          <p:nvPr/>
        </p:nvSpPr>
        <p:spPr>
          <a:xfrm>
            <a:off x="9910059" y="1086120"/>
            <a:ext cx="2503437" cy="359073"/>
          </a:xfrm>
          <a:prstGeom prst="rect">
            <a:avLst/>
          </a:prstGeom>
        </p:spPr>
        <p:txBody>
          <a:bodyPr wrap="square" lIns="0" tIns="0" rIns="0" bIns="0" rtlCol="0" anchor="t">
            <a:spAutoFit/>
          </a:bodyPr>
          <a:lstStyle/>
          <a:p>
            <a:pPr algn="ctr">
              <a:lnSpc>
                <a:spcPts val="2755"/>
              </a:lnSpc>
            </a:pPr>
            <a:r>
              <a:rPr lang="en-US" sz="2650" b="1" spc="85">
                <a:solidFill>
                  <a:srgbClr val="1C498B"/>
                </a:solidFill>
                <a:latin typeface="Barlow Bold"/>
              </a:rPr>
              <a:t>ESSI Toolkit</a:t>
            </a:r>
          </a:p>
        </p:txBody>
      </p:sp>
      <p:sp>
        <p:nvSpPr>
          <p:cNvPr id="53" name="Freeform 21">
            <a:extLst>
              <a:ext uri="{FF2B5EF4-FFF2-40B4-BE49-F238E27FC236}">
                <a16:creationId xmlns:a16="http://schemas.microsoft.com/office/drawing/2014/main" id="{66360ABF-1F2C-C63A-9187-17E2573B3DEB}"/>
              </a:ext>
            </a:extLst>
          </p:cNvPr>
          <p:cNvSpPr/>
          <p:nvPr/>
        </p:nvSpPr>
        <p:spPr>
          <a:xfrm>
            <a:off x="10256502" y="63107"/>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8"/>
            <a:stretch>
              <a:fillRect/>
            </a:stretch>
          </a:blipFill>
        </p:spPr>
      </p:sp>
      <p:sp>
        <p:nvSpPr>
          <p:cNvPr id="33" name="TextBox 28">
            <a:extLst>
              <a:ext uri="{FF2B5EF4-FFF2-40B4-BE49-F238E27FC236}">
                <a16:creationId xmlns:a16="http://schemas.microsoft.com/office/drawing/2014/main" id="{5C2A740E-7A02-31A5-EAAF-9CD8C0A41D47}"/>
              </a:ext>
            </a:extLst>
          </p:cNvPr>
          <p:cNvSpPr txBox="1"/>
          <p:nvPr/>
        </p:nvSpPr>
        <p:spPr>
          <a:xfrm>
            <a:off x="368618" y="1329778"/>
            <a:ext cx="7795642" cy="270395"/>
          </a:xfrm>
          <a:prstGeom prst="rect">
            <a:avLst/>
          </a:prstGeom>
        </p:spPr>
        <p:txBody>
          <a:bodyPr lIns="0" tIns="0" rIns="0" bIns="0" rtlCol="0" anchor="t">
            <a:spAutoFit/>
          </a:bodyPr>
          <a:lstStyle/>
          <a:p>
            <a:pPr>
              <a:lnSpc>
                <a:spcPts val="2127"/>
              </a:lnSpc>
            </a:pPr>
            <a:r>
              <a:rPr lang="en-US" sz="1900">
                <a:solidFill>
                  <a:srgbClr val="545454"/>
                </a:solidFill>
                <a:latin typeface="DM Sans"/>
              </a:rPr>
              <a:t>Secondary Driver 2: </a:t>
            </a:r>
            <a:r>
              <a:rPr lang="en-US" sz="1900">
                <a:solidFill>
                  <a:srgbClr val="545454"/>
                </a:solidFill>
                <a:ea typeface="+mn-lt"/>
                <a:cs typeface="+mn-lt"/>
              </a:rPr>
              <a:t>Safe Sleep Environment Education and Implementation</a:t>
            </a:r>
            <a:endParaRPr lang="en-US">
              <a:ea typeface="Calibri"/>
              <a:cs typeface="Calibri"/>
            </a:endParaRPr>
          </a:p>
        </p:txBody>
      </p:sp>
    </p:spTree>
    <p:extLst>
      <p:ext uri="{BB962C8B-B14F-4D97-AF65-F5344CB8AC3E}">
        <p14:creationId xmlns:p14="http://schemas.microsoft.com/office/powerpoint/2010/main" val="4415430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1" grpId="0"/>
      <p:bldP spid="43" grpId="0"/>
      <p:bldP spid="45"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65125"/>
            <a:ext cx="5493026" cy="1325563"/>
          </a:xfrm>
        </p:spPr>
        <p:txBody>
          <a:bodyPr/>
          <a:lstStyle/>
          <a:p>
            <a:r>
              <a:rPr lang="en-US" dirty="0"/>
              <a:t>Step 8: </a:t>
            </a:r>
            <a:r>
              <a:rPr lang="en-US" b="0" dirty="0"/>
              <a:t>Start drafting your 30-60-90 Day plan</a:t>
            </a:r>
          </a:p>
        </p:txBody>
      </p:sp>
      <p:sp>
        <p:nvSpPr>
          <p:cNvPr id="3" name="Content Placeholder 2"/>
          <p:cNvSpPr>
            <a:spLocks noGrp="1"/>
          </p:cNvSpPr>
          <p:nvPr>
            <p:ph idx="1"/>
          </p:nvPr>
        </p:nvSpPr>
        <p:spPr>
          <a:xfrm>
            <a:off x="609600" y="1825625"/>
            <a:ext cx="3777673" cy="4351338"/>
          </a:xfrm>
        </p:spPr>
        <p:txBody>
          <a:bodyPr/>
          <a:lstStyle/>
          <a:p>
            <a:r>
              <a:rPr lang="en-US" dirty="0"/>
              <a:t>Create your 30-60-90 day plan for launching the initiative</a:t>
            </a:r>
          </a:p>
          <a:p>
            <a:r>
              <a:rPr lang="en-US" dirty="0"/>
              <a:t>How will you get started over the next 3 months</a:t>
            </a:r>
          </a:p>
          <a:p>
            <a:r>
              <a:rPr lang="en-US" dirty="0"/>
              <a:t>Begin with implementing the 10 steps to getting started</a:t>
            </a:r>
          </a:p>
        </p:txBody>
      </p:sp>
      <p:sp>
        <p:nvSpPr>
          <p:cNvPr id="4" name="Slide Number Placeholder 3"/>
          <p:cNvSpPr>
            <a:spLocks noGrp="1"/>
          </p:cNvSpPr>
          <p:nvPr>
            <p:ph type="sldNum" sz="quarter" idx="10"/>
          </p:nvPr>
        </p:nvSpPr>
        <p:spPr/>
        <p:txBody>
          <a:bodyPr/>
          <a:lstStyle/>
          <a:p>
            <a:fld id="{97033E4B-E3EB-3D46-B2D8-3159663620FA}" type="slidenum">
              <a:rPr lang="en-US" smtClean="0"/>
              <a:pPr/>
              <a:t>76</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6" name="Picture 5"/>
          <p:cNvPicPr>
            <a:picLocks noChangeAspect="1"/>
          </p:cNvPicPr>
          <p:nvPr/>
        </p:nvPicPr>
        <p:blipFill>
          <a:blip r:embed="rId2"/>
          <a:stretch>
            <a:fillRect/>
          </a:stretch>
        </p:blipFill>
        <p:spPr>
          <a:xfrm>
            <a:off x="4223400" y="1690688"/>
            <a:ext cx="7498762" cy="4904969"/>
          </a:xfrm>
          <a:prstGeom prst="rect">
            <a:avLst/>
          </a:prstGeom>
        </p:spPr>
      </p:pic>
    </p:spTree>
    <p:extLst>
      <p:ext uri="{BB962C8B-B14F-4D97-AF65-F5344CB8AC3E}">
        <p14:creationId xmlns:p14="http://schemas.microsoft.com/office/powerpoint/2010/main" val="58802337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79FEB-3306-A04E-6516-F16994F3B0F9}"/>
              </a:ext>
            </a:extLst>
          </p:cNvPr>
          <p:cNvSpPr>
            <a:spLocks noGrp="1"/>
          </p:cNvSpPr>
          <p:nvPr>
            <p:ph type="title"/>
          </p:nvPr>
        </p:nvSpPr>
        <p:spPr>
          <a:xfrm>
            <a:off x="414427" y="240582"/>
            <a:ext cx="10972800" cy="1325563"/>
          </a:xfrm>
        </p:spPr>
        <p:txBody>
          <a:bodyPr/>
          <a:lstStyle/>
          <a:p>
            <a:r>
              <a:rPr lang="en-US" dirty="0">
                <a:ea typeface="Lato Medium"/>
                <a:cs typeface="Lato Medium"/>
              </a:rPr>
              <a:t>Step 9: </a:t>
            </a:r>
            <a:r>
              <a:rPr lang="en-US" b="0" dirty="0">
                <a:ea typeface="Lato Medium"/>
                <a:cs typeface="Lato Medium"/>
              </a:rPr>
              <a:t>Attend Upcoming Meetings</a:t>
            </a:r>
          </a:p>
        </p:txBody>
      </p:sp>
      <p:graphicFrame>
        <p:nvGraphicFramePr>
          <p:cNvPr id="137" name="Diagram 136">
            <a:extLst>
              <a:ext uri="{FF2B5EF4-FFF2-40B4-BE49-F238E27FC236}">
                <a16:creationId xmlns:a16="http://schemas.microsoft.com/office/drawing/2014/main" id="{61D68665-D38F-2DB1-AAFC-535C715B7F9F}"/>
              </a:ext>
            </a:extLst>
          </p:cNvPr>
          <p:cNvGraphicFramePr/>
          <p:nvPr>
            <p:extLst>
              <p:ext uri="{D42A27DB-BD31-4B8C-83A1-F6EECF244321}">
                <p14:modId xmlns:p14="http://schemas.microsoft.com/office/powerpoint/2010/main" val="346908588"/>
              </p:ext>
            </p:extLst>
          </p:nvPr>
        </p:nvGraphicFramePr>
        <p:xfrm>
          <a:off x="545838" y="956828"/>
          <a:ext cx="11191045" cy="55266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60" name="Rectangle: Rounded Corners 359">
            <a:extLst>
              <a:ext uri="{FF2B5EF4-FFF2-40B4-BE49-F238E27FC236}">
                <a16:creationId xmlns:a16="http://schemas.microsoft.com/office/drawing/2014/main" id="{FE59A3A2-BFF2-9772-51D6-9CCB620AEB53}"/>
              </a:ext>
            </a:extLst>
          </p:cNvPr>
          <p:cNvSpPr/>
          <p:nvPr/>
        </p:nvSpPr>
        <p:spPr>
          <a:xfrm>
            <a:off x="895494" y="6060331"/>
            <a:ext cx="10491732" cy="671209"/>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600" dirty="0">
                <a:cs typeface="Calibri"/>
              </a:rPr>
              <a:t>Visit ilpqc.org/ESSI to register for the calls!</a:t>
            </a:r>
            <a:endParaRPr lang="en-US" sz="3600" dirty="0"/>
          </a:p>
        </p:txBody>
      </p:sp>
    </p:spTree>
    <p:extLst>
      <p:ext uri="{BB962C8B-B14F-4D97-AF65-F5344CB8AC3E}">
        <p14:creationId xmlns:p14="http://schemas.microsoft.com/office/powerpoint/2010/main" val="114181535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65125"/>
            <a:ext cx="7536873" cy="1325563"/>
          </a:xfrm>
        </p:spPr>
        <p:txBody>
          <a:bodyPr/>
          <a:lstStyle/>
          <a:p>
            <a:r>
              <a:rPr lang="en-US" dirty="0"/>
              <a:t>Step 10: </a:t>
            </a:r>
            <a:r>
              <a:rPr lang="en-US" b="0" dirty="0"/>
              <a:t>Energize and educate your hospital team members about ESSI</a:t>
            </a:r>
          </a:p>
        </p:txBody>
      </p:sp>
      <p:sp>
        <p:nvSpPr>
          <p:cNvPr id="3" name="Content Placeholder 2"/>
          <p:cNvSpPr>
            <a:spLocks noGrp="1"/>
          </p:cNvSpPr>
          <p:nvPr>
            <p:ph idx="1"/>
          </p:nvPr>
        </p:nvSpPr>
        <p:spPr>
          <a:xfrm>
            <a:off x="609600" y="1825625"/>
            <a:ext cx="7703907" cy="4351338"/>
          </a:xfrm>
        </p:spPr>
        <p:txBody>
          <a:bodyPr vert="horz" lIns="91440" tIns="45720" rIns="91440" bIns="45720" rtlCol="0" anchor="t">
            <a:noAutofit/>
          </a:bodyPr>
          <a:lstStyle/>
          <a:p>
            <a:r>
              <a:rPr lang="en-US" dirty="0"/>
              <a:t>Make an ESSI bulletin board to get the word out</a:t>
            </a:r>
          </a:p>
          <a:p>
            <a:r>
              <a:rPr lang="en-US" dirty="0">
                <a:ea typeface="Lato"/>
                <a:cs typeface="Lato"/>
              </a:rPr>
              <a:t>Begin a newsletter to inform staff about the initiative and strategies being implemented</a:t>
            </a:r>
          </a:p>
          <a:p>
            <a:r>
              <a:rPr lang="en-US" dirty="0">
                <a:ea typeface="Lato"/>
                <a:cs typeface="Lato"/>
              </a:rPr>
              <a:t>Take a picture of your first QI team meeting and email to </a:t>
            </a:r>
            <a:r>
              <a:rPr lang="en-US" dirty="0">
                <a:ea typeface="Lato"/>
                <a:cs typeface="Lato"/>
                <a:hlinkClick r:id="rId2"/>
              </a:rPr>
              <a:t>info@ilpqc.org</a:t>
            </a:r>
            <a:endParaRPr lang="en-US" dirty="0">
              <a:hlinkClick r:id="rId2"/>
            </a:endParaRPr>
          </a:p>
          <a:p>
            <a:r>
              <a:rPr lang="en-US" b="1" u="sng" dirty="0">
                <a:ea typeface="Lato"/>
                <a:cs typeface="Lato"/>
              </a:rPr>
              <a:t>Tips from Teams at AC:</a:t>
            </a:r>
          </a:p>
          <a:p>
            <a:pPr lvl="1"/>
            <a:r>
              <a:rPr lang="en-US" dirty="0">
                <a:ea typeface="Lato"/>
                <a:cs typeface="Lato"/>
              </a:rPr>
              <a:t>Share patient stories </a:t>
            </a:r>
            <a:endParaRPr lang="en-US" dirty="0"/>
          </a:p>
          <a:p>
            <a:pPr lvl="1"/>
            <a:r>
              <a:rPr lang="en-US" dirty="0"/>
              <a:t>Reinforce that what we do makes a difference</a:t>
            </a:r>
          </a:p>
        </p:txBody>
      </p:sp>
      <p:sp>
        <p:nvSpPr>
          <p:cNvPr id="4" name="Slide Number Placeholder 3"/>
          <p:cNvSpPr>
            <a:spLocks noGrp="1"/>
          </p:cNvSpPr>
          <p:nvPr>
            <p:ph type="sldNum" sz="quarter" idx="10"/>
          </p:nvPr>
        </p:nvSpPr>
        <p:spPr/>
        <p:txBody>
          <a:bodyPr/>
          <a:lstStyle/>
          <a:p>
            <a:fld id="{97033E4B-E3EB-3D46-B2D8-3159663620FA}" type="slidenum">
              <a:rPr lang="en-US" smtClean="0"/>
              <a:pPr/>
              <a:t>78</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6" name="Graphic 5" descr="Dance with solid fill">
            <a:extLst>
              <a:ext uri="{FF2B5EF4-FFF2-40B4-BE49-F238E27FC236}">
                <a16:creationId xmlns:a16="http://schemas.microsoft.com/office/drawing/2014/main" id="{46F42E17-0175-F9A2-1E13-137F29CD08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98039" y="2757153"/>
            <a:ext cx="2180822" cy="2159357"/>
          </a:xfrm>
          <a:prstGeom prst="rect">
            <a:avLst/>
          </a:prstGeom>
        </p:spPr>
      </p:pic>
    </p:spTree>
    <p:extLst>
      <p:ext uri="{BB962C8B-B14F-4D97-AF65-F5344CB8AC3E}">
        <p14:creationId xmlns:p14="http://schemas.microsoft.com/office/powerpoint/2010/main" val="333699814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1845693" y="484263"/>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3" name="Freeform 3"/>
          <p:cNvSpPr/>
          <p:nvPr/>
        </p:nvSpPr>
        <p:spPr>
          <a:xfrm>
            <a:off x="1845693" y="1550509"/>
            <a:ext cx="4030857" cy="685246"/>
          </a:xfrm>
          <a:custGeom>
            <a:avLst/>
            <a:gdLst/>
            <a:ahLst/>
            <a:cxnLst/>
            <a:rect l="l" t="t" r="r" b="b"/>
            <a:pathLst>
              <a:path w="6046286" h="1027869">
                <a:moveTo>
                  <a:pt x="0" y="0"/>
                </a:moveTo>
                <a:lnTo>
                  <a:pt x="6046286" y="0"/>
                </a:lnTo>
                <a:lnTo>
                  <a:pt x="6046286" y="1027868"/>
                </a:lnTo>
                <a:lnTo>
                  <a:pt x="0" y="1027868"/>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4" name="Freeform 4"/>
          <p:cNvSpPr/>
          <p:nvPr/>
        </p:nvSpPr>
        <p:spPr>
          <a:xfrm>
            <a:off x="1845693" y="2616754"/>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5" name="Freeform 5"/>
          <p:cNvSpPr/>
          <p:nvPr/>
        </p:nvSpPr>
        <p:spPr>
          <a:xfrm>
            <a:off x="1845693" y="3719974"/>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6" name="Freeform 6"/>
          <p:cNvSpPr/>
          <p:nvPr/>
        </p:nvSpPr>
        <p:spPr>
          <a:xfrm>
            <a:off x="1845693" y="4786220"/>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7" name="Freeform 7"/>
          <p:cNvSpPr/>
          <p:nvPr/>
        </p:nvSpPr>
        <p:spPr>
          <a:xfrm>
            <a:off x="4269331" y="1475298"/>
            <a:ext cx="1176995" cy="835667"/>
          </a:xfrm>
          <a:custGeom>
            <a:avLst/>
            <a:gdLst/>
            <a:ahLst/>
            <a:cxnLst/>
            <a:rect l="l" t="t" r="r" b="b"/>
            <a:pathLst>
              <a:path w="1765493" h="1253500">
                <a:moveTo>
                  <a:pt x="0" y="0"/>
                </a:moveTo>
                <a:lnTo>
                  <a:pt x="1765493" y="0"/>
                </a:lnTo>
                <a:lnTo>
                  <a:pt x="1765493" y="1253500"/>
                </a:lnTo>
                <a:lnTo>
                  <a:pt x="0" y="125350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8" name="Freeform 8"/>
          <p:cNvSpPr/>
          <p:nvPr/>
        </p:nvSpPr>
        <p:spPr>
          <a:xfrm>
            <a:off x="4435542" y="337989"/>
            <a:ext cx="844571" cy="977795"/>
          </a:xfrm>
          <a:custGeom>
            <a:avLst/>
            <a:gdLst/>
            <a:ahLst/>
            <a:cxnLst/>
            <a:rect l="l" t="t" r="r" b="b"/>
            <a:pathLst>
              <a:path w="1266856" h="1466693">
                <a:moveTo>
                  <a:pt x="0" y="0"/>
                </a:moveTo>
                <a:lnTo>
                  <a:pt x="1266857" y="0"/>
                </a:lnTo>
                <a:lnTo>
                  <a:pt x="1266857" y="1466693"/>
                </a:lnTo>
                <a:lnTo>
                  <a:pt x="0" y="1466693"/>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9" name="Freeform 9"/>
          <p:cNvSpPr/>
          <p:nvPr/>
        </p:nvSpPr>
        <p:spPr>
          <a:xfrm>
            <a:off x="4359071" y="2554817"/>
            <a:ext cx="997512" cy="874183"/>
          </a:xfrm>
          <a:custGeom>
            <a:avLst/>
            <a:gdLst/>
            <a:ahLst/>
            <a:cxnLst/>
            <a:rect l="l" t="t" r="r" b="b"/>
            <a:pathLst>
              <a:path w="1496268" h="1311275">
                <a:moveTo>
                  <a:pt x="0" y="0"/>
                </a:moveTo>
                <a:lnTo>
                  <a:pt x="1496269" y="0"/>
                </a:lnTo>
                <a:lnTo>
                  <a:pt x="1496269" y="1311275"/>
                </a:lnTo>
                <a:lnTo>
                  <a:pt x="0" y="1311275"/>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10" name="Freeform 10"/>
          <p:cNvSpPr/>
          <p:nvPr/>
        </p:nvSpPr>
        <p:spPr>
          <a:xfrm>
            <a:off x="4335393" y="3532928"/>
            <a:ext cx="1021191" cy="1080626"/>
          </a:xfrm>
          <a:custGeom>
            <a:avLst/>
            <a:gdLst/>
            <a:ahLst/>
            <a:cxnLst/>
            <a:rect l="l" t="t" r="r" b="b"/>
            <a:pathLst>
              <a:path w="1531787" h="1620939">
                <a:moveTo>
                  <a:pt x="0" y="0"/>
                </a:moveTo>
                <a:lnTo>
                  <a:pt x="1531787" y="0"/>
                </a:lnTo>
                <a:lnTo>
                  <a:pt x="1531787" y="1620939"/>
                </a:lnTo>
                <a:lnTo>
                  <a:pt x="0" y="1620939"/>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sp>
      <p:sp>
        <p:nvSpPr>
          <p:cNvPr id="11" name="Freeform 11"/>
          <p:cNvSpPr/>
          <p:nvPr/>
        </p:nvSpPr>
        <p:spPr>
          <a:xfrm>
            <a:off x="4437945" y="4715153"/>
            <a:ext cx="1008380" cy="1016000"/>
          </a:xfrm>
          <a:custGeom>
            <a:avLst/>
            <a:gdLst/>
            <a:ahLst/>
            <a:cxnLst/>
            <a:rect l="l" t="t" r="r" b="b"/>
            <a:pathLst>
              <a:path w="1512570" h="1524000">
                <a:moveTo>
                  <a:pt x="0" y="0"/>
                </a:moveTo>
                <a:lnTo>
                  <a:pt x="1512570" y="0"/>
                </a:lnTo>
                <a:lnTo>
                  <a:pt x="1512570" y="1524000"/>
                </a:lnTo>
                <a:lnTo>
                  <a:pt x="0" y="1524000"/>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sp>
      <p:sp>
        <p:nvSpPr>
          <p:cNvPr id="12" name="TextBox 12"/>
          <p:cNvSpPr txBox="1"/>
          <p:nvPr/>
        </p:nvSpPr>
        <p:spPr>
          <a:xfrm>
            <a:off x="2074739" y="618394"/>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1</a:t>
            </a:r>
          </a:p>
        </p:txBody>
      </p:sp>
      <p:sp>
        <p:nvSpPr>
          <p:cNvPr id="13" name="TextBox 13"/>
          <p:cNvSpPr txBox="1"/>
          <p:nvPr/>
        </p:nvSpPr>
        <p:spPr>
          <a:xfrm>
            <a:off x="2074739" y="1684639"/>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2</a:t>
            </a:r>
          </a:p>
        </p:txBody>
      </p:sp>
      <p:sp>
        <p:nvSpPr>
          <p:cNvPr id="14" name="TextBox 14"/>
          <p:cNvSpPr txBox="1"/>
          <p:nvPr/>
        </p:nvSpPr>
        <p:spPr>
          <a:xfrm>
            <a:off x="2074739" y="2750885"/>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3</a:t>
            </a:r>
          </a:p>
        </p:txBody>
      </p:sp>
      <p:sp>
        <p:nvSpPr>
          <p:cNvPr id="15" name="TextBox 15"/>
          <p:cNvSpPr txBox="1"/>
          <p:nvPr/>
        </p:nvSpPr>
        <p:spPr>
          <a:xfrm>
            <a:off x="6096000" y="711200"/>
            <a:ext cx="5573501" cy="337978"/>
          </a:xfrm>
          <a:prstGeom prst="rect">
            <a:avLst/>
          </a:prstGeom>
        </p:spPr>
        <p:txBody>
          <a:bodyPr lIns="0" tIns="0" rIns="0" bIns="0" rtlCol="0" anchor="t">
            <a:spAutoFit/>
          </a:bodyPr>
          <a:lstStyle/>
          <a:p>
            <a:pPr>
              <a:lnSpc>
                <a:spcPts val="2640"/>
              </a:lnSpc>
            </a:pPr>
            <a:r>
              <a:rPr lang="en-US" sz="2400">
                <a:solidFill>
                  <a:srgbClr val="545454"/>
                </a:solidFill>
                <a:latin typeface="DM Sans"/>
              </a:rPr>
              <a:t>Healthcare Professional Commitment</a:t>
            </a:r>
          </a:p>
        </p:txBody>
      </p:sp>
      <p:sp>
        <p:nvSpPr>
          <p:cNvPr id="16" name="TextBox 16"/>
          <p:cNvSpPr txBox="1"/>
          <p:nvPr/>
        </p:nvSpPr>
        <p:spPr>
          <a:xfrm>
            <a:off x="6096000" y="1727818"/>
            <a:ext cx="4569889" cy="362087"/>
          </a:xfrm>
          <a:prstGeom prst="rect">
            <a:avLst/>
          </a:prstGeom>
        </p:spPr>
        <p:txBody>
          <a:bodyPr lIns="0" tIns="0" rIns="0" bIns="0" rtlCol="0" anchor="t">
            <a:spAutoFit/>
          </a:bodyPr>
          <a:lstStyle/>
          <a:p>
            <a:pPr>
              <a:lnSpc>
                <a:spcPts val="2787"/>
              </a:lnSpc>
            </a:pPr>
            <a:r>
              <a:rPr lang="en-US" sz="2533">
                <a:solidFill>
                  <a:srgbClr val="545454"/>
                </a:solidFill>
                <a:latin typeface="DM Sans"/>
              </a:rPr>
              <a:t>Inclusive Clinical Environment</a:t>
            </a:r>
          </a:p>
        </p:txBody>
      </p:sp>
      <p:sp>
        <p:nvSpPr>
          <p:cNvPr id="17" name="TextBox 17"/>
          <p:cNvSpPr txBox="1"/>
          <p:nvPr/>
        </p:nvSpPr>
        <p:spPr>
          <a:xfrm>
            <a:off x="6096000" y="2825179"/>
            <a:ext cx="5573501" cy="337978"/>
          </a:xfrm>
          <a:prstGeom prst="rect">
            <a:avLst/>
          </a:prstGeom>
        </p:spPr>
        <p:txBody>
          <a:bodyPr lIns="0" tIns="0" rIns="0" bIns="0" rtlCol="0" anchor="t">
            <a:spAutoFit/>
          </a:bodyPr>
          <a:lstStyle/>
          <a:p>
            <a:pPr>
              <a:lnSpc>
                <a:spcPts val="2640"/>
              </a:lnSpc>
            </a:pPr>
            <a:r>
              <a:rPr lang="en-US" sz="2400">
                <a:solidFill>
                  <a:srgbClr val="545454"/>
                </a:solidFill>
                <a:latin typeface="DM Sans"/>
              </a:rPr>
              <a:t>Parents and Caregiver Empowerment</a:t>
            </a:r>
          </a:p>
        </p:txBody>
      </p:sp>
      <p:sp>
        <p:nvSpPr>
          <p:cNvPr id="18" name="TextBox 18"/>
          <p:cNvSpPr txBox="1"/>
          <p:nvPr/>
        </p:nvSpPr>
        <p:spPr>
          <a:xfrm>
            <a:off x="2074739" y="3854105"/>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4</a:t>
            </a:r>
          </a:p>
        </p:txBody>
      </p:sp>
      <p:sp>
        <p:nvSpPr>
          <p:cNvPr id="19" name="TextBox 19"/>
          <p:cNvSpPr txBox="1"/>
          <p:nvPr/>
        </p:nvSpPr>
        <p:spPr>
          <a:xfrm>
            <a:off x="2074739" y="4957670"/>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5</a:t>
            </a:r>
          </a:p>
        </p:txBody>
      </p:sp>
      <p:sp>
        <p:nvSpPr>
          <p:cNvPr id="20" name="TextBox 20"/>
          <p:cNvSpPr txBox="1"/>
          <p:nvPr/>
        </p:nvSpPr>
        <p:spPr>
          <a:xfrm>
            <a:off x="6096000" y="5000849"/>
            <a:ext cx="4569889" cy="362087"/>
          </a:xfrm>
          <a:prstGeom prst="rect">
            <a:avLst/>
          </a:prstGeom>
        </p:spPr>
        <p:txBody>
          <a:bodyPr lIns="0" tIns="0" rIns="0" bIns="0" rtlCol="0" anchor="t">
            <a:spAutoFit/>
          </a:bodyPr>
          <a:lstStyle/>
          <a:p>
            <a:pPr>
              <a:lnSpc>
                <a:spcPts val="2787"/>
              </a:lnSpc>
            </a:pPr>
            <a:r>
              <a:rPr lang="en-US" sz="2533">
                <a:solidFill>
                  <a:srgbClr val="545454"/>
                </a:solidFill>
                <a:latin typeface="DM Sans"/>
              </a:rPr>
              <a:t>Healthcare Data Utilization</a:t>
            </a:r>
          </a:p>
        </p:txBody>
      </p:sp>
      <p:sp>
        <p:nvSpPr>
          <p:cNvPr id="21" name="TextBox 21"/>
          <p:cNvSpPr txBox="1"/>
          <p:nvPr/>
        </p:nvSpPr>
        <p:spPr>
          <a:xfrm>
            <a:off x="6096000" y="3903413"/>
            <a:ext cx="4569889" cy="362087"/>
          </a:xfrm>
          <a:prstGeom prst="rect">
            <a:avLst/>
          </a:prstGeom>
        </p:spPr>
        <p:txBody>
          <a:bodyPr lIns="0" tIns="0" rIns="0" bIns="0" rtlCol="0" anchor="t">
            <a:spAutoFit/>
          </a:bodyPr>
          <a:lstStyle/>
          <a:p>
            <a:pPr>
              <a:lnSpc>
                <a:spcPts val="2787"/>
              </a:lnSpc>
            </a:pPr>
            <a:r>
              <a:rPr lang="en-US" sz="2533">
                <a:solidFill>
                  <a:srgbClr val="545454"/>
                </a:solidFill>
                <a:latin typeface="DM Sans"/>
              </a:rPr>
              <a:t>Community Partnerships</a:t>
            </a:r>
          </a:p>
        </p:txBody>
      </p:sp>
      <p:sp>
        <p:nvSpPr>
          <p:cNvPr id="23" name="Rounded Rectangle 6">
            <a:extLst>
              <a:ext uri="{FF2B5EF4-FFF2-40B4-BE49-F238E27FC236}">
                <a16:creationId xmlns:a16="http://schemas.microsoft.com/office/drawing/2014/main" id="{78B5A3B7-0107-74A6-42BE-EFADF14BEC3D}"/>
              </a:ext>
            </a:extLst>
          </p:cNvPr>
          <p:cNvSpPr/>
          <p:nvPr/>
        </p:nvSpPr>
        <p:spPr>
          <a:xfrm>
            <a:off x="1532596" y="170996"/>
            <a:ext cx="10059729" cy="5765369"/>
          </a:xfrm>
          <a:prstGeom prst="roundRect">
            <a:avLst/>
          </a:prstGeom>
          <a:noFill/>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endParaRPr lang="en-US" sz="1500">
              <a:ea typeface="Calibri"/>
              <a:cs typeface="Calibri"/>
            </a:endParaRPr>
          </a:p>
        </p:txBody>
      </p:sp>
      <p:pic>
        <p:nvPicPr>
          <p:cNvPr id="24" name="Picture 23" descr="A logo with a person in the middle&#10;&#10;Description automatically generated">
            <a:extLst>
              <a:ext uri="{FF2B5EF4-FFF2-40B4-BE49-F238E27FC236}">
                <a16:creationId xmlns:a16="http://schemas.microsoft.com/office/drawing/2014/main" id="{BB2CB55F-0790-7175-FF6E-777FF2A900CC}"/>
              </a:ext>
            </a:extLst>
          </p:cNvPr>
          <p:cNvPicPr>
            <a:picLocks noChangeAspect="1"/>
          </p:cNvPicPr>
          <p:nvPr/>
        </p:nvPicPr>
        <p:blipFill>
          <a:blip r:embed="rId16"/>
          <a:stretch>
            <a:fillRect/>
          </a:stretch>
        </p:blipFill>
        <p:spPr>
          <a:xfrm>
            <a:off x="138023" y="5872540"/>
            <a:ext cx="1939447" cy="886710"/>
          </a:xfrm>
          <a:prstGeom prst="rect">
            <a:avLst/>
          </a:prstGeom>
        </p:spPr>
      </p:pic>
    </p:spTree>
    <p:extLst>
      <p:ext uri="{BB962C8B-B14F-4D97-AF65-F5344CB8AC3E}">
        <p14:creationId xmlns:p14="http://schemas.microsoft.com/office/powerpoint/2010/main" val="2424722352"/>
      </p:ext>
    </p:extLst>
  </p:cSld>
  <p:clrMapOvr>
    <a:masterClrMapping/>
  </p:clrMapOvr>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descr="A person smiling at camera&#10;&#10;Description automatically generated">
            <a:extLst>
              <a:ext uri="{FF2B5EF4-FFF2-40B4-BE49-F238E27FC236}">
                <a16:creationId xmlns:a16="http://schemas.microsoft.com/office/drawing/2014/main" id="{816F29BE-5646-6BEF-B068-1BEC9474BEF9}"/>
              </a:ext>
            </a:extLst>
          </p:cNvPr>
          <p:cNvPicPr>
            <a:picLocks noChangeAspect="1"/>
          </p:cNvPicPr>
          <p:nvPr/>
        </p:nvPicPr>
        <p:blipFill rotWithShape="1">
          <a:blip r:embed="rId3"/>
          <a:srcRect l="24433" t="11085" r="18388" b="31840"/>
          <a:stretch/>
        </p:blipFill>
        <p:spPr>
          <a:xfrm>
            <a:off x="8326028" y="4201885"/>
            <a:ext cx="1763389" cy="1880602"/>
          </a:xfrm>
          <a:prstGeom prst="rect">
            <a:avLst/>
          </a:prstGeom>
        </p:spPr>
      </p:pic>
      <p:pic>
        <p:nvPicPr>
          <p:cNvPr id="28" name="Picture 27" descr="A person smiling at camera&#10;&#10;Description automatically generated">
            <a:extLst>
              <a:ext uri="{FF2B5EF4-FFF2-40B4-BE49-F238E27FC236}">
                <a16:creationId xmlns:a16="http://schemas.microsoft.com/office/drawing/2014/main" id="{B01FEAF7-46A7-FD13-104A-288A51AA2FB1}"/>
              </a:ext>
            </a:extLst>
          </p:cNvPr>
          <p:cNvPicPr>
            <a:picLocks noChangeAspect="1"/>
          </p:cNvPicPr>
          <p:nvPr/>
        </p:nvPicPr>
        <p:blipFill rotWithShape="1">
          <a:blip r:embed="rId4"/>
          <a:srcRect t="3571" r="8425" b="26376"/>
          <a:stretch/>
        </p:blipFill>
        <p:spPr>
          <a:xfrm>
            <a:off x="5210758" y="4198776"/>
            <a:ext cx="1771413" cy="2018583"/>
          </a:xfrm>
          <a:prstGeom prst="rect">
            <a:avLst/>
          </a:prstGeom>
        </p:spPr>
      </p:pic>
      <p:pic>
        <p:nvPicPr>
          <p:cNvPr id="25" name="Picture 24" descr="A person smiling at camera&#10;&#10;Description automatically generated">
            <a:extLst>
              <a:ext uri="{FF2B5EF4-FFF2-40B4-BE49-F238E27FC236}">
                <a16:creationId xmlns:a16="http://schemas.microsoft.com/office/drawing/2014/main" id="{89C82ACC-B53F-3EFC-F947-2650AE64367A}"/>
              </a:ext>
            </a:extLst>
          </p:cNvPr>
          <p:cNvPicPr>
            <a:picLocks noChangeAspect="1"/>
          </p:cNvPicPr>
          <p:nvPr/>
        </p:nvPicPr>
        <p:blipFill rotWithShape="1">
          <a:blip r:embed="rId5"/>
          <a:srcRect l="19547" t="9830" r="15297" b="44423"/>
          <a:stretch/>
        </p:blipFill>
        <p:spPr>
          <a:xfrm>
            <a:off x="9026543" y="1694434"/>
            <a:ext cx="1786674" cy="1882423"/>
          </a:xfrm>
          <a:prstGeom prst="rect">
            <a:avLst/>
          </a:prstGeom>
        </p:spPr>
      </p:pic>
      <p:pic>
        <p:nvPicPr>
          <p:cNvPr id="24" name="Picture 23" descr="A person in a suit and tie&#10;&#10;Description automatically generated">
            <a:extLst>
              <a:ext uri="{FF2B5EF4-FFF2-40B4-BE49-F238E27FC236}">
                <a16:creationId xmlns:a16="http://schemas.microsoft.com/office/drawing/2014/main" id="{E0470644-85B3-2014-9267-5A9785AA26B4}"/>
              </a:ext>
            </a:extLst>
          </p:cNvPr>
          <p:cNvPicPr>
            <a:picLocks noChangeAspect="1"/>
          </p:cNvPicPr>
          <p:nvPr/>
        </p:nvPicPr>
        <p:blipFill rotWithShape="1">
          <a:blip r:embed="rId6"/>
          <a:srcRect l="20397" t="8318" r="15014" b="45936"/>
          <a:stretch/>
        </p:blipFill>
        <p:spPr>
          <a:xfrm>
            <a:off x="6097707" y="1694434"/>
            <a:ext cx="1771829" cy="1882422"/>
          </a:xfrm>
          <a:prstGeom prst="rect">
            <a:avLst/>
          </a:prstGeom>
        </p:spPr>
      </p:pic>
      <p:pic>
        <p:nvPicPr>
          <p:cNvPr id="23" name="Picture 22" descr="A person smiling at camera&#10;&#10;Description automatically generated">
            <a:extLst>
              <a:ext uri="{FF2B5EF4-FFF2-40B4-BE49-F238E27FC236}">
                <a16:creationId xmlns:a16="http://schemas.microsoft.com/office/drawing/2014/main" id="{9DC5799B-1BE0-88E6-E13F-74F44D33C6A5}"/>
              </a:ext>
            </a:extLst>
          </p:cNvPr>
          <p:cNvPicPr>
            <a:picLocks noChangeAspect="1"/>
          </p:cNvPicPr>
          <p:nvPr/>
        </p:nvPicPr>
        <p:blipFill rotWithShape="1">
          <a:blip r:embed="rId7"/>
          <a:srcRect l="20000" t="6383" r="7619" b="42128"/>
          <a:stretch/>
        </p:blipFill>
        <p:spPr>
          <a:xfrm>
            <a:off x="3359336" y="1700342"/>
            <a:ext cx="1769329" cy="1883351"/>
          </a:xfrm>
          <a:prstGeom prst="rect">
            <a:avLst/>
          </a:prstGeom>
        </p:spPr>
      </p:pic>
      <p:pic>
        <p:nvPicPr>
          <p:cNvPr id="13" name="Picture 12" descr="A person smiling at camera&#10;&#10;Description automatically generated">
            <a:extLst>
              <a:ext uri="{FF2B5EF4-FFF2-40B4-BE49-F238E27FC236}">
                <a16:creationId xmlns:a16="http://schemas.microsoft.com/office/drawing/2014/main" id="{1D9001D2-2A81-500B-79D0-6652C6388C19}"/>
              </a:ext>
            </a:extLst>
          </p:cNvPr>
          <p:cNvPicPr>
            <a:picLocks noChangeAspect="1"/>
          </p:cNvPicPr>
          <p:nvPr/>
        </p:nvPicPr>
        <p:blipFill rotWithShape="1">
          <a:blip r:embed="rId8"/>
          <a:srcRect l="24650" t="6134" r="14846" b="47769"/>
          <a:stretch/>
        </p:blipFill>
        <p:spPr>
          <a:xfrm>
            <a:off x="455645" y="1682620"/>
            <a:ext cx="1683018" cy="1927867"/>
          </a:xfrm>
          <a:prstGeom prst="rect">
            <a:avLst/>
          </a:prstGeom>
        </p:spPr>
      </p:pic>
      <p:sp>
        <p:nvSpPr>
          <p:cNvPr id="15" name="Title 1"/>
          <p:cNvSpPr>
            <a:spLocks noGrp="1"/>
          </p:cNvSpPr>
          <p:nvPr>
            <p:ph type="title"/>
          </p:nvPr>
        </p:nvSpPr>
        <p:spPr>
          <a:xfrm>
            <a:off x="462124" y="210790"/>
            <a:ext cx="6257027" cy="1498091"/>
          </a:xfrm>
          <a:solidFill>
            <a:schemeClr val="bg1"/>
          </a:solidFill>
        </p:spPr>
        <p:txBody>
          <a:bodyPr/>
          <a:lstStyle/>
          <a:p>
            <a:r>
              <a:rPr lang="en-US">
                <a:ea typeface="Lato Medium"/>
                <a:cs typeface="Lato Medium"/>
              </a:rPr>
              <a:t>ILPQC Central Team</a:t>
            </a:r>
            <a:endParaRPr lang="en-US"/>
          </a:p>
        </p:txBody>
      </p:sp>
      <p:sp>
        <p:nvSpPr>
          <p:cNvPr id="10" name="Rectangle 9"/>
          <p:cNvSpPr/>
          <p:nvPr/>
        </p:nvSpPr>
        <p:spPr>
          <a:xfrm>
            <a:off x="88312" y="3426779"/>
            <a:ext cx="2409514"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panose="020B0604020202020204" pitchFamily="34" charset="0"/>
              </a:rPr>
              <a:t>Ann Borders, MD, MSc, MPH</a:t>
            </a:r>
            <a:r>
              <a:rPr lang="en-US" altLang="en-US" sz="1400">
                <a:solidFill>
                  <a:srgbClr val="444C55"/>
                </a:solidFill>
                <a:cs typeface="Arial" panose="020B0604020202020204" pitchFamily="34" charset="0"/>
              </a:rPr>
              <a:t>: Executive Director, OB Lead</a:t>
            </a:r>
            <a:endParaRPr lang="en-US"/>
          </a:p>
        </p:txBody>
      </p:sp>
      <p:sp>
        <p:nvSpPr>
          <p:cNvPr id="16" name="Rectangle 15"/>
          <p:cNvSpPr/>
          <p:nvPr/>
        </p:nvSpPr>
        <p:spPr>
          <a:xfrm>
            <a:off x="3304272" y="3432698"/>
            <a:ext cx="1877552"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panose="020B0604020202020204" pitchFamily="34" charset="0"/>
              </a:rPr>
              <a:t>Leslie  Caldarelli, MD</a:t>
            </a:r>
            <a:r>
              <a:rPr lang="en-US" altLang="en-US" sz="1400">
                <a:solidFill>
                  <a:srgbClr val="444C55"/>
                </a:solidFill>
                <a:cs typeface="Arial" panose="020B0604020202020204" pitchFamily="34" charset="0"/>
              </a:rPr>
              <a:t>: Neonatal Co-Lead</a:t>
            </a:r>
            <a:endParaRPr lang="en-US"/>
          </a:p>
        </p:txBody>
      </p:sp>
      <p:sp>
        <p:nvSpPr>
          <p:cNvPr id="17" name="Rectangle 16"/>
          <p:cNvSpPr/>
          <p:nvPr/>
        </p:nvSpPr>
        <p:spPr>
          <a:xfrm>
            <a:off x="8508270" y="3436054"/>
            <a:ext cx="2823002"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algn="ctr">
              <a:spcBef>
                <a:spcPct val="0"/>
              </a:spcBef>
              <a:defRPr/>
            </a:pPr>
            <a:r>
              <a:rPr lang="en-US" altLang="en-US" sz="1400" b="1">
                <a:solidFill>
                  <a:srgbClr val="004990"/>
                </a:solidFill>
                <a:cs typeface="Arial"/>
              </a:rPr>
              <a:t>Patricia Lee King, PhD, MSW</a:t>
            </a:r>
            <a:r>
              <a:rPr lang="en-US" altLang="en-US" sz="1400">
                <a:solidFill>
                  <a:srgbClr val="004990"/>
                </a:solidFill>
                <a:cs typeface="Arial"/>
              </a:rPr>
              <a:t>: </a:t>
            </a:r>
            <a:r>
              <a:rPr lang="en-US" altLang="en-US" sz="1400">
                <a:solidFill>
                  <a:srgbClr val="444C55"/>
                </a:solidFill>
                <a:cs typeface="Arial"/>
              </a:rPr>
              <a:t>State Project Director, Quality Lead</a:t>
            </a:r>
            <a:endParaRPr lang="en-US" altLang="en-US" sz="1400">
              <a:solidFill>
                <a:srgbClr val="444C55"/>
              </a:solidFill>
              <a:ea typeface="Calibri"/>
              <a:cs typeface="Arial"/>
            </a:endParaRPr>
          </a:p>
        </p:txBody>
      </p:sp>
      <p:sp>
        <p:nvSpPr>
          <p:cNvPr id="19" name="Rectangle 18"/>
          <p:cNvSpPr/>
          <p:nvPr/>
        </p:nvSpPr>
        <p:spPr>
          <a:xfrm>
            <a:off x="5981861" y="3432698"/>
            <a:ext cx="2006949"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panose="020B0604020202020204" pitchFamily="34" charset="0"/>
              </a:rPr>
              <a:t>Justin Josephsen, MD</a:t>
            </a:r>
            <a:r>
              <a:rPr lang="en-US" altLang="en-US" sz="1400">
                <a:solidFill>
                  <a:srgbClr val="444C55"/>
                </a:solidFill>
                <a:cs typeface="Arial" panose="020B0604020202020204" pitchFamily="34" charset="0"/>
              </a:rPr>
              <a:t>: Neonatal Co-Lead</a:t>
            </a:r>
            <a:endParaRPr lang="en-US"/>
          </a:p>
        </p:txBody>
      </p:sp>
      <p:sp>
        <p:nvSpPr>
          <p:cNvPr id="20" name="Rectangle 19"/>
          <p:cNvSpPr/>
          <p:nvPr/>
        </p:nvSpPr>
        <p:spPr>
          <a:xfrm>
            <a:off x="8121142" y="5936284"/>
            <a:ext cx="2165099"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a:rPr>
              <a:t>Aleena </a:t>
            </a:r>
            <a:r>
              <a:rPr lang="en-US" altLang="en-US" sz="1400" b="1" err="1">
                <a:solidFill>
                  <a:srgbClr val="004990"/>
                </a:solidFill>
                <a:cs typeface="Arial"/>
              </a:rPr>
              <a:t>Surenian</a:t>
            </a:r>
            <a:r>
              <a:rPr lang="en-US" altLang="en-US" sz="1400" b="1">
                <a:solidFill>
                  <a:srgbClr val="004990"/>
                </a:solidFill>
                <a:cs typeface="Arial"/>
              </a:rPr>
              <a:t>, MPH </a:t>
            </a:r>
            <a:r>
              <a:rPr lang="en-US" altLang="en-US" sz="1400">
                <a:solidFill>
                  <a:srgbClr val="444C55"/>
                </a:solidFill>
                <a:cs typeface="Arial"/>
              </a:rPr>
              <a:t>: Project Coordinator</a:t>
            </a:r>
            <a:endParaRPr lang="en-US">
              <a:cs typeface="Arial"/>
            </a:endParaRPr>
          </a:p>
        </p:txBody>
      </p:sp>
      <p:sp>
        <p:nvSpPr>
          <p:cNvPr id="21" name="Rectangle 20"/>
          <p:cNvSpPr/>
          <p:nvPr/>
        </p:nvSpPr>
        <p:spPr>
          <a:xfrm>
            <a:off x="1043534" y="5942306"/>
            <a:ext cx="3328714"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panose="020B0604020202020204" pitchFamily="34" charset="0"/>
              </a:rPr>
              <a:t>Alana Rivera, MSN, RNC-OB, C-EFM, CLC</a:t>
            </a:r>
            <a:r>
              <a:rPr lang="en-US" altLang="en-US" sz="1400">
                <a:solidFill>
                  <a:srgbClr val="444C55"/>
                </a:solidFill>
                <a:cs typeface="Arial" panose="020B0604020202020204" pitchFamily="34" charset="0"/>
              </a:rPr>
              <a:t>: </a:t>
            </a:r>
            <a:endParaRPr lang="en-US"/>
          </a:p>
          <a:p>
            <a:pPr lvl="0" algn="ctr">
              <a:spcBef>
                <a:spcPct val="0"/>
              </a:spcBef>
              <a:defRPr/>
            </a:pPr>
            <a:r>
              <a:rPr lang="en-US" altLang="en-US" sz="1400">
                <a:solidFill>
                  <a:srgbClr val="444C55"/>
                </a:solidFill>
                <a:cs typeface="Arial" panose="020B0604020202020204" pitchFamily="34" charset="0"/>
              </a:rPr>
              <a:t>Nurse Quality Manager</a:t>
            </a:r>
            <a:endParaRPr lang="en-US" altLang="en-US" sz="1400">
              <a:solidFill>
                <a:srgbClr val="444C55"/>
              </a:solidFill>
              <a:ea typeface="Calibri" panose="020F0502020204030204"/>
              <a:cs typeface="Arial" panose="020B0604020202020204" pitchFamily="34" charset="0"/>
            </a:endParaRPr>
          </a:p>
        </p:txBody>
      </p:sp>
      <p:sp>
        <p:nvSpPr>
          <p:cNvPr id="22" name="Rectangle 21"/>
          <p:cNvSpPr/>
          <p:nvPr/>
        </p:nvSpPr>
        <p:spPr>
          <a:xfrm>
            <a:off x="4871629" y="5936284"/>
            <a:ext cx="2455175"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panose="020B0604020202020204" pitchFamily="34" charset="0"/>
              </a:rPr>
              <a:t>Ellie Suse, MPH, BSN, RN</a:t>
            </a:r>
            <a:r>
              <a:rPr lang="en-US" altLang="en-US" sz="1400">
                <a:solidFill>
                  <a:srgbClr val="444C55"/>
                </a:solidFill>
                <a:cs typeface="Arial" panose="020B0604020202020204" pitchFamily="34" charset="0"/>
              </a:rPr>
              <a:t>: Project Manager</a:t>
            </a:r>
            <a:endParaRPr lang="en-US"/>
          </a:p>
        </p:txBody>
      </p:sp>
      <p:pic>
        <p:nvPicPr>
          <p:cNvPr id="27" name="Picture 26" descr="A person smiling at camera&#10;&#10;Description automatically generated">
            <a:extLst>
              <a:ext uri="{FF2B5EF4-FFF2-40B4-BE49-F238E27FC236}">
                <a16:creationId xmlns:a16="http://schemas.microsoft.com/office/drawing/2014/main" id="{36CBF34A-B0AF-1B25-2BEA-C6E65AED831F}"/>
              </a:ext>
            </a:extLst>
          </p:cNvPr>
          <p:cNvPicPr>
            <a:picLocks noChangeAspect="1"/>
          </p:cNvPicPr>
          <p:nvPr/>
        </p:nvPicPr>
        <p:blipFill rotWithShape="1">
          <a:blip r:embed="rId9"/>
          <a:srcRect l="472" t="1138" r="8950" b="39341"/>
          <a:stretch/>
        </p:blipFill>
        <p:spPr>
          <a:xfrm>
            <a:off x="1822216" y="4198702"/>
            <a:ext cx="1770692" cy="1738184"/>
          </a:xfrm>
          <a:prstGeom prst="rect">
            <a:avLst/>
          </a:prstGeom>
        </p:spPr>
      </p:pic>
    </p:spTree>
    <p:extLst>
      <p:ext uri="{BB962C8B-B14F-4D97-AF65-F5344CB8AC3E}">
        <p14:creationId xmlns:p14="http://schemas.microsoft.com/office/powerpoint/2010/main" val="373404261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0">
            <a:extLst>
              <a:ext uri="{FF2B5EF4-FFF2-40B4-BE49-F238E27FC236}">
                <a16:creationId xmlns:a16="http://schemas.microsoft.com/office/drawing/2014/main" id="{7517A47C-B2E5-4B79-8061-D74B1311A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3" name="Freeform: Shape 22">
            <a:extLst>
              <a:ext uri="{FF2B5EF4-FFF2-40B4-BE49-F238E27FC236}">
                <a16:creationId xmlns:a16="http://schemas.microsoft.com/office/drawing/2014/main" id="{C505E780-2083-4CB5-A42A-5E0E2908EC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818889" cy="6858000"/>
          </a:xfrm>
          <a:custGeom>
            <a:avLst/>
            <a:gdLst>
              <a:gd name="connsiteX0" fmla="*/ 0 w 4818889"/>
              <a:gd name="connsiteY0" fmla="*/ 0 h 6858000"/>
              <a:gd name="connsiteX1" fmla="*/ 3605911 w 4818889"/>
              <a:gd name="connsiteY1" fmla="*/ 0 h 6858000"/>
              <a:gd name="connsiteX2" fmla="*/ 3668894 w 4818889"/>
              <a:gd name="connsiteY2" fmla="*/ 69271 h 6858000"/>
              <a:gd name="connsiteX3" fmla="*/ 4818889 w 4818889"/>
              <a:gd name="connsiteY3" fmla="*/ 3429000 h 6858000"/>
              <a:gd name="connsiteX4" fmla="*/ 3668894 w 4818889"/>
              <a:gd name="connsiteY4" fmla="*/ 6788730 h 6858000"/>
              <a:gd name="connsiteX5" fmla="*/ 3605911 w 4818889"/>
              <a:gd name="connsiteY5" fmla="*/ 6858000 h 6858000"/>
              <a:gd name="connsiteX6" fmla="*/ 0 w 481888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8889" h="6858000">
                <a:moveTo>
                  <a:pt x="0" y="0"/>
                </a:moveTo>
                <a:lnTo>
                  <a:pt x="3605911" y="0"/>
                </a:lnTo>
                <a:lnTo>
                  <a:pt x="3668894" y="69271"/>
                </a:lnTo>
                <a:cubicBezTo>
                  <a:pt x="4379420" y="929100"/>
                  <a:pt x="4818889" y="2116944"/>
                  <a:pt x="4818889" y="3429000"/>
                </a:cubicBezTo>
                <a:cubicBezTo>
                  <a:pt x="4818889" y="4741056"/>
                  <a:pt x="4379420" y="5928900"/>
                  <a:pt x="3668894" y="6788730"/>
                </a:cubicBezTo>
                <a:lnTo>
                  <a:pt x="3605911"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25" name="Freeform: Shape 24">
            <a:extLst>
              <a:ext uri="{FF2B5EF4-FFF2-40B4-BE49-F238E27FC236}">
                <a16:creationId xmlns:a16="http://schemas.microsoft.com/office/drawing/2014/main" id="{D2C0AE1C-0118-41AE-8A10-7CDCBF10E9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811477" cy="6858000"/>
          </a:xfrm>
          <a:custGeom>
            <a:avLst/>
            <a:gdLst>
              <a:gd name="connsiteX0" fmla="*/ 0 w 4811477"/>
              <a:gd name="connsiteY0" fmla="*/ 0 h 6858000"/>
              <a:gd name="connsiteX1" fmla="*/ 3598499 w 4811477"/>
              <a:gd name="connsiteY1" fmla="*/ 0 h 6858000"/>
              <a:gd name="connsiteX2" fmla="*/ 3661482 w 4811477"/>
              <a:gd name="connsiteY2" fmla="*/ 69271 h 6858000"/>
              <a:gd name="connsiteX3" fmla="*/ 4811477 w 4811477"/>
              <a:gd name="connsiteY3" fmla="*/ 3429000 h 6858000"/>
              <a:gd name="connsiteX4" fmla="*/ 3661482 w 4811477"/>
              <a:gd name="connsiteY4" fmla="*/ 6788730 h 6858000"/>
              <a:gd name="connsiteX5" fmla="*/ 3598499 w 4811477"/>
              <a:gd name="connsiteY5" fmla="*/ 6858000 h 6858000"/>
              <a:gd name="connsiteX6" fmla="*/ 0 w 481147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1477" h="6858000">
                <a:moveTo>
                  <a:pt x="0" y="0"/>
                </a:moveTo>
                <a:lnTo>
                  <a:pt x="3598499" y="0"/>
                </a:lnTo>
                <a:lnTo>
                  <a:pt x="3661482" y="69271"/>
                </a:lnTo>
                <a:cubicBezTo>
                  <a:pt x="4372008" y="929100"/>
                  <a:pt x="4811477" y="2116944"/>
                  <a:pt x="4811477" y="3429000"/>
                </a:cubicBezTo>
                <a:cubicBezTo>
                  <a:pt x="4811477" y="4741056"/>
                  <a:pt x="4372008" y="5928900"/>
                  <a:pt x="3661482" y="6788730"/>
                </a:cubicBezTo>
                <a:lnTo>
                  <a:pt x="3598499"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621792" y="1161288"/>
            <a:ext cx="3602736" cy="4526280"/>
          </a:xfrm>
        </p:spPr>
        <p:txBody>
          <a:bodyPr>
            <a:normAutofit/>
          </a:bodyPr>
          <a:lstStyle/>
          <a:p>
            <a:r>
              <a:rPr lang="en-US" sz="4000"/>
              <a:t>ESSI 2024 Plan: Jan-June</a:t>
            </a:r>
          </a:p>
        </p:txBody>
      </p:sp>
      <p:sp>
        <p:nvSpPr>
          <p:cNvPr id="27" name="Rectangle 26">
            <a:extLst>
              <a:ext uri="{FF2B5EF4-FFF2-40B4-BE49-F238E27FC236}">
                <a16:creationId xmlns:a16="http://schemas.microsoft.com/office/drawing/2014/main" id="{463EEC44-1BA3-44ED-81FC-A644B04B2A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081528"/>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5" name="Footer Placeholder 4"/>
          <p:cNvSpPr>
            <a:spLocks noGrp="1"/>
          </p:cNvSpPr>
          <p:nvPr>
            <p:ph type="ftr" sz="quarter" idx="11"/>
          </p:nvPr>
        </p:nvSpPr>
        <p:spPr>
          <a:xfrm>
            <a:off x="4038600" y="6356350"/>
            <a:ext cx="4114800" cy="365125"/>
          </a:xfrm>
        </p:spPr>
        <p:txBody>
          <a:bodyPr>
            <a:normAutofit/>
          </a:bodyPr>
          <a:lstStyle/>
          <a:p>
            <a:pPr>
              <a:spcAft>
                <a:spcPts val="600"/>
              </a:spcAft>
            </a:pPr>
            <a:r>
              <a:rPr lang="en-US">
                <a:solidFill>
                  <a:schemeClr val="tx1">
                    <a:lumMod val="50000"/>
                    <a:lumOff val="50000"/>
                  </a:schemeClr>
                </a:solidFill>
              </a:rPr>
              <a:t>Illinois Perinatal Quality Collaborative</a:t>
            </a:r>
          </a:p>
        </p:txBody>
      </p:sp>
      <p:sp>
        <p:nvSpPr>
          <p:cNvPr id="4" name="Slide Number Placeholder 3"/>
          <p:cNvSpPr>
            <a:spLocks noGrp="1"/>
          </p:cNvSpPr>
          <p:nvPr>
            <p:ph type="sldNum" sz="quarter" idx="10"/>
          </p:nvPr>
        </p:nvSpPr>
        <p:spPr>
          <a:xfrm>
            <a:off x="8801100" y="6356350"/>
            <a:ext cx="2743200" cy="365125"/>
          </a:xfrm>
        </p:spPr>
        <p:txBody>
          <a:bodyPr>
            <a:normAutofit/>
          </a:bodyPr>
          <a:lstStyle/>
          <a:p>
            <a:pPr>
              <a:spcAft>
                <a:spcPts val="600"/>
              </a:spcAft>
            </a:pPr>
            <a:fld id="{97033E4B-E3EB-3D46-B2D8-3159663620FA}" type="slidenum">
              <a:rPr lang="en-US">
                <a:solidFill>
                  <a:schemeClr val="tx1">
                    <a:lumMod val="50000"/>
                    <a:lumOff val="50000"/>
                  </a:schemeClr>
                </a:solidFill>
              </a:rPr>
              <a:pPr>
                <a:spcAft>
                  <a:spcPts val="600"/>
                </a:spcAft>
              </a:pPr>
              <a:t>80</a:t>
            </a:fld>
            <a:endParaRPr lang="en-US">
              <a:solidFill>
                <a:schemeClr val="tx1">
                  <a:lumMod val="50000"/>
                  <a:lumOff val="50000"/>
                </a:schemeClr>
              </a:solidFill>
            </a:endParaRPr>
          </a:p>
        </p:txBody>
      </p:sp>
      <p:graphicFrame>
        <p:nvGraphicFramePr>
          <p:cNvPr id="17" name="Content Placeholder 2">
            <a:extLst>
              <a:ext uri="{FF2B5EF4-FFF2-40B4-BE49-F238E27FC236}">
                <a16:creationId xmlns:a16="http://schemas.microsoft.com/office/drawing/2014/main" id="{9B647FFD-DB92-0E72-0606-A89EC41A7F93}"/>
              </a:ext>
            </a:extLst>
          </p:cNvPr>
          <p:cNvGraphicFramePr/>
          <p:nvPr>
            <p:extLst>
              <p:ext uri="{D42A27DB-BD31-4B8C-83A1-F6EECF244321}">
                <p14:modId xmlns:p14="http://schemas.microsoft.com/office/powerpoint/2010/main" val="2350257911"/>
              </p:ext>
            </p:extLst>
          </p:nvPr>
        </p:nvGraphicFramePr>
        <p:xfrm>
          <a:off x="4713239" y="676656"/>
          <a:ext cx="7351603" cy="55138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6332296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chemeClr val="bg2">
            <a:alpha val="35000"/>
          </a:schemeClr>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5278130-DFE0-457B-8698-88DF69019D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3" name="Rectangle 12">
            <a:extLst>
              <a:ext uri="{FF2B5EF4-FFF2-40B4-BE49-F238E27FC236}">
                <a16:creationId xmlns:a16="http://schemas.microsoft.com/office/drawing/2014/main" id="{2F99531B-1681-4D6E-BECB-18325B33A6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5" name="Rectangle 14">
            <a:extLst>
              <a:ext uri="{FF2B5EF4-FFF2-40B4-BE49-F238E27FC236}">
                <a16:creationId xmlns:a16="http://schemas.microsoft.com/office/drawing/2014/main" id="{20344094-430A-400B-804B-910E696A1A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78324" y="709375"/>
            <a:ext cx="10713676" cy="5433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53C67DF-7782-4E57-AB9B-F1B4811AD8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43451" y="1248213"/>
            <a:ext cx="5413238" cy="4326335"/>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CC4529-5171-41EF-E242-F4836E180A4C}"/>
              </a:ext>
            </a:extLst>
          </p:cNvPr>
          <p:cNvSpPr>
            <a:spLocks noGrp="1"/>
          </p:cNvSpPr>
          <p:nvPr>
            <p:ph type="title"/>
          </p:nvPr>
        </p:nvSpPr>
        <p:spPr>
          <a:xfrm>
            <a:off x="504967" y="675564"/>
            <a:ext cx="3609833" cy="5204085"/>
          </a:xfrm>
        </p:spPr>
        <p:txBody>
          <a:bodyPr>
            <a:normAutofit/>
          </a:bodyPr>
          <a:lstStyle/>
          <a:p>
            <a:r>
              <a:rPr lang="en-US" dirty="0">
                <a:ea typeface="Lato Medium"/>
                <a:cs typeface="Lato Medium"/>
              </a:rPr>
              <a:t>What should my ESSI team be working on now?</a:t>
            </a:r>
            <a:endParaRPr lang="en-US" dirty="0"/>
          </a:p>
        </p:txBody>
      </p:sp>
      <p:cxnSp>
        <p:nvCxnSpPr>
          <p:cNvPr id="19" name="Straight Connector 18">
            <a:extLst>
              <a:ext uri="{FF2B5EF4-FFF2-40B4-BE49-F238E27FC236}">
                <a16:creationId xmlns:a16="http://schemas.microsoft.com/office/drawing/2014/main" id="{B03A5AE3-BD30-455C-842B-7626C8BEF09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11365990" y="5610"/>
            <a:ext cx="0" cy="685800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B7FB3513-4113-97AC-358F-AD6038A13085}"/>
              </a:ext>
            </a:extLst>
          </p:cNvPr>
          <p:cNvSpPr>
            <a:spLocks noGrp="1"/>
          </p:cNvSpPr>
          <p:nvPr>
            <p:ph type="sldNum" sz="quarter" idx="10"/>
          </p:nvPr>
        </p:nvSpPr>
        <p:spPr>
          <a:xfrm>
            <a:off x="11380641" y="0"/>
            <a:ext cx="811359" cy="704762"/>
          </a:xfrm>
        </p:spPr>
        <p:txBody>
          <a:bodyPr>
            <a:normAutofit/>
          </a:bodyPr>
          <a:lstStyle/>
          <a:p>
            <a:pPr algn="ctr">
              <a:spcAft>
                <a:spcPts val="600"/>
              </a:spcAft>
            </a:pPr>
            <a:fld id="{97033E4B-E3EB-3D46-B2D8-3159663620FA}" type="slidenum">
              <a:rPr lang="en-US" smtClean="0"/>
              <a:pPr algn="ctr">
                <a:spcAft>
                  <a:spcPts val="600"/>
                </a:spcAft>
              </a:pPr>
              <a:t>81</a:t>
            </a:fld>
            <a:endParaRPr lang="en-US"/>
          </a:p>
        </p:txBody>
      </p:sp>
      <p:cxnSp>
        <p:nvCxnSpPr>
          <p:cNvPr id="21" name="Straight Connector 20">
            <a:extLst>
              <a:ext uri="{FF2B5EF4-FFF2-40B4-BE49-F238E27FC236}">
                <a16:creationId xmlns:a16="http://schemas.microsoft.com/office/drawing/2014/main" id="{2DBECAA5-1F2D-470D-875C-8F2C2CA3E5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18001"/>
            <a:ext cx="12192000" cy="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100B16C8-06BE-BEDF-FCE3-9542B0274043}"/>
              </a:ext>
            </a:extLst>
          </p:cNvPr>
          <p:cNvSpPr>
            <a:spLocks noGrp="1"/>
          </p:cNvSpPr>
          <p:nvPr>
            <p:ph type="ftr" sz="quarter" idx="11"/>
          </p:nvPr>
        </p:nvSpPr>
        <p:spPr>
          <a:xfrm>
            <a:off x="6828293" y="6134382"/>
            <a:ext cx="4114800" cy="723618"/>
          </a:xfrm>
        </p:spPr>
        <p:txBody>
          <a:bodyPr>
            <a:normAutofit/>
          </a:bodyPr>
          <a:lstStyle/>
          <a:p>
            <a:pPr algn="r">
              <a:spcAft>
                <a:spcPts val="600"/>
              </a:spcAft>
            </a:pPr>
            <a:r>
              <a:rPr lang="en-US"/>
              <a:t>Illinois Perinatal Quality Collaborative</a:t>
            </a:r>
          </a:p>
        </p:txBody>
      </p:sp>
      <p:graphicFrame>
        <p:nvGraphicFramePr>
          <p:cNvPr id="7" name="Content Placeholder 2">
            <a:extLst>
              <a:ext uri="{FF2B5EF4-FFF2-40B4-BE49-F238E27FC236}">
                <a16:creationId xmlns:a16="http://schemas.microsoft.com/office/drawing/2014/main" id="{7A2359A2-13A0-13F8-9703-E546D92B0B98}"/>
              </a:ext>
            </a:extLst>
          </p:cNvPr>
          <p:cNvGraphicFramePr>
            <a:graphicFrameLocks noGrp="1"/>
          </p:cNvGraphicFramePr>
          <p:nvPr>
            <p:ph idx="1"/>
            <p:extLst>
              <p:ext uri="{D42A27DB-BD31-4B8C-83A1-F6EECF244321}">
                <p14:modId xmlns:p14="http://schemas.microsoft.com/office/powerpoint/2010/main" val="1988747647"/>
              </p:ext>
            </p:extLst>
          </p:nvPr>
        </p:nvGraphicFramePr>
        <p:xfrm>
          <a:off x="4776730" y="819369"/>
          <a:ext cx="6589260" cy="52439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1101911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Question mark on green pastel background">
            <a:extLst>
              <a:ext uri="{FF2B5EF4-FFF2-40B4-BE49-F238E27FC236}">
                <a16:creationId xmlns:a16="http://schemas.microsoft.com/office/drawing/2014/main" id="{3A359654-A2A5-BB69-5A24-18BCC5C338AC}"/>
              </a:ext>
            </a:extLst>
          </p:cNvPr>
          <p:cNvPicPr>
            <a:picLocks noChangeAspect="1"/>
          </p:cNvPicPr>
          <p:nvPr/>
        </p:nvPicPr>
        <p:blipFill rotWithShape="1">
          <a:blip r:embed="rId2"/>
          <a:srcRect l="13819" t="218" r="-7" b="8867"/>
          <a:stretch/>
        </p:blipFill>
        <p:spPr>
          <a:xfrm>
            <a:off x="3523488" y="10"/>
            <a:ext cx="8668512" cy="6857990"/>
          </a:xfrm>
          <a:prstGeom prst="rect">
            <a:avLst/>
          </a:prstGeom>
        </p:spPr>
      </p:pic>
      <p:sp>
        <p:nvSpPr>
          <p:cNvPr id="13" name="Rectangle 12">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tx1"/>
              </a:gs>
              <a:gs pos="33000">
                <a:schemeClr val="tx1">
                  <a:alpha val="64000"/>
                </a:schemeClr>
              </a:gs>
              <a:gs pos="0">
                <a:schemeClr val="tx1">
                  <a:alpha val="0"/>
                </a:schemeClr>
              </a:gs>
              <a:gs pos="100000">
                <a:schemeClr val="tx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4A8D5212-512B-94C8-CCF1-6B6881A37D96}"/>
              </a:ext>
            </a:extLst>
          </p:cNvPr>
          <p:cNvSpPr>
            <a:spLocks noGrp="1"/>
          </p:cNvSpPr>
          <p:nvPr>
            <p:ph type="title"/>
          </p:nvPr>
        </p:nvSpPr>
        <p:spPr>
          <a:xfrm>
            <a:off x="770255" y="1404199"/>
            <a:ext cx="6079716" cy="3204134"/>
          </a:xfrm>
        </p:spPr>
        <p:txBody>
          <a:bodyPr vert="horz" lIns="91440" tIns="45720" rIns="91440" bIns="45720" rtlCol="0" anchor="b">
            <a:normAutofit/>
          </a:bodyPr>
          <a:lstStyle/>
          <a:p>
            <a:pPr algn="ctr">
              <a:lnSpc>
                <a:spcPct val="90000"/>
              </a:lnSpc>
            </a:pPr>
            <a:r>
              <a:rPr lang="en-US" sz="6600" dirty="0">
                <a:solidFill>
                  <a:schemeClr val="bg1"/>
                </a:solidFill>
                <a:ea typeface="+mj-ea"/>
                <a:cs typeface="+mj-cs"/>
              </a:rPr>
              <a:t>Q&amp;A</a:t>
            </a:r>
            <a:br>
              <a:rPr lang="en-US" sz="4800" dirty="0">
                <a:solidFill>
                  <a:schemeClr val="bg1"/>
                </a:solidFill>
                <a:ea typeface="+mj-ea"/>
                <a:cs typeface="Calibri"/>
              </a:rPr>
            </a:br>
            <a:br>
              <a:rPr lang="en-US" sz="4800" dirty="0">
                <a:solidFill>
                  <a:schemeClr val="bg1"/>
                </a:solidFill>
                <a:ea typeface="+mj-ea"/>
                <a:cs typeface="Calibri"/>
              </a:rPr>
            </a:br>
            <a:r>
              <a:rPr lang="en-US" sz="4000" dirty="0">
                <a:solidFill>
                  <a:schemeClr val="bg1"/>
                </a:solidFill>
                <a:ea typeface="+mj-ea"/>
                <a:cs typeface="Calibri"/>
              </a:rPr>
              <a:t>Come off mute or put your questions in the chat!</a:t>
            </a:r>
          </a:p>
        </p:txBody>
      </p:sp>
      <p:sp>
        <p:nvSpPr>
          <p:cNvPr id="15" name="Rectangle 14">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7" name="Rectangle 16">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D7979332-6D70-E77E-398C-79FEE378C255}"/>
              </a:ext>
            </a:extLst>
          </p:cNvPr>
          <p:cNvSpPr>
            <a:spLocks noGrp="1"/>
          </p:cNvSpPr>
          <p:nvPr>
            <p:ph type="ftr" sz="quarter" idx="11"/>
          </p:nvPr>
        </p:nvSpPr>
        <p:spPr>
          <a:xfrm>
            <a:off x="1692321" y="6356350"/>
            <a:ext cx="2809017" cy="365125"/>
          </a:xfrm>
        </p:spPr>
        <p:txBody>
          <a:bodyPr vert="horz" lIns="91440" tIns="45720" rIns="91440" bIns="45720" rtlCol="0" anchor="ctr">
            <a:normAutofit/>
          </a:bodyPr>
          <a:lstStyle/>
          <a:p>
            <a:pPr algn="r">
              <a:spcAft>
                <a:spcPts val="600"/>
              </a:spcAft>
              <a:defRPr/>
            </a:pPr>
            <a:r>
              <a:rPr lang="en-US" kern="1200">
                <a:solidFill>
                  <a:schemeClr val="bg1"/>
                </a:solidFill>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8DB75264-273F-4605-2A91-81ECE1A7E3C2}"/>
              </a:ext>
            </a:extLst>
          </p:cNvPr>
          <p:cNvSpPr>
            <a:spLocks noGrp="1"/>
          </p:cNvSpPr>
          <p:nvPr>
            <p:ph type="sldNum" sz="quarter" idx="10"/>
          </p:nvPr>
        </p:nvSpPr>
        <p:spPr>
          <a:xfrm>
            <a:off x="8970819" y="6356350"/>
            <a:ext cx="2743200" cy="365125"/>
          </a:xfrm>
        </p:spPr>
        <p:txBody>
          <a:bodyPr vert="horz" lIns="91440" tIns="45720" rIns="91440" bIns="45720" rtlCol="0" anchor="ctr">
            <a:normAutofit/>
          </a:bodyPr>
          <a:lstStyle/>
          <a:p>
            <a:pPr>
              <a:spcAft>
                <a:spcPts val="600"/>
              </a:spcAft>
              <a:defRPr/>
            </a:pPr>
            <a:fld id="{97033E4B-E3EB-3D46-B2D8-3159663620FA}" type="slidenum">
              <a:rPr lang="en-US">
                <a:solidFill>
                  <a:schemeClr val="bg1"/>
                </a:solidFill>
                <a:latin typeface="Calibri" panose="020F0502020204030204"/>
              </a:rPr>
              <a:pPr>
                <a:spcAft>
                  <a:spcPts val="600"/>
                </a:spcAft>
                <a:defRPr/>
              </a:pPr>
              <a:t>82</a:t>
            </a:fld>
            <a:endParaRPr lang="en-US">
              <a:solidFill>
                <a:schemeClr val="bg1"/>
              </a:solidFill>
              <a:latin typeface="Calibri" panose="020F0502020204030204"/>
            </a:endParaRPr>
          </a:p>
        </p:txBody>
      </p:sp>
    </p:spTree>
    <p:extLst>
      <p:ext uri="{BB962C8B-B14F-4D97-AF65-F5344CB8AC3E}">
        <p14:creationId xmlns:p14="http://schemas.microsoft.com/office/powerpoint/2010/main" val="112389629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6" descr="Thank you note with a cup of coffee - ID: 107004">
            <a:extLst>
              <a:ext uri="{FF2B5EF4-FFF2-40B4-BE49-F238E27FC236}">
                <a16:creationId xmlns:a16="http://schemas.microsoft.com/office/drawing/2014/main" id="{21843B6A-1BD6-63DD-2D2F-94757F0C11B1}"/>
              </a:ext>
            </a:extLst>
          </p:cNvPr>
          <p:cNvPicPr>
            <a:picLocks noChangeAspect="1"/>
          </p:cNvPicPr>
          <p:nvPr/>
        </p:nvPicPr>
        <p:blipFill rotWithShape="1">
          <a:blip r:embed="rId2"/>
          <a:srcRect b="2609"/>
          <a:stretch/>
        </p:blipFill>
        <p:spPr>
          <a:xfrm>
            <a:off x="20" y="10"/>
            <a:ext cx="12191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3" name="Content Placeholder 2">
            <a:extLst>
              <a:ext uri="{FF2B5EF4-FFF2-40B4-BE49-F238E27FC236}">
                <a16:creationId xmlns:a16="http://schemas.microsoft.com/office/drawing/2014/main" id="{1E0FB995-5DD8-5081-A69E-96B5869B0012}"/>
              </a:ext>
            </a:extLst>
          </p:cNvPr>
          <p:cNvSpPr>
            <a:spLocks noGrp="1"/>
          </p:cNvSpPr>
          <p:nvPr>
            <p:ph idx="1"/>
          </p:nvPr>
        </p:nvSpPr>
        <p:spPr>
          <a:xfrm>
            <a:off x="747358" y="3967163"/>
            <a:ext cx="10962037" cy="2476499"/>
          </a:xfrm>
        </p:spPr>
        <p:txBody>
          <a:bodyPr vert="horz" lIns="91440" tIns="45720" rIns="91440" bIns="45720" rtlCol="0" anchor="ctr">
            <a:normAutofit/>
          </a:bodyPr>
          <a:lstStyle/>
          <a:p>
            <a:pPr marL="0" indent="0" algn="ctr">
              <a:buNone/>
            </a:pPr>
            <a:r>
              <a:rPr lang="en-US" sz="3200" b="1">
                <a:solidFill>
                  <a:schemeClr val="accent1"/>
                </a:solidFill>
                <a:ea typeface="Lato"/>
                <a:cs typeface="Calibri"/>
              </a:rPr>
              <a:t>We look forward to continuing this great work together in 2024 and thank you for your continued support and dedication to make Illinois the best place to give birth and be born! </a:t>
            </a:r>
            <a:endParaRPr lang="en-US">
              <a:solidFill>
                <a:schemeClr val="accent1"/>
              </a:solidFill>
            </a:endParaRPr>
          </a:p>
          <a:p>
            <a:pPr marL="0" indent="0">
              <a:buNone/>
            </a:pPr>
            <a:endParaRPr lang="en-US"/>
          </a:p>
        </p:txBody>
      </p:sp>
      <p:sp>
        <p:nvSpPr>
          <p:cNvPr id="5" name="Footer Placeholder 4">
            <a:extLst>
              <a:ext uri="{FF2B5EF4-FFF2-40B4-BE49-F238E27FC236}">
                <a16:creationId xmlns:a16="http://schemas.microsoft.com/office/drawing/2014/main" id="{38CD5E16-C217-E2C5-E58E-C7C2C28FA242}"/>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solidFill>
                  <a:schemeClr val="tx1">
                    <a:lumMod val="75000"/>
                    <a:lumOff val="25000"/>
                  </a:schemeClr>
                </a:solidFill>
              </a:rPr>
              <a:t>Illinois Perinatal Quality Collaborative</a:t>
            </a:r>
          </a:p>
        </p:txBody>
      </p:sp>
      <p:sp>
        <p:nvSpPr>
          <p:cNvPr id="4" name="Slide Number Placeholder 3">
            <a:extLst>
              <a:ext uri="{FF2B5EF4-FFF2-40B4-BE49-F238E27FC236}">
                <a16:creationId xmlns:a16="http://schemas.microsoft.com/office/drawing/2014/main" id="{97BA95EB-6423-FFF2-5F25-1FA3A8D2E08A}"/>
              </a:ext>
            </a:extLst>
          </p:cNvPr>
          <p:cNvSpPr>
            <a:spLocks noGrp="1"/>
          </p:cNvSpPr>
          <p:nvPr>
            <p:ph type="sldNum" sz="quarter" idx="10"/>
          </p:nvPr>
        </p:nvSpPr>
        <p:spPr>
          <a:xfrm>
            <a:off x="8864600" y="6356350"/>
            <a:ext cx="2743200" cy="365125"/>
          </a:xfrm>
        </p:spPr>
        <p:txBody>
          <a:bodyPr>
            <a:normAutofit/>
          </a:bodyPr>
          <a:lstStyle/>
          <a:p>
            <a:pPr>
              <a:spcAft>
                <a:spcPts val="600"/>
              </a:spcAft>
            </a:pPr>
            <a:fld id="{97033E4B-E3EB-3D46-B2D8-3159663620FA}" type="slidenum">
              <a:rPr lang="en-US">
                <a:solidFill>
                  <a:schemeClr val="tx1">
                    <a:lumMod val="75000"/>
                    <a:lumOff val="25000"/>
                  </a:schemeClr>
                </a:solidFill>
              </a:rPr>
              <a:pPr>
                <a:spcAft>
                  <a:spcPts val="600"/>
                </a:spcAft>
              </a:pPr>
              <a:t>83</a:t>
            </a:fld>
            <a:endParaRPr lang="en-US">
              <a:solidFill>
                <a:schemeClr val="tx1">
                  <a:lumMod val="75000"/>
                  <a:lumOff val="25000"/>
                </a:schemeClr>
              </a:solidFill>
            </a:endParaRPr>
          </a:p>
        </p:txBody>
      </p:sp>
    </p:spTree>
    <p:extLst>
      <p:ext uri="{BB962C8B-B14F-4D97-AF65-F5344CB8AC3E}">
        <p14:creationId xmlns:p14="http://schemas.microsoft.com/office/powerpoint/2010/main" val="20869397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871"/>
        <p:cNvGrpSpPr/>
        <p:nvPr/>
      </p:nvGrpSpPr>
      <p:grpSpPr>
        <a:xfrm>
          <a:off x="0" y="0"/>
          <a:ext cx="0" cy="0"/>
          <a:chOff x="0" y="0"/>
          <a:chExt cx="0" cy="0"/>
        </a:xfrm>
      </p:grpSpPr>
      <p:sp>
        <p:nvSpPr>
          <p:cNvPr id="3872" name="Google Shape;3872;p416"/>
          <p:cNvSpPr/>
          <p:nvPr/>
        </p:nvSpPr>
        <p:spPr>
          <a:xfrm>
            <a:off x="0" y="0"/>
            <a:ext cx="12188952"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873" name="Google Shape;3873;p416" descr="Diagram&#10;&#10;Description automatically generated"/>
          <p:cNvPicPr preferRelativeResize="0"/>
          <p:nvPr/>
        </p:nvPicPr>
        <p:blipFill rotWithShape="1">
          <a:blip r:embed="rId3">
            <a:alphaModFix/>
          </a:blip>
          <a:srcRect/>
          <a:stretch/>
        </p:blipFill>
        <p:spPr>
          <a:xfrm>
            <a:off x="156345" y="5127"/>
            <a:ext cx="11629279" cy="6543684"/>
          </a:xfrm>
          <a:prstGeom prst="rect">
            <a:avLst/>
          </a:prstGeom>
          <a:noFill/>
          <a:ln>
            <a:noFill/>
          </a:ln>
        </p:spPr>
      </p:pic>
      <p:sp>
        <p:nvSpPr>
          <p:cNvPr id="3874" name="Google Shape;3874;p416"/>
          <p:cNvSpPr txBox="1">
            <a:spLocks noGrp="1"/>
          </p:cNvSpPr>
          <p:nvPr>
            <p:ph type="title"/>
          </p:nvPr>
        </p:nvSpPr>
        <p:spPr>
          <a:xfrm>
            <a:off x="2462841" y="5662578"/>
            <a:ext cx="10515600" cy="150588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5200"/>
              <a:buFont typeface="Calibri"/>
              <a:buNone/>
            </a:pPr>
            <a:r>
              <a:rPr lang="en-US" sz="5200">
                <a:solidFill>
                  <a:schemeClr val="dk1"/>
                </a:solidFill>
                <a:latin typeface="Calibri"/>
                <a:ea typeface="Calibri"/>
                <a:cs typeface="Calibri"/>
                <a:sym typeface="Calibri"/>
              </a:rPr>
              <a:t>Together, WE ARE ILPQC!</a:t>
            </a:r>
            <a:endParaRPr/>
          </a:p>
        </p:txBody>
      </p:sp>
      <p:sp>
        <p:nvSpPr>
          <p:cNvPr id="3875" name="Google Shape;3875;p41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rmAutofit/>
          </a:bodyPr>
          <a:lstStyle/>
          <a:p>
            <a:pPr marL="0" lvl="0" indent="0" algn="r" rtl="0">
              <a:spcBef>
                <a:spcPts val="0"/>
              </a:spcBef>
              <a:spcAft>
                <a:spcPts val="0"/>
              </a:spcAft>
              <a:buNone/>
            </a:pPr>
            <a:fld id="{00000000-1234-1234-1234-123412341234}" type="slidenum">
              <a:rPr lang="en-US"/>
              <a:t>9</a:t>
            </a:fld>
            <a:endParaRPr/>
          </a:p>
        </p:txBody>
      </p:sp>
    </p:spTree>
    <p:extLst>
      <p:ext uri="{BB962C8B-B14F-4D97-AF65-F5344CB8AC3E}">
        <p14:creationId xmlns:p14="http://schemas.microsoft.com/office/powerpoint/2010/main" val="7684177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427</TotalTime>
  <Words>8249</Words>
  <Application>Microsoft Office PowerPoint</Application>
  <PresentationFormat>Widescreen</PresentationFormat>
  <Paragraphs>1192</Paragraphs>
  <Slides>83</Slides>
  <Notes>49</Notes>
  <HiddenSlides>0</HiddenSlides>
  <MMClips>0</MMClips>
  <ScaleCrop>false</ScaleCrop>
  <HeadingPairs>
    <vt:vector size="4" baseType="variant">
      <vt:variant>
        <vt:lpstr>Theme</vt:lpstr>
      </vt:variant>
      <vt:variant>
        <vt:i4>4</vt:i4>
      </vt:variant>
      <vt:variant>
        <vt:lpstr>Slide Titles</vt:lpstr>
      </vt:variant>
      <vt:variant>
        <vt:i4>83</vt:i4>
      </vt:variant>
    </vt:vector>
  </HeadingPairs>
  <TitlesOfParts>
    <vt:vector size="87" baseType="lpstr">
      <vt:lpstr>1_Office Theme</vt:lpstr>
      <vt:lpstr>Office Theme</vt:lpstr>
      <vt:lpstr>3_Office Theme</vt:lpstr>
      <vt:lpstr>2_Office Theme</vt:lpstr>
      <vt:lpstr>Equity and Safe Sleep for Infants: ESSI Initiative  Launch Call </vt:lpstr>
      <vt:lpstr>Neonatal Breakout Overview</vt:lpstr>
      <vt:lpstr>ILPQC Background</vt:lpstr>
      <vt:lpstr>Perinatal Quality Collaboratives</vt:lpstr>
      <vt:lpstr>PQCs Across the Country</vt:lpstr>
      <vt:lpstr>PowerPoint Presentation</vt:lpstr>
      <vt:lpstr>Illinois Perinatal Quality Collaborative (ILPQC) </vt:lpstr>
      <vt:lpstr>ILPQC Central Team</vt:lpstr>
      <vt:lpstr>Together, WE ARE ILPQC!</vt:lpstr>
      <vt:lpstr>PowerPoint Presentation</vt:lpstr>
      <vt:lpstr>ILPQC helps make change happen</vt:lpstr>
      <vt:lpstr>ILPQC Initiatives &amp; Hospital Engagement</vt:lpstr>
      <vt:lpstr>ILPQC initiative support</vt:lpstr>
      <vt:lpstr>ESSI - Defining the Problem</vt:lpstr>
      <vt:lpstr>Defining the Problem</vt:lpstr>
      <vt:lpstr>Defining the Problem</vt:lpstr>
      <vt:lpstr>PowerPoint Presentation</vt:lpstr>
      <vt:lpstr>IDPH Infant Mortality Report</vt:lpstr>
      <vt:lpstr>Putting it Together</vt:lpstr>
      <vt:lpstr>ESSI - Equity and Safe Sleep for Infants  </vt:lpstr>
      <vt:lpstr>ESSI Initiative Vision</vt:lpstr>
      <vt:lpstr>ESSI Initiative Aims</vt:lpstr>
      <vt:lpstr>ESSI Initiative Timeline</vt:lpstr>
      <vt:lpstr>A Collaborative Effort to Build ESSI</vt:lpstr>
      <vt:lpstr>Building ESSI Together</vt:lpstr>
      <vt:lpstr>ESSI Key Driver Diagram</vt:lpstr>
      <vt:lpstr>PowerPoint Presentation</vt:lpstr>
      <vt:lpstr>Key Driver Diagram</vt:lpstr>
      <vt:lpstr>PowerPoint Presentation</vt:lpstr>
      <vt:lpstr>PowerPoint Presentation</vt:lpstr>
      <vt:lpstr>PowerPoint Presentation</vt:lpstr>
      <vt:lpstr>PowerPoint Presentation</vt:lpstr>
      <vt:lpstr>PowerPoint Presentation</vt:lpstr>
      <vt:lpstr>PowerPoint Presentation</vt:lpstr>
      <vt:lpstr>ESSI Readiness Survey</vt:lpstr>
      <vt:lpstr>ESSI Readiness Survey</vt:lpstr>
      <vt:lpstr>Nursing Education:  Top 5 Safe Sleep Educational Content</vt:lpstr>
      <vt:lpstr>Nursing Education:  Current Content</vt:lpstr>
      <vt:lpstr>Current Safe Sleep Educational Content:  Providers (MD, DO, APN, PA) </vt:lpstr>
      <vt:lpstr>Current Safe Sleep Educational Content: </vt:lpstr>
      <vt:lpstr>Respectful Care -  Provider, Nurse and Staff Education</vt:lpstr>
      <vt:lpstr>Safe Sleep Education Delivery</vt:lpstr>
      <vt:lpstr>Parent/Caregiver Safe Sleep  Education Delivery  </vt:lpstr>
      <vt:lpstr>Current Safe Sleep Educational Content:  For Parents/Caregivers</vt:lpstr>
      <vt:lpstr>Current Safe Sleep Educational Content:  For Parents/Caregivers</vt:lpstr>
      <vt:lpstr>Specific Educational Content</vt:lpstr>
      <vt:lpstr>Social Determinants of Health Screening</vt:lpstr>
      <vt:lpstr>2022 AAP Safe Sleep Guidelines Usage</vt:lpstr>
      <vt:lpstr>Equity &amp; Inclusion</vt:lpstr>
      <vt:lpstr>Partnerships</vt:lpstr>
      <vt:lpstr>Parent and Caregiver Engagement in QI Work</vt:lpstr>
      <vt:lpstr>Race &amp; Ethnicity Information Collection</vt:lpstr>
      <vt:lpstr>Race &amp; Ethnicity Information Collection</vt:lpstr>
      <vt:lpstr>Safe Sleep Crib Audits </vt:lpstr>
      <vt:lpstr>ESSI Initiative Vision</vt:lpstr>
      <vt:lpstr>PowerPoint Presentation</vt:lpstr>
      <vt:lpstr>ESSI Initiative Aims</vt:lpstr>
      <vt:lpstr>ESSI 10 Steps to Getting Started</vt:lpstr>
      <vt:lpstr>PowerPoint Presentation</vt:lpstr>
      <vt:lpstr>PowerPoint Presentation</vt:lpstr>
      <vt:lpstr>Let’s get started!</vt:lpstr>
      <vt:lpstr>Step 1: Establish Leadership Commitment</vt:lpstr>
      <vt:lpstr>Step 2: Schedule regular ESSI QI Team meetings</vt:lpstr>
      <vt:lpstr>Step 3: Confirm that your ESSI QI team roster is complete and up-to-date</vt:lpstr>
      <vt:lpstr>Step 4: Review ESSI Data Forms</vt:lpstr>
      <vt:lpstr>Hospital Level Data form: Structure Measures</vt:lpstr>
      <vt:lpstr>Hospital Level Data form: Structure Measures</vt:lpstr>
      <vt:lpstr>Hospital Level Data Form:  Safe Sleep Environment Audit</vt:lpstr>
      <vt:lpstr>Education Measures</vt:lpstr>
      <vt:lpstr>Patient Level Data Form</vt:lpstr>
      <vt:lpstr>Patient Level Data Form</vt:lpstr>
      <vt:lpstr>Step 6: Review your current safe sleep and respectful care provider, nursing, and staff education </vt:lpstr>
      <vt:lpstr>Step 7: ESSI Toolkit</vt:lpstr>
      <vt:lpstr>PowerPoint Presentation</vt:lpstr>
      <vt:lpstr>PowerPoint Presentation</vt:lpstr>
      <vt:lpstr>Step 8: Start drafting your 30-60-90 Day plan</vt:lpstr>
      <vt:lpstr>Step 9: Attend Upcoming Meetings</vt:lpstr>
      <vt:lpstr>Step 10: Energize and educate your hospital team members about ESSI</vt:lpstr>
      <vt:lpstr>PowerPoint Presentation</vt:lpstr>
      <vt:lpstr>ESSI 2024 Plan: Jan-June</vt:lpstr>
      <vt:lpstr>What should my ESSI team be working on now?</vt:lpstr>
      <vt:lpstr>Q&amp;A  Come off mute or put your questions in the cha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llinois Perinatal Quality Collaborative</dc:title>
  <dc:creator>Todd Hilgert</dc:creator>
  <cp:lastModifiedBy>Eileen Fleming Suse</cp:lastModifiedBy>
  <cp:revision>476</cp:revision>
  <dcterms:created xsi:type="dcterms:W3CDTF">2021-05-17T13:14:11Z</dcterms:created>
  <dcterms:modified xsi:type="dcterms:W3CDTF">2023-11-20T17:20:15Z</dcterms:modified>
</cp:coreProperties>
</file>